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4" r:id="rId1"/>
    <p:sldMasterId id="2147483710" r:id="rId2"/>
    <p:sldMasterId id="2147483731" r:id="rId3"/>
  </p:sldMasterIdLst>
  <p:notesMasterIdLst>
    <p:notesMasterId r:id="rId16"/>
  </p:notesMasterIdLst>
  <p:handoutMasterIdLst>
    <p:handoutMasterId r:id="rId17"/>
  </p:handoutMasterIdLst>
  <p:sldIdLst>
    <p:sldId id="256" r:id="rId4"/>
    <p:sldId id="265" r:id="rId5"/>
    <p:sldId id="266" r:id="rId6"/>
    <p:sldId id="267" r:id="rId7"/>
    <p:sldId id="268" r:id="rId8"/>
    <p:sldId id="269" r:id="rId9"/>
    <p:sldId id="259" r:id="rId10"/>
    <p:sldId id="260" r:id="rId11"/>
    <p:sldId id="261" r:id="rId12"/>
    <p:sldId id="262" r:id="rId13"/>
    <p:sldId id="263" r:id="rId14"/>
    <p:sldId id="264" r:id="rId15"/>
  </p:sldIdLst>
  <p:sldSz cx="9144000" cy="5143500" type="screen16x9"/>
  <p:notesSz cx="6858000" cy="9144000"/>
  <p:embeddedFontLst>
    <p:embeddedFont>
      <p:font typeface="Segoe UI" panose="020B0502040204020203" pitchFamily="34" charset="0"/>
      <p:regular r:id="rId18"/>
      <p:bold r:id="rId19"/>
      <p:italic r:id="rId20"/>
      <p:boldItalic r:id="rId21"/>
    </p:embeddedFont>
    <p:embeddedFont>
      <p:font typeface="NotesStyle-Medium" pitchFamily="50" charset="0"/>
      <p:regular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Segoe UI Black" panose="020B0A02040204020203" pitchFamily="34" charset="0"/>
      <p:bold r:id="rId27"/>
      <p:boldItalic r:id="rId28"/>
    </p:embeddedFont>
    <p:embeddedFont>
      <p:font typeface="Calibri Light" panose="020F0302020204030204" pitchFamily="34" charset="0"/>
      <p:regular r:id="rId29"/>
      <p:italic r:id="rId30"/>
    </p:embeddedFont>
    <p:embeddedFont>
      <p:font typeface="NotesStyle-Regular" pitchFamily="50" charset="0"/>
      <p:regular r:id="rId31"/>
    </p:embeddedFont>
    <p:embeddedFont>
      <p:font typeface="Segoe UI Semilight" panose="020B0402040204020203" pitchFamily="34" charset="0"/>
      <p:regular r:id="rId32"/>
      <p:italic r:id="rId33"/>
    </p:embeddedFont>
    <p:embeddedFont>
      <p:font typeface="Segoe UI Light" panose="020B0502040204020203" pitchFamily="34" charset="0"/>
      <p:regular r:id="rId34"/>
      <p:italic r:id="rId35"/>
    </p:embeddedFont>
  </p:embeddedFontLst>
  <p:defaultTextStyle>
    <a:defPPr>
      <a:defRPr lang="nl-NL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94415A8-B6A4-4324-9C61-52B69AFF64C7}">
          <p14:sldIdLst>
            <p14:sldId id="256"/>
            <p14:sldId id="265"/>
            <p14:sldId id="266"/>
            <p14:sldId id="267"/>
            <p14:sldId id="268"/>
            <p14:sldId id="269"/>
          </p14:sldIdLst>
        </p14:section>
        <p14:section name="Blue Icons" id="{FB38B689-F49A-4EDE-A532-64CA5379157C}">
          <p14:sldIdLst>
            <p14:sldId id="259"/>
            <p14:sldId id="260"/>
            <p14:sldId id="261"/>
          </p14:sldIdLst>
        </p14:section>
        <p14:section name="White Icons" id="{55BED419-1159-43E5-8304-76F18F2D34F0}">
          <p14:sldIdLst>
            <p14:sldId id="262"/>
            <p14:sldId id="263"/>
            <p14:sldId id="26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DB"/>
    <a:srgbClr val="00B8DE"/>
    <a:srgbClr val="8FBED7"/>
    <a:srgbClr val="0A3C83"/>
    <a:srgbClr val="19A89C"/>
    <a:srgbClr val="D21F4C"/>
    <a:srgbClr val="193C83"/>
    <a:srgbClr val="000000"/>
    <a:srgbClr val="103D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51" autoAdjust="0"/>
  </p:normalViewPr>
  <p:slideViewPr>
    <p:cSldViewPr snapToGrid="0">
      <p:cViewPr varScale="1">
        <p:scale>
          <a:sx n="141" d="100"/>
          <a:sy n="141" d="100"/>
        </p:scale>
        <p:origin x="102" y="1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326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tableStyles" Target="tableStyles.xml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63C876-89DB-419F-8923-B6260E4832DF}" type="datetimeFigureOut">
              <a:rPr lang="nl-NL" smtClean="0"/>
              <a:t>12-9-2017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27305-3B61-4C27-8FB8-78FB7C8CC14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94188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56C98B-F2B5-4027-9EDA-F3685B20C732}" type="datetimeFigureOut">
              <a:rPr lang="en-US" smtClean="0"/>
              <a:t>9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C6AF52-F9F3-4040-91C6-E0C30842B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282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searchers</a:t>
            </a:r>
            <a:r>
              <a:rPr lang="de-DE" baseline="0" dirty="0" smtClean="0"/>
              <a:t> at TK </a:t>
            </a:r>
            <a:r>
              <a:rPr lang="de-DE" baseline="0" dirty="0" err="1" smtClean="0"/>
              <a:t>wis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reat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framewor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r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all different </a:t>
            </a:r>
            <a:r>
              <a:rPr lang="de-DE" baseline="0" dirty="0" err="1" smtClean="0"/>
              <a:t>sources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come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eand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m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lic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gorithm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, so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will in turn </a:t>
            </a:r>
            <a:r>
              <a:rPr lang="de-DE" baseline="0" dirty="0" err="1" smtClean="0"/>
              <a:t>hel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nr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re</a:t>
            </a:r>
            <a:r>
              <a:rPr lang="de-DE" baseline="0" dirty="0" smtClean="0"/>
              <a:t> relevant </a:t>
            </a:r>
            <a:r>
              <a:rPr lang="de-DE" baseline="0" dirty="0" err="1" smtClean="0"/>
              <a:t>patterns</a:t>
            </a:r>
            <a:r>
              <a:rPr lang="de-DE" baseline="0" dirty="0" smtClean="0"/>
              <a:t>/</a:t>
            </a:r>
            <a:r>
              <a:rPr lang="de-DE" baseline="0" dirty="0" err="1" smtClean="0"/>
              <a:t>trends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6AF52-F9F3-4040-91C6-E0C30842B83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72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searchers</a:t>
            </a:r>
            <a:r>
              <a:rPr lang="de-DE" baseline="0" dirty="0" smtClean="0"/>
              <a:t> at TK </a:t>
            </a:r>
            <a:r>
              <a:rPr lang="de-DE" baseline="0" dirty="0" err="1" smtClean="0"/>
              <a:t>wis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reat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framewor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r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all different </a:t>
            </a:r>
            <a:r>
              <a:rPr lang="de-DE" baseline="0" dirty="0" err="1" smtClean="0"/>
              <a:t>sources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come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eand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m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lic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gorithm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, so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will in turn </a:t>
            </a:r>
            <a:r>
              <a:rPr lang="de-DE" baseline="0" dirty="0" err="1" smtClean="0"/>
              <a:t>hel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nr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re</a:t>
            </a:r>
            <a:r>
              <a:rPr lang="de-DE" baseline="0" dirty="0" smtClean="0"/>
              <a:t> relevant </a:t>
            </a:r>
            <a:r>
              <a:rPr lang="de-DE" baseline="0" dirty="0" err="1" smtClean="0"/>
              <a:t>patterns</a:t>
            </a:r>
            <a:r>
              <a:rPr lang="de-DE" baseline="0" dirty="0" smtClean="0"/>
              <a:t>/</a:t>
            </a:r>
            <a:r>
              <a:rPr lang="de-DE" baseline="0" dirty="0" err="1" smtClean="0"/>
              <a:t>trends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6AF52-F9F3-4040-91C6-E0C30842B83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1295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searchers</a:t>
            </a:r>
            <a:r>
              <a:rPr lang="de-DE" baseline="0" dirty="0" smtClean="0"/>
              <a:t> at TK </a:t>
            </a:r>
            <a:r>
              <a:rPr lang="de-DE" baseline="0" dirty="0" err="1" smtClean="0"/>
              <a:t>wis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reat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framewor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r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all different </a:t>
            </a:r>
            <a:r>
              <a:rPr lang="de-DE" baseline="0" dirty="0" err="1" smtClean="0"/>
              <a:t>sources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come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eand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m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lic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gorithm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, so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will in turn </a:t>
            </a:r>
            <a:r>
              <a:rPr lang="de-DE" baseline="0" dirty="0" err="1" smtClean="0"/>
              <a:t>hel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nr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re</a:t>
            </a:r>
            <a:r>
              <a:rPr lang="de-DE" baseline="0" dirty="0" smtClean="0"/>
              <a:t> relevant </a:t>
            </a:r>
            <a:r>
              <a:rPr lang="de-DE" baseline="0" dirty="0" err="1" smtClean="0"/>
              <a:t>patterns</a:t>
            </a:r>
            <a:r>
              <a:rPr lang="de-DE" baseline="0" dirty="0" smtClean="0"/>
              <a:t>/</a:t>
            </a:r>
            <a:r>
              <a:rPr lang="de-DE" baseline="0" dirty="0" err="1" smtClean="0"/>
              <a:t>trends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6AF52-F9F3-4040-91C6-E0C30842B83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082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4.jpeg"/><Relationship Id="rId4" Type="http://schemas.openxmlformats.org/officeDocument/2006/relationships/image" Target="../media/image2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png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png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29.jpeg"/><Relationship Id="rId4" Type="http://schemas.openxmlformats.org/officeDocument/2006/relationships/image" Target="../media/image2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Picture Placeholder 8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389155" y="3952414"/>
            <a:ext cx="1316419" cy="8435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nl-NL" dirty="0" smtClean="0"/>
              <a:t>Customer Logo</a:t>
            </a:r>
            <a:endParaRPr lang="nl-NL" dirty="0"/>
          </a:p>
        </p:txBody>
      </p: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1932" y="4558208"/>
            <a:ext cx="1572897" cy="28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8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8263"/>
          </a:xfrm>
          <a:prstGeom prst="rect">
            <a:avLst/>
          </a:prstGeom>
        </p:spPr>
      </p:pic>
      <p:sp>
        <p:nvSpPr>
          <p:cNvPr id="5" name="Freeform 5"/>
          <p:cNvSpPr>
            <a:spLocks/>
          </p:cNvSpPr>
          <p:nvPr userDrawn="1"/>
        </p:nvSpPr>
        <p:spPr bwMode="auto">
          <a:xfrm>
            <a:off x="-1" y="-500743"/>
            <a:ext cx="3284115" cy="2314863"/>
          </a:xfrm>
          <a:custGeom>
            <a:avLst/>
            <a:gdLst>
              <a:gd name="T0" fmla="*/ 1911 w 1911"/>
              <a:gd name="T1" fmla="*/ 0 h 1347"/>
              <a:gd name="T2" fmla="*/ 0 w 1911"/>
              <a:gd name="T3" fmla="*/ 699 h 1347"/>
              <a:gd name="T4" fmla="*/ 0 w 1911"/>
              <a:gd name="T5" fmla="*/ 1076 h 1347"/>
              <a:gd name="T6" fmla="*/ 784 w 1911"/>
              <a:gd name="T7" fmla="*/ 1347 h 1347"/>
              <a:gd name="T8" fmla="*/ 1110 w 1911"/>
              <a:gd name="T9" fmla="*/ 1005 h 1347"/>
              <a:gd name="T10" fmla="*/ 1911 w 1911"/>
              <a:gd name="T11" fmla="*/ 1005 h 1347"/>
              <a:gd name="T12" fmla="*/ 1911 w 1911"/>
              <a:gd name="T13" fmla="*/ 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11" h="1347">
                <a:moveTo>
                  <a:pt x="1911" y="0"/>
                </a:moveTo>
                <a:lnTo>
                  <a:pt x="0" y="699"/>
                </a:lnTo>
                <a:lnTo>
                  <a:pt x="0" y="1076"/>
                </a:lnTo>
                <a:lnTo>
                  <a:pt x="784" y="1347"/>
                </a:lnTo>
                <a:lnTo>
                  <a:pt x="1110" y="1005"/>
                </a:lnTo>
                <a:lnTo>
                  <a:pt x="1911" y="1005"/>
                </a:lnTo>
                <a:lnTo>
                  <a:pt x="1911" y="0"/>
                </a:lnTo>
                <a:close/>
              </a:path>
            </a:pathLst>
          </a:custGeom>
          <a:solidFill>
            <a:srgbClr val="BFC0CA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6" name="Freeform 7"/>
          <p:cNvSpPr>
            <a:spLocks/>
          </p:cNvSpPr>
          <p:nvPr userDrawn="1"/>
        </p:nvSpPr>
        <p:spPr bwMode="auto">
          <a:xfrm>
            <a:off x="3284114" y="-500743"/>
            <a:ext cx="4093543" cy="2981653"/>
          </a:xfrm>
          <a:custGeom>
            <a:avLst/>
            <a:gdLst>
              <a:gd name="T0" fmla="*/ 0 w 2382"/>
              <a:gd name="T1" fmla="*/ 0 h 1735"/>
              <a:gd name="T2" fmla="*/ 0 w 2382"/>
              <a:gd name="T3" fmla="*/ 1005 h 1735"/>
              <a:gd name="T4" fmla="*/ 0 w 2382"/>
              <a:gd name="T5" fmla="*/ 1735 h 1735"/>
              <a:gd name="T6" fmla="*/ 2004 w 2382"/>
              <a:gd name="T7" fmla="*/ 1005 h 1735"/>
              <a:gd name="T8" fmla="*/ 2004 w 2382"/>
              <a:gd name="T9" fmla="*/ 1005 h 1735"/>
              <a:gd name="T10" fmla="*/ 2380 w 2382"/>
              <a:gd name="T11" fmla="*/ 868 h 1735"/>
              <a:gd name="T12" fmla="*/ 2380 w 2382"/>
              <a:gd name="T13" fmla="*/ 868 h 1735"/>
              <a:gd name="T14" fmla="*/ 2382 w 2382"/>
              <a:gd name="T15" fmla="*/ 868 h 1735"/>
              <a:gd name="T16" fmla="*/ 0 w 2382"/>
              <a:gd name="T17" fmla="*/ 0 h 1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82" h="1735">
                <a:moveTo>
                  <a:pt x="0" y="0"/>
                </a:moveTo>
                <a:lnTo>
                  <a:pt x="0" y="1005"/>
                </a:lnTo>
                <a:lnTo>
                  <a:pt x="0" y="1735"/>
                </a:lnTo>
                <a:lnTo>
                  <a:pt x="2004" y="1005"/>
                </a:lnTo>
                <a:lnTo>
                  <a:pt x="2004" y="1005"/>
                </a:lnTo>
                <a:lnTo>
                  <a:pt x="2380" y="868"/>
                </a:lnTo>
                <a:lnTo>
                  <a:pt x="2380" y="868"/>
                </a:lnTo>
                <a:lnTo>
                  <a:pt x="2382" y="868"/>
                </a:lnTo>
                <a:lnTo>
                  <a:pt x="0" y="0"/>
                </a:lnTo>
                <a:close/>
              </a:path>
            </a:pathLst>
          </a:custGeom>
          <a:solidFill>
            <a:srgbClr val="99D5F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" name="Freeform 11"/>
          <p:cNvSpPr>
            <a:spLocks noEditPoints="1"/>
          </p:cNvSpPr>
          <p:nvPr userDrawn="1"/>
        </p:nvSpPr>
        <p:spPr bwMode="auto">
          <a:xfrm>
            <a:off x="-1" y="1348397"/>
            <a:ext cx="3284115" cy="4715652"/>
          </a:xfrm>
          <a:custGeom>
            <a:avLst/>
            <a:gdLst>
              <a:gd name="T0" fmla="*/ 1911 w 1911"/>
              <a:gd name="T1" fmla="*/ 2056 h 2744"/>
              <a:gd name="T2" fmla="*/ 1660 w 1911"/>
              <a:gd name="T3" fmla="*/ 2327 h 2744"/>
              <a:gd name="T4" fmla="*/ 1911 w 1911"/>
              <a:gd name="T5" fmla="*/ 2421 h 2744"/>
              <a:gd name="T6" fmla="*/ 1911 w 1911"/>
              <a:gd name="T7" fmla="*/ 2056 h 2744"/>
              <a:gd name="T8" fmla="*/ 0 w 1911"/>
              <a:gd name="T9" fmla="*/ 0 h 2744"/>
              <a:gd name="T10" fmla="*/ 0 w 1911"/>
              <a:gd name="T11" fmla="*/ 2744 h 2744"/>
              <a:gd name="T12" fmla="*/ 1911 w 1911"/>
              <a:gd name="T13" fmla="*/ 2744 h 2744"/>
              <a:gd name="T14" fmla="*/ 1273 w 1911"/>
              <a:gd name="T15" fmla="*/ 2744 h 2744"/>
              <a:gd name="T16" fmla="*/ 956 w 1911"/>
              <a:gd name="T17" fmla="*/ 2744 h 2744"/>
              <a:gd name="T18" fmla="*/ 0 w 1911"/>
              <a:gd name="T19" fmla="*/ 2744 h 2744"/>
              <a:gd name="T20" fmla="*/ 0 w 1911"/>
              <a:gd name="T21" fmla="*/ 1702 h 2744"/>
              <a:gd name="T22" fmla="*/ 0 w 1911"/>
              <a:gd name="T23" fmla="*/ 1372 h 2744"/>
              <a:gd name="T24" fmla="*/ 1911 w 1911"/>
              <a:gd name="T25" fmla="*/ 659 h 2744"/>
              <a:gd name="T26" fmla="*/ 0 w 1911"/>
              <a:gd name="T27" fmla="*/ 1372 h 2744"/>
              <a:gd name="T28" fmla="*/ 0 w 1911"/>
              <a:gd name="T29" fmla="*/ 1090 h 2744"/>
              <a:gd name="T30" fmla="*/ 784 w 1911"/>
              <a:gd name="T31" fmla="*/ 271 h 2744"/>
              <a:gd name="T32" fmla="*/ 0 w 1911"/>
              <a:gd name="T33" fmla="*/ 0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11" h="2744">
                <a:moveTo>
                  <a:pt x="1911" y="2056"/>
                </a:moveTo>
                <a:lnTo>
                  <a:pt x="1660" y="2327"/>
                </a:lnTo>
                <a:lnTo>
                  <a:pt x="1911" y="2421"/>
                </a:lnTo>
                <a:lnTo>
                  <a:pt x="1911" y="2056"/>
                </a:lnTo>
                <a:close/>
                <a:moveTo>
                  <a:pt x="0" y="0"/>
                </a:moveTo>
                <a:lnTo>
                  <a:pt x="0" y="2744"/>
                </a:lnTo>
                <a:lnTo>
                  <a:pt x="1911" y="2744"/>
                </a:lnTo>
                <a:lnTo>
                  <a:pt x="1273" y="2744"/>
                </a:lnTo>
                <a:lnTo>
                  <a:pt x="956" y="2744"/>
                </a:lnTo>
                <a:lnTo>
                  <a:pt x="0" y="2744"/>
                </a:lnTo>
                <a:lnTo>
                  <a:pt x="0" y="1702"/>
                </a:lnTo>
                <a:lnTo>
                  <a:pt x="0" y="1372"/>
                </a:lnTo>
                <a:lnTo>
                  <a:pt x="1911" y="659"/>
                </a:lnTo>
                <a:lnTo>
                  <a:pt x="0" y="1372"/>
                </a:lnTo>
                <a:lnTo>
                  <a:pt x="0" y="1090"/>
                </a:lnTo>
                <a:lnTo>
                  <a:pt x="784" y="271"/>
                </a:lnTo>
                <a:lnTo>
                  <a:pt x="0" y="0"/>
                </a:lnTo>
                <a:close/>
              </a:path>
            </a:pathLst>
          </a:custGeom>
          <a:solidFill>
            <a:srgbClr val="E1E4E6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9" name="Freeform 14"/>
          <p:cNvSpPr>
            <a:spLocks/>
          </p:cNvSpPr>
          <p:nvPr userDrawn="1"/>
        </p:nvSpPr>
        <p:spPr bwMode="auto">
          <a:xfrm>
            <a:off x="3284114" y="2480910"/>
            <a:ext cx="2026150" cy="3028053"/>
          </a:xfrm>
          <a:custGeom>
            <a:avLst/>
            <a:gdLst>
              <a:gd name="T0" fmla="*/ 0 w 1179"/>
              <a:gd name="T1" fmla="*/ 0 h 1762"/>
              <a:gd name="T2" fmla="*/ 634 w 1179"/>
              <a:gd name="T3" fmla="*/ 713 h 1762"/>
              <a:gd name="T4" fmla="*/ 0 w 1179"/>
              <a:gd name="T5" fmla="*/ 1397 h 1762"/>
              <a:gd name="T6" fmla="*/ 0 w 1179"/>
              <a:gd name="T7" fmla="*/ 1762 h 1762"/>
              <a:gd name="T8" fmla="*/ 1179 w 1179"/>
              <a:gd name="T9" fmla="*/ 1323 h 1762"/>
              <a:gd name="T10" fmla="*/ 634 w 1179"/>
              <a:gd name="T11" fmla="*/ 713 h 1762"/>
              <a:gd name="T12" fmla="*/ 0 w 1179"/>
              <a:gd name="T13" fmla="*/ 0 h 1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79" h="1762">
                <a:moveTo>
                  <a:pt x="0" y="0"/>
                </a:moveTo>
                <a:lnTo>
                  <a:pt x="634" y="713"/>
                </a:lnTo>
                <a:lnTo>
                  <a:pt x="0" y="1397"/>
                </a:lnTo>
                <a:lnTo>
                  <a:pt x="0" y="1762"/>
                </a:lnTo>
                <a:lnTo>
                  <a:pt x="1179" y="1323"/>
                </a:lnTo>
                <a:lnTo>
                  <a:pt x="634" y="713"/>
                </a:lnTo>
                <a:lnTo>
                  <a:pt x="0" y="0"/>
                </a:lnTo>
                <a:close/>
              </a:path>
            </a:pathLst>
          </a:custGeom>
          <a:solidFill>
            <a:srgbClr val="CED2D5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0" name="Freeform 18"/>
          <p:cNvSpPr>
            <a:spLocks/>
          </p:cNvSpPr>
          <p:nvPr userDrawn="1"/>
        </p:nvSpPr>
        <p:spPr bwMode="auto">
          <a:xfrm>
            <a:off x="7377657" y="3082397"/>
            <a:ext cx="2521087" cy="2981653"/>
          </a:xfrm>
          <a:custGeom>
            <a:avLst/>
            <a:gdLst>
              <a:gd name="T0" fmla="*/ 1467 w 1467"/>
              <a:gd name="T1" fmla="*/ 0 h 1735"/>
              <a:gd name="T2" fmla="*/ 1467 w 1467"/>
              <a:gd name="T3" fmla="*/ 0 h 1735"/>
              <a:gd name="T4" fmla="*/ 1465 w 1467"/>
              <a:gd name="T5" fmla="*/ 2 h 1735"/>
              <a:gd name="T6" fmla="*/ 1465 w 1467"/>
              <a:gd name="T7" fmla="*/ 867 h 1735"/>
              <a:gd name="T8" fmla="*/ 988 w 1467"/>
              <a:gd name="T9" fmla="*/ 365 h 1735"/>
              <a:gd name="T10" fmla="*/ 0 w 1467"/>
              <a:gd name="T11" fmla="*/ 1414 h 1735"/>
              <a:gd name="T12" fmla="*/ 0 w 1467"/>
              <a:gd name="T13" fmla="*/ 1735 h 1735"/>
              <a:gd name="T14" fmla="*/ 1467 w 1467"/>
              <a:gd name="T15" fmla="*/ 1735 h 1735"/>
              <a:gd name="T16" fmla="*/ 1467 w 1467"/>
              <a:gd name="T17" fmla="*/ 0 h 1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67" h="1735">
                <a:moveTo>
                  <a:pt x="1467" y="0"/>
                </a:moveTo>
                <a:lnTo>
                  <a:pt x="1467" y="0"/>
                </a:lnTo>
                <a:lnTo>
                  <a:pt x="1465" y="2"/>
                </a:lnTo>
                <a:lnTo>
                  <a:pt x="1465" y="867"/>
                </a:lnTo>
                <a:lnTo>
                  <a:pt x="988" y="365"/>
                </a:lnTo>
                <a:lnTo>
                  <a:pt x="0" y="1414"/>
                </a:lnTo>
                <a:lnTo>
                  <a:pt x="0" y="1735"/>
                </a:lnTo>
                <a:lnTo>
                  <a:pt x="1467" y="1735"/>
                </a:lnTo>
                <a:lnTo>
                  <a:pt x="1467" y="0"/>
                </a:lnTo>
                <a:close/>
              </a:path>
            </a:pathLst>
          </a:custGeom>
          <a:solidFill>
            <a:srgbClr val="CCCDD5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1" name="Freeform 24"/>
          <p:cNvSpPr>
            <a:spLocks/>
          </p:cNvSpPr>
          <p:nvPr userDrawn="1"/>
        </p:nvSpPr>
        <p:spPr bwMode="auto">
          <a:xfrm>
            <a:off x="8152714" y="3460474"/>
            <a:ext cx="922852" cy="245751"/>
          </a:xfrm>
          <a:custGeom>
            <a:avLst/>
            <a:gdLst>
              <a:gd name="T0" fmla="*/ 400 w 537"/>
              <a:gd name="T1" fmla="*/ 0 h 143"/>
              <a:gd name="T2" fmla="*/ 0 w 537"/>
              <a:gd name="T3" fmla="*/ 143 h 143"/>
              <a:gd name="T4" fmla="*/ 537 w 537"/>
              <a:gd name="T5" fmla="*/ 143 h 143"/>
              <a:gd name="T6" fmla="*/ 400 w 537"/>
              <a:gd name="T7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7" h="143">
                <a:moveTo>
                  <a:pt x="400" y="0"/>
                </a:moveTo>
                <a:lnTo>
                  <a:pt x="0" y="143"/>
                </a:lnTo>
                <a:lnTo>
                  <a:pt x="537" y="143"/>
                </a:lnTo>
                <a:lnTo>
                  <a:pt x="400" y="0"/>
                </a:lnTo>
                <a:close/>
              </a:path>
            </a:pathLst>
          </a:custGeom>
          <a:solidFill>
            <a:srgbClr val="A5A7B5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2" name="Freeform 26"/>
          <p:cNvSpPr>
            <a:spLocks/>
          </p:cNvSpPr>
          <p:nvPr userDrawn="1"/>
        </p:nvSpPr>
        <p:spPr bwMode="auto">
          <a:xfrm>
            <a:off x="7377657" y="1922387"/>
            <a:ext cx="1462471" cy="1790710"/>
          </a:xfrm>
          <a:custGeom>
            <a:avLst/>
            <a:gdLst>
              <a:gd name="T0" fmla="*/ 0 w 851"/>
              <a:gd name="T1" fmla="*/ 0 h 1042"/>
              <a:gd name="T2" fmla="*/ 0 w 851"/>
              <a:gd name="T3" fmla="*/ 1042 h 1042"/>
              <a:gd name="T4" fmla="*/ 451 w 851"/>
              <a:gd name="T5" fmla="*/ 1042 h 1042"/>
              <a:gd name="T6" fmla="*/ 851 w 851"/>
              <a:gd name="T7" fmla="*/ 899 h 1042"/>
              <a:gd name="T8" fmla="*/ 0 w 851"/>
              <a:gd name="T9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1" h="1042">
                <a:moveTo>
                  <a:pt x="0" y="0"/>
                </a:moveTo>
                <a:lnTo>
                  <a:pt x="0" y="1042"/>
                </a:lnTo>
                <a:lnTo>
                  <a:pt x="451" y="1042"/>
                </a:lnTo>
                <a:lnTo>
                  <a:pt x="851" y="899"/>
                </a:lnTo>
                <a:lnTo>
                  <a:pt x="0" y="0"/>
                </a:lnTo>
                <a:close/>
              </a:path>
            </a:pathLst>
          </a:custGeom>
          <a:solidFill>
            <a:srgbClr val="3F5F9A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3" name="Freeform 30"/>
          <p:cNvSpPr>
            <a:spLocks/>
          </p:cNvSpPr>
          <p:nvPr userDrawn="1"/>
        </p:nvSpPr>
        <p:spPr bwMode="auto">
          <a:xfrm>
            <a:off x="7377657" y="3706223"/>
            <a:ext cx="1697910" cy="1806178"/>
          </a:xfrm>
          <a:custGeom>
            <a:avLst/>
            <a:gdLst>
              <a:gd name="T0" fmla="*/ 988 w 988"/>
              <a:gd name="T1" fmla="*/ 0 h 1051"/>
              <a:gd name="T2" fmla="*/ 451 w 988"/>
              <a:gd name="T3" fmla="*/ 0 h 1051"/>
              <a:gd name="T4" fmla="*/ 0 w 988"/>
              <a:gd name="T5" fmla="*/ 161 h 1051"/>
              <a:gd name="T6" fmla="*/ 0 w 988"/>
              <a:gd name="T7" fmla="*/ 1051 h 1051"/>
              <a:gd name="T8" fmla="*/ 988 w 988"/>
              <a:gd name="T9" fmla="*/ 2 h 1051"/>
              <a:gd name="T10" fmla="*/ 988 w 988"/>
              <a:gd name="T11" fmla="*/ 0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8" h="1051">
                <a:moveTo>
                  <a:pt x="988" y="0"/>
                </a:moveTo>
                <a:lnTo>
                  <a:pt x="451" y="0"/>
                </a:lnTo>
                <a:lnTo>
                  <a:pt x="0" y="161"/>
                </a:lnTo>
                <a:lnTo>
                  <a:pt x="0" y="1051"/>
                </a:lnTo>
                <a:lnTo>
                  <a:pt x="988" y="2"/>
                </a:lnTo>
                <a:lnTo>
                  <a:pt x="988" y="0"/>
                </a:lnTo>
                <a:close/>
              </a:path>
            </a:pathLst>
          </a:custGeom>
          <a:solidFill>
            <a:srgbClr val="85C6D8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4" name="Freeform 36"/>
          <p:cNvSpPr>
            <a:spLocks/>
          </p:cNvSpPr>
          <p:nvPr userDrawn="1"/>
        </p:nvSpPr>
        <p:spPr bwMode="auto">
          <a:xfrm>
            <a:off x="7377657" y="3706223"/>
            <a:ext cx="775058" cy="276684"/>
          </a:xfrm>
          <a:custGeom>
            <a:avLst/>
            <a:gdLst>
              <a:gd name="T0" fmla="*/ 451 w 451"/>
              <a:gd name="T1" fmla="*/ 0 h 161"/>
              <a:gd name="T2" fmla="*/ 0 w 451"/>
              <a:gd name="T3" fmla="*/ 0 h 161"/>
              <a:gd name="T4" fmla="*/ 0 w 451"/>
              <a:gd name="T5" fmla="*/ 161 h 161"/>
              <a:gd name="T6" fmla="*/ 451 w 451"/>
              <a:gd name="T7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1" h="161">
                <a:moveTo>
                  <a:pt x="451" y="0"/>
                </a:moveTo>
                <a:lnTo>
                  <a:pt x="0" y="0"/>
                </a:lnTo>
                <a:lnTo>
                  <a:pt x="0" y="161"/>
                </a:lnTo>
                <a:lnTo>
                  <a:pt x="451" y="0"/>
                </a:lnTo>
                <a:close/>
              </a:path>
            </a:pathLst>
          </a:custGeom>
          <a:solidFill>
            <a:srgbClr val="3286B9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5" name="Freeform 38"/>
          <p:cNvSpPr>
            <a:spLocks/>
          </p:cNvSpPr>
          <p:nvPr userDrawn="1"/>
        </p:nvSpPr>
        <p:spPr bwMode="auto">
          <a:xfrm>
            <a:off x="3284114" y="4754528"/>
            <a:ext cx="3191314" cy="1309521"/>
          </a:xfrm>
          <a:custGeom>
            <a:avLst/>
            <a:gdLst>
              <a:gd name="T0" fmla="*/ 1179 w 1857"/>
              <a:gd name="T1" fmla="*/ 0 h 762"/>
              <a:gd name="T2" fmla="*/ 0 w 1857"/>
              <a:gd name="T3" fmla="*/ 439 h 762"/>
              <a:gd name="T4" fmla="*/ 850 w 1857"/>
              <a:gd name="T5" fmla="*/ 762 h 762"/>
              <a:gd name="T6" fmla="*/ 1857 w 1857"/>
              <a:gd name="T7" fmla="*/ 762 h 762"/>
              <a:gd name="T8" fmla="*/ 1179 w 1857"/>
              <a:gd name="T9" fmla="*/ 0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7" h="762">
                <a:moveTo>
                  <a:pt x="1179" y="0"/>
                </a:moveTo>
                <a:lnTo>
                  <a:pt x="0" y="439"/>
                </a:lnTo>
                <a:lnTo>
                  <a:pt x="850" y="762"/>
                </a:lnTo>
                <a:lnTo>
                  <a:pt x="1857" y="762"/>
                </a:lnTo>
                <a:lnTo>
                  <a:pt x="1179" y="0"/>
                </a:lnTo>
                <a:close/>
              </a:path>
            </a:pathLst>
          </a:custGeom>
          <a:solidFill>
            <a:srgbClr val="B2B6BF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6" name="Freeform 40"/>
          <p:cNvSpPr>
            <a:spLocks/>
          </p:cNvSpPr>
          <p:nvPr userDrawn="1"/>
        </p:nvSpPr>
        <p:spPr bwMode="auto">
          <a:xfrm>
            <a:off x="6856941" y="5512401"/>
            <a:ext cx="520716" cy="551649"/>
          </a:xfrm>
          <a:custGeom>
            <a:avLst/>
            <a:gdLst>
              <a:gd name="T0" fmla="*/ 303 w 303"/>
              <a:gd name="T1" fmla="*/ 0 h 321"/>
              <a:gd name="T2" fmla="*/ 0 w 303"/>
              <a:gd name="T3" fmla="*/ 321 h 321"/>
              <a:gd name="T4" fmla="*/ 303 w 303"/>
              <a:gd name="T5" fmla="*/ 321 h 321"/>
              <a:gd name="T6" fmla="*/ 303 w 303"/>
              <a:gd name="T7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3" h="321">
                <a:moveTo>
                  <a:pt x="303" y="0"/>
                </a:moveTo>
                <a:lnTo>
                  <a:pt x="0" y="321"/>
                </a:lnTo>
                <a:lnTo>
                  <a:pt x="303" y="321"/>
                </a:lnTo>
                <a:lnTo>
                  <a:pt x="303" y="0"/>
                </a:lnTo>
                <a:close/>
              </a:path>
            </a:pathLst>
          </a:custGeom>
          <a:solidFill>
            <a:srgbClr val="B2B6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7" name="Freeform 42"/>
          <p:cNvSpPr>
            <a:spLocks/>
          </p:cNvSpPr>
          <p:nvPr userDrawn="1"/>
        </p:nvSpPr>
        <p:spPr bwMode="auto">
          <a:xfrm>
            <a:off x="5310263" y="3982907"/>
            <a:ext cx="2067394" cy="2081143"/>
          </a:xfrm>
          <a:custGeom>
            <a:avLst/>
            <a:gdLst>
              <a:gd name="T0" fmla="*/ 1203 w 1203"/>
              <a:gd name="T1" fmla="*/ 0 h 1211"/>
              <a:gd name="T2" fmla="*/ 1203 w 1203"/>
              <a:gd name="T3" fmla="*/ 0 h 1211"/>
              <a:gd name="T4" fmla="*/ 0 w 1203"/>
              <a:gd name="T5" fmla="*/ 449 h 1211"/>
              <a:gd name="T6" fmla="*/ 0 w 1203"/>
              <a:gd name="T7" fmla="*/ 449 h 1211"/>
              <a:gd name="T8" fmla="*/ 678 w 1203"/>
              <a:gd name="T9" fmla="*/ 1211 h 1211"/>
              <a:gd name="T10" fmla="*/ 900 w 1203"/>
              <a:gd name="T11" fmla="*/ 1211 h 1211"/>
              <a:gd name="T12" fmla="*/ 1203 w 1203"/>
              <a:gd name="T13" fmla="*/ 890 h 1211"/>
              <a:gd name="T14" fmla="*/ 1203 w 1203"/>
              <a:gd name="T15" fmla="*/ 0 h 1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3" h="1211">
                <a:moveTo>
                  <a:pt x="1203" y="0"/>
                </a:moveTo>
                <a:lnTo>
                  <a:pt x="1203" y="0"/>
                </a:lnTo>
                <a:lnTo>
                  <a:pt x="0" y="449"/>
                </a:lnTo>
                <a:lnTo>
                  <a:pt x="0" y="449"/>
                </a:lnTo>
                <a:lnTo>
                  <a:pt x="678" y="1211"/>
                </a:lnTo>
                <a:lnTo>
                  <a:pt x="900" y="1211"/>
                </a:lnTo>
                <a:lnTo>
                  <a:pt x="1203" y="890"/>
                </a:lnTo>
                <a:lnTo>
                  <a:pt x="1203" y="0"/>
                </a:lnTo>
                <a:close/>
              </a:path>
            </a:pathLst>
          </a:custGeom>
          <a:solidFill>
            <a:srgbClr val="84B0C1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8" name="Freeform 50"/>
          <p:cNvSpPr>
            <a:spLocks/>
          </p:cNvSpPr>
          <p:nvPr userDrawn="1"/>
        </p:nvSpPr>
        <p:spPr bwMode="auto">
          <a:xfrm>
            <a:off x="7374220" y="992662"/>
            <a:ext cx="2521087" cy="2467812"/>
          </a:xfrm>
          <a:custGeom>
            <a:avLst/>
            <a:gdLst>
              <a:gd name="T0" fmla="*/ 0 w 1465"/>
              <a:gd name="T1" fmla="*/ 0 h 1436"/>
              <a:gd name="T2" fmla="*/ 0 w 1465"/>
              <a:gd name="T3" fmla="*/ 533 h 1436"/>
              <a:gd name="T4" fmla="*/ 0 w 1465"/>
              <a:gd name="T5" fmla="*/ 533 h 1436"/>
              <a:gd name="T6" fmla="*/ 853 w 1465"/>
              <a:gd name="T7" fmla="*/ 1436 h 1436"/>
              <a:gd name="T8" fmla="*/ 853 w 1465"/>
              <a:gd name="T9" fmla="*/ 1436 h 1436"/>
              <a:gd name="T10" fmla="*/ 1465 w 1465"/>
              <a:gd name="T11" fmla="*/ 1218 h 1436"/>
              <a:gd name="T12" fmla="*/ 1465 w 1465"/>
              <a:gd name="T13" fmla="*/ 537 h 1436"/>
              <a:gd name="T14" fmla="*/ 0 w 1465"/>
              <a:gd name="T15" fmla="*/ 0 h 1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65" h="1436">
                <a:moveTo>
                  <a:pt x="0" y="0"/>
                </a:moveTo>
                <a:lnTo>
                  <a:pt x="0" y="533"/>
                </a:lnTo>
                <a:lnTo>
                  <a:pt x="0" y="533"/>
                </a:lnTo>
                <a:lnTo>
                  <a:pt x="853" y="1436"/>
                </a:lnTo>
                <a:lnTo>
                  <a:pt x="853" y="1436"/>
                </a:lnTo>
                <a:lnTo>
                  <a:pt x="1465" y="1218"/>
                </a:lnTo>
                <a:lnTo>
                  <a:pt x="1465" y="537"/>
                </a:lnTo>
                <a:lnTo>
                  <a:pt x="0" y="0"/>
                </a:lnTo>
                <a:close/>
              </a:path>
            </a:pathLst>
          </a:custGeom>
          <a:solidFill>
            <a:srgbClr val="CCCFD4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9" name="Freeform 52"/>
          <p:cNvSpPr>
            <a:spLocks/>
          </p:cNvSpPr>
          <p:nvPr userDrawn="1"/>
        </p:nvSpPr>
        <p:spPr bwMode="auto">
          <a:xfrm>
            <a:off x="8843564" y="3085834"/>
            <a:ext cx="1051742" cy="1486531"/>
          </a:xfrm>
          <a:custGeom>
            <a:avLst/>
            <a:gdLst>
              <a:gd name="T0" fmla="*/ 612 w 612"/>
              <a:gd name="T1" fmla="*/ 0 h 865"/>
              <a:gd name="T2" fmla="*/ 0 w 612"/>
              <a:gd name="T3" fmla="*/ 218 h 865"/>
              <a:gd name="T4" fmla="*/ 136 w 612"/>
              <a:gd name="T5" fmla="*/ 361 h 865"/>
              <a:gd name="T6" fmla="*/ 135 w 612"/>
              <a:gd name="T7" fmla="*/ 363 h 865"/>
              <a:gd name="T8" fmla="*/ 612 w 612"/>
              <a:gd name="T9" fmla="*/ 865 h 865"/>
              <a:gd name="T10" fmla="*/ 612 w 612"/>
              <a:gd name="T11" fmla="*/ 0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2" h="865">
                <a:moveTo>
                  <a:pt x="612" y="0"/>
                </a:moveTo>
                <a:lnTo>
                  <a:pt x="0" y="218"/>
                </a:lnTo>
                <a:lnTo>
                  <a:pt x="136" y="361"/>
                </a:lnTo>
                <a:lnTo>
                  <a:pt x="135" y="363"/>
                </a:lnTo>
                <a:lnTo>
                  <a:pt x="612" y="865"/>
                </a:lnTo>
                <a:lnTo>
                  <a:pt x="612" y="0"/>
                </a:lnTo>
                <a:close/>
              </a:path>
            </a:pathLst>
          </a:custGeom>
          <a:solidFill>
            <a:srgbClr val="C2C5CC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0" name="Freeform 66"/>
          <p:cNvSpPr>
            <a:spLocks/>
          </p:cNvSpPr>
          <p:nvPr userDrawn="1"/>
        </p:nvSpPr>
        <p:spPr bwMode="auto">
          <a:xfrm>
            <a:off x="-1" y="2480909"/>
            <a:ext cx="3284115" cy="2871668"/>
          </a:xfrm>
          <a:custGeom>
            <a:avLst/>
            <a:gdLst>
              <a:gd name="T0" fmla="*/ 1911 w 1911"/>
              <a:gd name="T1" fmla="*/ 0 h 1668"/>
              <a:gd name="T2" fmla="*/ 0 w 1911"/>
              <a:gd name="T3" fmla="*/ 713 h 1668"/>
              <a:gd name="T4" fmla="*/ 0 w 1911"/>
              <a:gd name="T5" fmla="*/ 1043 h 1668"/>
              <a:gd name="T6" fmla="*/ 1660 w 1911"/>
              <a:gd name="T7" fmla="*/ 1668 h 1668"/>
              <a:gd name="T8" fmla="*/ 1911 w 1911"/>
              <a:gd name="T9" fmla="*/ 1397 h 1668"/>
              <a:gd name="T10" fmla="*/ 1911 w 1911"/>
              <a:gd name="T11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11" h="1668">
                <a:moveTo>
                  <a:pt x="1911" y="0"/>
                </a:moveTo>
                <a:lnTo>
                  <a:pt x="0" y="713"/>
                </a:lnTo>
                <a:lnTo>
                  <a:pt x="0" y="1043"/>
                </a:lnTo>
                <a:lnTo>
                  <a:pt x="1660" y="1668"/>
                </a:lnTo>
                <a:lnTo>
                  <a:pt x="1911" y="1397"/>
                </a:lnTo>
                <a:lnTo>
                  <a:pt x="1911" y="0"/>
                </a:lnTo>
                <a:close/>
              </a:path>
            </a:pathLst>
          </a:custGeom>
          <a:solidFill>
            <a:srgbClr val="A6A9B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1" name="Freeform 68"/>
          <p:cNvSpPr>
            <a:spLocks/>
          </p:cNvSpPr>
          <p:nvPr userDrawn="1"/>
        </p:nvSpPr>
        <p:spPr bwMode="auto">
          <a:xfrm>
            <a:off x="3284114" y="2480910"/>
            <a:ext cx="1086111" cy="2400790"/>
          </a:xfrm>
          <a:custGeom>
            <a:avLst/>
            <a:gdLst>
              <a:gd name="T0" fmla="*/ 0 w 634"/>
              <a:gd name="T1" fmla="*/ 0 h 1397"/>
              <a:gd name="T2" fmla="*/ 0 w 634"/>
              <a:gd name="T3" fmla="*/ 0 h 1397"/>
              <a:gd name="T4" fmla="*/ 0 w 634"/>
              <a:gd name="T5" fmla="*/ 1397 h 1397"/>
              <a:gd name="T6" fmla="*/ 634 w 634"/>
              <a:gd name="T7" fmla="*/ 713 h 1397"/>
              <a:gd name="T8" fmla="*/ 0 w 634"/>
              <a:gd name="T9" fmla="*/ 0 h 1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4" h="1397">
                <a:moveTo>
                  <a:pt x="0" y="0"/>
                </a:moveTo>
                <a:lnTo>
                  <a:pt x="0" y="0"/>
                </a:lnTo>
                <a:lnTo>
                  <a:pt x="0" y="1397"/>
                </a:lnTo>
                <a:lnTo>
                  <a:pt x="634" y="713"/>
                </a:lnTo>
                <a:lnTo>
                  <a:pt x="0" y="0"/>
                </a:lnTo>
                <a:close/>
              </a:path>
            </a:pathLst>
          </a:custGeom>
          <a:solidFill>
            <a:srgbClr val="9FA2AF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2" name="Freeform 70"/>
          <p:cNvSpPr>
            <a:spLocks/>
          </p:cNvSpPr>
          <p:nvPr userDrawn="1"/>
        </p:nvSpPr>
        <p:spPr bwMode="auto">
          <a:xfrm>
            <a:off x="1348740" y="1226382"/>
            <a:ext cx="1935374" cy="1254528"/>
          </a:xfrm>
          <a:custGeom>
            <a:avLst/>
            <a:gdLst>
              <a:gd name="T0" fmla="*/ 326 w 1127"/>
              <a:gd name="T1" fmla="*/ 0 h 730"/>
              <a:gd name="T2" fmla="*/ 326 w 1127"/>
              <a:gd name="T3" fmla="*/ 0 h 730"/>
              <a:gd name="T4" fmla="*/ 0 w 1127"/>
              <a:gd name="T5" fmla="*/ 342 h 730"/>
              <a:gd name="T6" fmla="*/ 1127 w 1127"/>
              <a:gd name="T7" fmla="*/ 730 h 730"/>
              <a:gd name="T8" fmla="*/ 326 w 1127"/>
              <a:gd name="T9" fmla="*/ 0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27" h="730">
                <a:moveTo>
                  <a:pt x="326" y="0"/>
                </a:moveTo>
                <a:lnTo>
                  <a:pt x="326" y="0"/>
                </a:lnTo>
                <a:lnTo>
                  <a:pt x="0" y="342"/>
                </a:lnTo>
                <a:lnTo>
                  <a:pt x="1127" y="730"/>
                </a:lnTo>
                <a:lnTo>
                  <a:pt x="326" y="0"/>
                </a:lnTo>
                <a:close/>
              </a:path>
            </a:pathLst>
          </a:custGeom>
          <a:solidFill>
            <a:srgbClr val="B2B4C0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3" name="Freeform 72"/>
          <p:cNvSpPr>
            <a:spLocks/>
          </p:cNvSpPr>
          <p:nvPr userDrawn="1"/>
        </p:nvSpPr>
        <p:spPr bwMode="auto">
          <a:xfrm>
            <a:off x="-1" y="1814119"/>
            <a:ext cx="3284115" cy="1898977"/>
          </a:xfrm>
          <a:custGeom>
            <a:avLst/>
            <a:gdLst>
              <a:gd name="T0" fmla="*/ 784 w 1911"/>
              <a:gd name="T1" fmla="*/ 0 h 1101"/>
              <a:gd name="T2" fmla="*/ 0 w 1911"/>
              <a:gd name="T3" fmla="*/ 819 h 1101"/>
              <a:gd name="T4" fmla="*/ 0 w 1911"/>
              <a:gd name="T5" fmla="*/ 1101 h 1101"/>
              <a:gd name="T6" fmla="*/ 1911 w 1911"/>
              <a:gd name="T7" fmla="*/ 388 h 1101"/>
              <a:gd name="T8" fmla="*/ 784 w 1911"/>
              <a:gd name="T9" fmla="*/ 0 h 1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11" h="1101">
                <a:moveTo>
                  <a:pt x="784" y="0"/>
                </a:moveTo>
                <a:lnTo>
                  <a:pt x="0" y="819"/>
                </a:lnTo>
                <a:lnTo>
                  <a:pt x="0" y="1101"/>
                </a:lnTo>
                <a:lnTo>
                  <a:pt x="1911" y="388"/>
                </a:lnTo>
                <a:lnTo>
                  <a:pt x="784" y="0"/>
                </a:lnTo>
                <a:close/>
              </a:path>
            </a:pathLst>
          </a:custGeom>
          <a:solidFill>
            <a:srgbClr val="CDD0D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4" name="Freeform 74"/>
          <p:cNvSpPr>
            <a:spLocks/>
          </p:cNvSpPr>
          <p:nvPr userDrawn="1"/>
        </p:nvSpPr>
        <p:spPr bwMode="auto">
          <a:xfrm>
            <a:off x="1907569" y="1226382"/>
            <a:ext cx="1376545" cy="1254528"/>
          </a:xfrm>
          <a:custGeom>
            <a:avLst/>
            <a:gdLst>
              <a:gd name="T0" fmla="*/ 801 w 801"/>
              <a:gd name="T1" fmla="*/ 0 h 730"/>
              <a:gd name="T2" fmla="*/ 0 w 801"/>
              <a:gd name="T3" fmla="*/ 0 h 730"/>
              <a:gd name="T4" fmla="*/ 801 w 801"/>
              <a:gd name="T5" fmla="*/ 730 h 730"/>
              <a:gd name="T6" fmla="*/ 801 w 801"/>
              <a:gd name="T7" fmla="*/ 0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1" h="730">
                <a:moveTo>
                  <a:pt x="801" y="0"/>
                </a:moveTo>
                <a:lnTo>
                  <a:pt x="0" y="0"/>
                </a:lnTo>
                <a:lnTo>
                  <a:pt x="801" y="730"/>
                </a:lnTo>
                <a:lnTo>
                  <a:pt x="801" y="0"/>
                </a:lnTo>
                <a:close/>
              </a:path>
            </a:pathLst>
          </a:custGeom>
          <a:solidFill>
            <a:srgbClr val="A3A5B3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5" name="Freeform 76"/>
          <p:cNvSpPr>
            <a:spLocks/>
          </p:cNvSpPr>
          <p:nvPr userDrawn="1"/>
        </p:nvSpPr>
        <p:spPr bwMode="auto">
          <a:xfrm>
            <a:off x="-1" y="4273339"/>
            <a:ext cx="1642917" cy="1790710"/>
          </a:xfrm>
          <a:custGeom>
            <a:avLst/>
            <a:gdLst>
              <a:gd name="T0" fmla="*/ 0 w 956"/>
              <a:gd name="T1" fmla="*/ 0 h 1042"/>
              <a:gd name="T2" fmla="*/ 0 w 956"/>
              <a:gd name="T3" fmla="*/ 1042 h 1042"/>
              <a:gd name="T4" fmla="*/ 956 w 956"/>
              <a:gd name="T5" fmla="*/ 1042 h 1042"/>
              <a:gd name="T6" fmla="*/ 0 w 956"/>
              <a:gd name="T7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042">
                <a:moveTo>
                  <a:pt x="0" y="0"/>
                </a:moveTo>
                <a:lnTo>
                  <a:pt x="0" y="1042"/>
                </a:lnTo>
                <a:lnTo>
                  <a:pt x="956" y="1042"/>
                </a:lnTo>
                <a:lnTo>
                  <a:pt x="0" y="0"/>
                </a:lnTo>
                <a:close/>
              </a:path>
            </a:pathLst>
          </a:custGeom>
          <a:solidFill>
            <a:srgbClr val="B0B3BE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6" name="Freeform 78"/>
          <p:cNvSpPr>
            <a:spLocks/>
          </p:cNvSpPr>
          <p:nvPr userDrawn="1"/>
        </p:nvSpPr>
        <p:spPr bwMode="auto">
          <a:xfrm>
            <a:off x="2187691" y="5347422"/>
            <a:ext cx="1096423" cy="716628"/>
          </a:xfrm>
          <a:custGeom>
            <a:avLst/>
            <a:gdLst>
              <a:gd name="T0" fmla="*/ 387 w 638"/>
              <a:gd name="T1" fmla="*/ 0 h 417"/>
              <a:gd name="T2" fmla="*/ 0 w 638"/>
              <a:gd name="T3" fmla="*/ 417 h 417"/>
              <a:gd name="T4" fmla="*/ 638 w 638"/>
              <a:gd name="T5" fmla="*/ 417 h 417"/>
              <a:gd name="T6" fmla="*/ 638 w 638"/>
              <a:gd name="T7" fmla="*/ 94 h 417"/>
              <a:gd name="T8" fmla="*/ 387 w 638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8" h="417">
                <a:moveTo>
                  <a:pt x="387" y="0"/>
                </a:moveTo>
                <a:lnTo>
                  <a:pt x="0" y="417"/>
                </a:lnTo>
                <a:lnTo>
                  <a:pt x="638" y="417"/>
                </a:lnTo>
                <a:lnTo>
                  <a:pt x="638" y="94"/>
                </a:lnTo>
                <a:lnTo>
                  <a:pt x="387" y="0"/>
                </a:lnTo>
                <a:close/>
              </a:path>
            </a:pathLst>
          </a:custGeom>
          <a:solidFill>
            <a:srgbClr val="B0B3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7" name="Freeform 80"/>
          <p:cNvSpPr>
            <a:spLocks/>
          </p:cNvSpPr>
          <p:nvPr userDrawn="1"/>
        </p:nvSpPr>
        <p:spPr bwMode="auto">
          <a:xfrm>
            <a:off x="3284114" y="5508964"/>
            <a:ext cx="1460752" cy="555086"/>
          </a:xfrm>
          <a:custGeom>
            <a:avLst/>
            <a:gdLst>
              <a:gd name="T0" fmla="*/ 0 w 850"/>
              <a:gd name="T1" fmla="*/ 0 h 323"/>
              <a:gd name="T2" fmla="*/ 0 w 850"/>
              <a:gd name="T3" fmla="*/ 323 h 323"/>
              <a:gd name="T4" fmla="*/ 850 w 850"/>
              <a:gd name="T5" fmla="*/ 323 h 323"/>
              <a:gd name="T6" fmla="*/ 0 w 850"/>
              <a:gd name="T7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50" h="323">
                <a:moveTo>
                  <a:pt x="0" y="0"/>
                </a:moveTo>
                <a:lnTo>
                  <a:pt x="0" y="323"/>
                </a:lnTo>
                <a:lnTo>
                  <a:pt x="850" y="323"/>
                </a:lnTo>
                <a:lnTo>
                  <a:pt x="0" y="0"/>
                </a:lnTo>
                <a:close/>
              </a:path>
            </a:pathLst>
          </a:custGeom>
          <a:solidFill>
            <a:srgbClr val="A6AAB5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8" name="Freeform 82"/>
          <p:cNvSpPr>
            <a:spLocks/>
          </p:cNvSpPr>
          <p:nvPr userDrawn="1"/>
        </p:nvSpPr>
        <p:spPr bwMode="auto">
          <a:xfrm>
            <a:off x="-1" y="4273339"/>
            <a:ext cx="2852763" cy="1790710"/>
          </a:xfrm>
          <a:custGeom>
            <a:avLst/>
            <a:gdLst>
              <a:gd name="T0" fmla="*/ 0 w 1660"/>
              <a:gd name="T1" fmla="*/ 0 h 1042"/>
              <a:gd name="T2" fmla="*/ 0 w 1660"/>
              <a:gd name="T3" fmla="*/ 0 h 1042"/>
              <a:gd name="T4" fmla="*/ 956 w 1660"/>
              <a:gd name="T5" fmla="*/ 1042 h 1042"/>
              <a:gd name="T6" fmla="*/ 1273 w 1660"/>
              <a:gd name="T7" fmla="*/ 1042 h 1042"/>
              <a:gd name="T8" fmla="*/ 1660 w 1660"/>
              <a:gd name="T9" fmla="*/ 625 h 1042"/>
              <a:gd name="T10" fmla="*/ 0 w 1660"/>
              <a:gd name="T11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60" h="1042">
                <a:moveTo>
                  <a:pt x="0" y="0"/>
                </a:moveTo>
                <a:lnTo>
                  <a:pt x="0" y="0"/>
                </a:lnTo>
                <a:lnTo>
                  <a:pt x="956" y="1042"/>
                </a:lnTo>
                <a:lnTo>
                  <a:pt x="1273" y="1042"/>
                </a:lnTo>
                <a:lnTo>
                  <a:pt x="1660" y="625"/>
                </a:lnTo>
                <a:lnTo>
                  <a:pt x="0" y="0"/>
                </a:lnTo>
                <a:close/>
              </a:path>
            </a:pathLst>
          </a:custGeom>
          <a:solidFill>
            <a:srgbClr val="9296A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9" name="Freeform 84"/>
          <p:cNvSpPr>
            <a:spLocks/>
          </p:cNvSpPr>
          <p:nvPr userDrawn="1"/>
        </p:nvSpPr>
        <p:spPr bwMode="auto">
          <a:xfrm>
            <a:off x="3287550" y="2480910"/>
            <a:ext cx="1666977" cy="1225314"/>
          </a:xfrm>
          <a:custGeom>
            <a:avLst/>
            <a:gdLst>
              <a:gd name="T0" fmla="*/ 0 w 972"/>
              <a:gd name="T1" fmla="*/ 0 h 713"/>
              <a:gd name="T2" fmla="*/ 634 w 972"/>
              <a:gd name="T3" fmla="*/ 713 h 713"/>
              <a:gd name="T4" fmla="*/ 972 w 972"/>
              <a:gd name="T5" fmla="*/ 357 h 713"/>
              <a:gd name="T6" fmla="*/ 0 w 972"/>
              <a:gd name="T7" fmla="*/ 0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2" h="713">
                <a:moveTo>
                  <a:pt x="0" y="0"/>
                </a:moveTo>
                <a:lnTo>
                  <a:pt x="634" y="713"/>
                </a:lnTo>
                <a:lnTo>
                  <a:pt x="972" y="357"/>
                </a:lnTo>
                <a:lnTo>
                  <a:pt x="0" y="0"/>
                </a:lnTo>
                <a:close/>
              </a:path>
            </a:pathLst>
          </a:custGeom>
          <a:solidFill>
            <a:srgbClr val="BAC0C4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0" name="Freeform 86"/>
          <p:cNvSpPr>
            <a:spLocks/>
          </p:cNvSpPr>
          <p:nvPr userDrawn="1"/>
        </p:nvSpPr>
        <p:spPr bwMode="auto">
          <a:xfrm>
            <a:off x="4373663" y="3082397"/>
            <a:ext cx="2249559" cy="623826"/>
          </a:xfrm>
          <a:custGeom>
            <a:avLst/>
            <a:gdLst>
              <a:gd name="T0" fmla="*/ 338 w 1309"/>
              <a:gd name="T1" fmla="*/ 0 h 356"/>
              <a:gd name="T2" fmla="*/ 338 w 1309"/>
              <a:gd name="T3" fmla="*/ 0 h 356"/>
              <a:gd name="T4" fmla="*/ 0 w 1309"/>
              <a:gd name="T5" fmla="*/ 356 h 356"/>
              <a:gd name="T6" fmla="*/ 0 w 1309"/>
              <a:gd name="T7" fmla="*/ 356 h 356"/>
              <a:gd name="T8" fmla="*/ 1309 w 1309"/>
              <a:gd name="T9" fmla="*/ 356 h 356"/>
              <a:gd name="T10" fmla="*/ 338 w 1309"/>
              <a:gd name="T11" fmla="*/ 0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9" h="356">
                <a:moveTo>
                  <a:pt x="338" y="0"/>
                </a:moveTo>
                <a:lnTo>
                  <a:pt x="338" y="0"/>
                </a:lnTo>
                <a:lnTo>
                  <a:pt x="0" y="356"/>
                </a:lnTo>
                <a:lnTo>
                  <a:pt x="0" y="356"/>
                </a:lnTo>
                <a:lnTo>
                  <a:pt x="1309" y="356"/>
                </a:lnTo>
                <a:lnTo>
                  <a:pt x="338" y="0"/>
                </a:lnTo>
                <a:close/>
              </a:path>
            </a:pathLst>
          </a:custGeom>
          <a:solidFill>
            <a:srgbClr val="A2A8B2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1" name="Freeform 90"/>
          <p:cNvSpPr>
            <a:spLocks/>
          </p:cNvSpPr>
          <p:nvPr userDrawn="1"/>
        </p:nvSpPr>
        <p:spPr bwMode="auto">
          <a:xfrm>
            <a:off x="4373663" y="3706223"/>
            <a:ext cx="3003994" cy="1048304"/>
          </a:xfrm>
          <a:custGeom>
            <a:avLst/>
            <a:gdLst>
              <a:gd name="T0" fmla="*/ 1309 w 1748"/>
              <a:gd name="T1" fmla="*/ 0 h 610"/>
              <a:gd name="T2" fmla="*/ 0 w 1748"/>
              <a:gd name="T3" fmla="*/ 0 h 610"/>
              <a:gd name="T4" fmla="*/ 545 w 1748"/>
              <a:gd name="T5" fmla="*/ 610 h 610"/>
              <a:gd name="T6" fmla="*/ 1748 w 1748"/>
              <a:gd name="T7" fmla="*/ 161 h 610"/>
              <a:gd name="T8" fmla="*/ 1309 w 1748"/>
              <a:gd name="T9" fmla="*/ 0 h 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8" h="610">
                <a:moveTo>
                  <a:pt x="1309" y="0"/>
                </a:moveTo>
                <a:lnTo>
                  <a:pt x="0" y="0"/>
                </a:lnTo>
                <a:lnTo>
                  <a:pt x="545" y="610"/>
                </a:lnTo>
                <a:lnTo>
                  <a:pt x="1748" y="161"/>
                </a:lnTo>
                <a:lnTo>
                  <a:pt x="1309" y="0"/>
                </a:lnTo>
                <a:close/>
              </a:path>
            </a:pathLst>
          </a:custGeom>
          <a:solidFill>
            <a:srgbClr val="8FBBC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2" name="Freeform 100"/>
          <p:cNvSpPr>
            <a:spLocks/>
          </p:cNvSpPr>
          <p:nvPr userDrawn="1"/>
        </p:nvSpPr>
        <p:spPr bwMode="auto">
          <a:xfrm>
            <a:off x="4957963" y="1219510"/>
            <a:ext cx="2419694" cy="2486713"/>
          </a:xfrm>
          <a:custGeom>
            <a:avLst/>
            <a:gdLst>
              <a:gd name="T0" fmla="*/ 1032 w 1410"/>
              <a:gd name="T1" fmla="*/ 0 h 1443"/>
              <a:gd name="T2" fmla="*/ 0 w 1410"/>
              <a:gd name="T3" fmla="*/ 1087 h 1443"/>
              <a:gd name="T4" fmla="*/ 971 w 1410"/>
              <a:gd name="T5" fmla="*/ 1443 h 1443"/>
              <a:gd name="T6" fmla="*/ 1410 w 1410"/>
              <a:gd name="T7" fmla="*/ 1443 h 1443"/>
              <a:gd name="T8" fmla="*/ 1408 w 1410"/>
              <a:gd name="T9" fmla="*/ 399 h 1443"/>
              <a:gd name="T10" fmla="*/ 1032 w 1410"/>
              <a:gd name="T11" fmla="*/ 0 h 1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10" h="1443">
                <a:moveTo>
                  <a:pt x="1032" y="0"/>
                </a:moveTo>
                <a:lnTo>
                  <a:pt x="0" y="1087"/>
                </a:lnTo>
                <a:lnTo>
                  <a:pt x="971" y="1443"/>
                </a:lnTo>
                <a:lnTo>
                  <a:pt x="1410" y="1443"/>
                </a:lnTo>
                <a:lnTo>
                  <a:pt x="1408" y="399"/>
                </a:lnTo>
                <a:lnTo>
                  <a:pt x="1032" y="0"/>
                </a:lnTo>
                <a:close/>
              </a:path>
            </a:pathLst>
          </a:custGeom>
          <a:solidFill>
            <a:srgbClr val="6FA8BE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3" name="Freeform 102"/>
          <p:cNvSpPr>
            <a:spLocks/>
          </p:cNvSpPr>
          <p:nvPr userDrawn="1"/>
        </p:nvSpPr>
        <p:spPr bwMode="auto">
          <a:xfrm>
            <a:off x="6623221" y="3706223"/>
            <a:ext cx="754436" cy="276684"/>
          </a:xfrm>
          <a:custGeom>
            <a:avLst/>
            <a:gdLst>
              <a:gd name="T0" fmla="*/ 439 w 439"/>
              <a:gd name="T1" fmla="*/ 0 h 161"/>
              <a:gd name="T2" fmla="*/ 0 w 439"/>
              <a:gd name="T3" fmla="*/ 0 h 161"/>
              <a:gd name="T4" fmla="*/ 439 w 439"/>
              <a:gd name="T5" fmla="*/ 161 h 161"/>
              <a:gd name="T6" fmla="*/ 439 w 439"/>
              <a:gd name="T7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39" h="161">
                <a:moveTo>
                  <a:pt x="439" y="0"/>
                </a:moveTo>
                <a:lnTo>
                  <a:pt x="0" y="0"/>
                </a:lnTo>
                <a:lnTo>
                  <a:pt x="439" y="161"/>
                </a:lnTo>
                <a:lnTo>
                  <a:pt x="439" y="0"/>
                </a:lnTo>
                <a:close/>
              </a:path>
            </a:pathLst>
          </a:custGeom>
          <a:solidFill>
            <a:srgbClr val="57BCD5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4" name="Freeform 106"/>
          <p:cNvSpPr>
            <a:spLocks/>
          </p:cNvSpPr>
          <p:nvPr userDrawn="1"/>
        </p:nvSpPr>
        <p:spPr bwMode="auto">
          <a:xfrm>
            <a:off x="6728052" y="992662"/>
            <a:ext cx="646168" cy="914259"/>
          </a:xfrm>
          <a:custGeom>
            <a:avLst/>
            <a:gdLst>
              <a:gd name="T0" fmla="*/ 376 w 376"/>
              <a:gd name="T1" fmla="*/ 0 h 532"/>
              <a:gd name="T2" fmla="*/ 0 w 376"/>
              <a:gd name="T3" fmla="*/ 136 h 532"/>
              <a:gd name="T4" fmla="*/ 0 w 376"/>
              <a:gd name="T5" fmla="*/ 136 h 532"/>
              <a:gd name="T6" fmla="*/ 1 w 376"/>
              <a:gd name="T7" fmla="*/ 136 h 532"/>
              <a:gd name="T8" fmla="*/ 376 w 376"/>
              <a:gd name="T9" fmla="*/ 532 h 532"/>
              <a:gd name="T10" fmla="*/ 376 w 376"/>
              <a:gd name="T11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6" h="532">
                <a:moveTo>
                  <a:pt x="376" y="0"/>
                </a:moveTo>
                <a:lnTo>
                  <a:pt x="0" y="136"/>
                </a:lnTo>
                <a:lnTo>
                  <a:pt x="0" y="136"/>
                </a:lnTo>
                <a:lnTo>
                  <a:pt x="1" y="136"/>
                </a:lnTo>
                <a:lnTo>
                  <a:pt x="376" y="532"/>
                </a:lnTo>
                <a:lnTo>
                  <a:pt x="376" y="0"/>
                </a:lnTo>
                <a:close/>
              </a:path>
            </a:pathLst>
          </a:custGeom>
          <a:solidFill>
            <a:srgbClr val="81BACC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5" name="Freeform 116"/>
          <p:cNvSpPr>
            <a:spLocks/>
          </p:cNvSpPr>
          <p:nvPr userDrawn="1"/>
        </p:nvSpPr>
        <p:spPr bwMode="auto">
          <a:xfrm>
            <a:off x="3284114" y="1226382"/>
            <a:ext cx="3443938" cy="1868045"/>
          </a:xfrm>
          <a:custGeom>
            <a:avLst/>
            <a:gdLst>
              <a:gd name="T0" fmla="*/ 2004 w 2004"/>
              <a:gd name="T1" fmla="*/ 0 h 1087"/>
              <a:gd name="T2" fmla="*/ 0 w 2004"/>
              <a:gd name="T3" fmla="*/ 730 h 1087"/>
              <a:gd name="T4" fmla="*/ 972 w 2004"/>
              <a:gd name="T5" fmla="*/ 1087 h 1087"/>
              <a:gd name="T6" fmla="*/ 2004 w 2004"/>
              <a:gd name="T7" fmla="*/ 0 h 1087"/>
              <a:gd name="T8" fmla="*/ 2004 w 2004"/>
              <a:gd name="T9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04" h="1087">
                <a:moveTo>
                  <a:pt x="2004" y="0"/>
                </a:moveTo>
                <a:lnTo>
                  <a:pt x="0" y="730"/>
                </a:lnTo>
                <a:lnTo>
                  <a:pt x="972" y="1087"/>
                </a:lnTo>
                <a:lnTo>
                  <a:pt x="2004" y="0"/>
                </a:lnTo>
                <a:lnTo>
                  <a:pt x="2004" y="0"/>
                </a:lnTo>
                <a:close/>
              </a:path>
            </a:pathLst>
          </a:custGeom>
          <a:solidFill>
            <a:srgbClr val="42BBD7">
              <a:alpha val="4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6" name="Freeform 117"/>
          <p:cNvSpPr>
            <a:spLocks/>
          </p:cNvSpPr>
          <p:nvPr userDrawn="1"/>
        </p:nvSpPr>
        <p:spPr bwMode="auto">
          <a:xfrm>
            <a:off x="3284114" y="1226382"/>
            <a:ext cx="3443938" cy="1868045"/>
          </a:xfrm>
          <a:custGeom>
            <a:avLst/>
            <a:gdLst>
              <a:gd name="T0" fmla="*/ 2004 w 2004"/>
              <a:gd name="T1" fmla="*/ 0 h 1087"/>
              <a:gd name="T2" fmla="*/ 0 w 2004"/>
              <a:gd name="T3" fmla="*/ 730 h 1087"/>
              <a:gd name="T4" fmla="*/ 972 w 2004"/>
              <a:gd name="T5" fmla="*/ 1087 h 1087"/>
              <a:gd name="T6" fmla="*/ 2004 w 2004"/>
              <a:gd name="T7" fmla="*/ 0 h 1087"/>
              <a:gd name="T8" fmla="*/ 2004 w 2004"/>
              <a:gd name="T9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04" h="1087">
                <a:moveTo>
                  <a:pt x="2004" y="0"/>
                </a:moveTo>
                <a:lnTo>
                  <a:pt x="0" y="730"/>
                </a:lnTo>
                <a:lnTo>
                  <a:pt x="972" y="1087"/>
                </a:lnTo>
                <a:lnTo>
                  <a:pt x="2004" y="0"/>
                </a:lnTo>
                <a:lnTo>
                  <a:pt x="200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7" name="Freeform 119"/>
          <p:cNvSpPr>
            <a:spLocks/>
          </p:cNvSpPr>
          <p:nvPr userDrawn="1"/>
        </p:nvSpPr>
        <p:spPr bwMode="auto">
          <a:xfrm>
            <a:off x="4954527" y="1226382"/>
            <a:ext cx="1773525" cy="1868045"/>
          </a:xfrm>
          <a:custGeom>
            <a:avLst/>
            <a:gdLst>
              <a:gd name="T0" fmla="*/ 1032 w 1032"/>
              <a:gd name="T1" fmla="*/ 0 h 1087"/>
              <a:gd name="T2" fmla="*/ 0 w 1032"/>
              <a:gd name="T3" fmla="*/ 1087 h 1087"/>
              <a:gd name="T4" fmla="*/ 0 w 1032"/>
              <a:gd name="T5" fmla="*/ 1087 h 1087"/>
              <a:gd name="T6" fmla="*/ 1032 w 1032"/>
              <a:gd name="T7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32" h="1087">
                <a:moveTo>
                  <a:pt x="1032" y="0"/>
                </a:moveTo>
                <a:lnTo>
                  <a:pt x="0" y="1087"/>
                </a:lnTo>
                <a:lnTo>
                  <a:pt x="0" y="1087"/>
                </a:lnTo>
                <a:lnTo>
                  <a:pt x="10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027" y="3536124"/>
            <a:ext cx="2358092" cy="41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2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7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6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7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84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89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92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9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107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12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11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127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13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36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 nodePh="1">
                                  <p:stCondLst>
                                    <p:cond delay="1400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 nodePh="1">
                                  <p:stCondLst>
                                    <p:cond delay="1430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/>
      <p:bldP spid="37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27832" y="1495914"/>
            <a:ext cx="1498641" cy="2899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1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4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5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6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7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8</a:t>
            </a:r>
          </a:p>
          <a:p>
            <a:pPr lvl="0"/>
            <a:r>
              <a:rPr lang="nl-NL" dirty="0" smtClean="0"/>
              <a:t>Agenda </a:t>
            </a:r>
            <a:r>
              <a:rPr lang="nl-NL" dirty="0" err="1" smtClean="0"/>
              <a:t>bullet</a:t>
            </a:r>
            <a:r>
              <a:rPr lang="nl-NL" dirty="0" smtClean="0"/>
              <a:t> 9</a:t>
            </a:r>
          </a:p>
          <a:p>
            <a:pPr lvl="0"/>
            <a:endParaRPr lang="nl-NL" dirty="0" smtClean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81400" y="1495816"/>
            <a:ext cx="703266" cy="2899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defRPr>
            </a:lvl1pPr>
          </a:lstStyle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 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</a:t>
            </a:r>
          </a:p>
          <a:p>
            <a:pPr lvl="0"/>
            <a:r>
              <a:rPr lang="nl-NL" dirty="0" smtClean="0"/>
              <a:t>00:00 	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4407" y="4934654"/>
            <a:ext cx="1016909" cy="180078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" y="0"/>
            <a:ext cx="4562983" cy="5143500"/>
          </a:xfrm>
          <a:custGeom>
            <a:avLst/>
            <a:gdLst>
              <a:gd name="connsiteX0" fmla="*/ 0 w 4562983"/>
              <a:gd name="connsiteY0" fmla="*/ 0 h 5143500"/>
              <a:gd name="connsiteX1" fmla="*/ 4406900 w 4562983"/>
              <a:gd name="connsiteY1" fmla="*/ 0 h 5143500"/>
              <a:gd name="connsiteX2" fmla="*/ 4406900 w 4562983"/>
              <a:gd name="connsiteY2" fmla="*/ 581535 h 5143500"/>
              <a:gd name="connsiteX3" fmla="*/ 4562983 w 4562983"/>
              <a:gd name="connsiteY3" fmla="*/ 700088 h 5143500"/>
              <a:gd name="connsiteX4" fmla="*/ 4406900 w 4562983"/>
              <a:gd name="connsiteY4" fmla="*/ 818640 h 5143500"/>
              <a:gd name="connsiteX5" fmla="*/ 4406900 w 4562983"/>
              <a:gd name="connsiteY5" fmla="*/ 5143500 h 5143500"/>
              <a:gd name="connsiteX6" fmla="*/ 0 w 4562983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62983" h="5143500">
                <a:moveTo>
                  <a:pt x="0" y="0"/>
                </a:moveTo>
                <a:lnTo>
                  <a:pt x="4406900" y="0"/>
                </a:lnTo>
                <a:lnTo>
                  <a:pt x="4406900" y="581535"/>
                </a:lnTo>
                <a:lnTo>
                  <a:pt x="4562983" y="700088"/>
                </a:lnTo>
                <a:lnTo>
                  <a:pt x="4406900" y="818640"/>
                </a:lnTo>
                <a:lnTo>
                  <a:pt x="44069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60" name="Text Placeholder 59"/>
          <p:cNvSpPr>
            <a:spLocks noGrp="1"/>
          </p:cNvSpPr>
          <p:nvPr>
            <p:ph type="body" sz="quarter" idx="13" hasCustomPrompt="1"/>
          </p:nvPr>
        </p:nvSpPr>
        <p:spPr>
          <a:xfrm>
            <a:off x="4811026" y="474922"/>
            <a:ext cx="1220389" cy="4127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/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2088" y="0"/>
            <a:ext cx="152191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5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160"/>
            <a:ext cx="9144000" cy="515366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15240"/>
            <a:ext cx="9144000" cy="5163820"/>
          </a:xfrm>
          <a:prstGeom prst="rect">
            <a:avLst/>
          </a:prstGeom>
          <a:solidFill>
            <a:srgbClr val="00B8D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8" name="Rectangle 77"/>
          <p:cNvSpPr/>
          <p:nvPr userDrawn="1"/>
        </p:nvSpPr>
        <p:spPr bwMode="auto">
          <a:xfrm>
            <a:off x="544136" y="1304464"/>
            <a:ext cx="1344637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Rectangle 78"/>
          <p:cNvSpPr/>
          <p:nvPr userDrawn="1"/>
        </p:nvSpPr>
        <p:spPr bwMode="white">
          <a:xfrm>
            <a:off x="544135" y="3277669"/>
            <a:ext cx="1344638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ectangle 79"/>
          <p:cNvSpPr/>
          <p:nvPr userDrawn="1"/>
        </p:nvSpPr>
        <p:spPr bwMode="white">
          <a:xfrm>
            <a:off x="544135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/>
          <p:cNvSpPr/>
          <p:nvPr userDrawn="1"/>
        </p:nvSpPr>
        <p:spPr bwMode="white">
          <a:xfrm>
            <a:off x="2033154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Rectangle 81"/>
          <p:cNvSpPr/>
          <p:nvPr userDrawn="1"/>
        </p:nvSpPr>
        <p:spPr bwMode="white">
          <a:xfrm>
            <a:off x="2033154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44135" y="1789889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2033154" y="1792671"/>
            <a:ext cx="1344638" cy="1342046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4133" y="3279242"/>
            <a:ext cx="1344639" cy="1344828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033154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5" name="Picture Placeholder 4"/>
          <p:cNvSpPr>
            <a:spLocks noGrp="1"/>
          </p:cNvSpPr>
          <p:nvPr>
            <p:ph type="pic" sz="quarter" idx="26" hasCustomPrompt="1"/>
          </p:nvPr>
        </p:nvSpPr>
        <p:spPr>
          <a:xfrm>
            <a:off x="820453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96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2309472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99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2309472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102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820454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544329" y="749779"/>
            <a:ext cx="1198746" cy="411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86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0.00432 L -1.66667E-6 0.38334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38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" fill="hold"/>
                                        <p:tgtEl>
                                          <p:spTgt spid="80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7" presetClass="path" presetSubtype="0" decel="10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3976 -0.48858 C 0.62952 -0.47778 0.55816 0.0034 -1.66667E-6 -0.00031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97" y="2441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8" presetClass="emph" presetSubtype="0" accel="48649" decel="48649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1" dur="37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8" presetClass="emph" presetSubtype="0" decel="100000" fill="hold" grpId="6" nodeType="withEffect">
                                  <p:stCondLst>
                                    <p:cond delay="370"/>
                                  </p:stCondLst>
                                  <p:childTnLst>
                                    <p:animRot by="600000">
                                      <p:cBhvr>
                                        <p:cTn id="23" dur="37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80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" fill="hold"/>
                                        <p:tgtEl>
                                          <p:spTgt spid="82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2448 -0.54136 C 0.91441 -0.53086 0.55781 0.00247 1.11111E-6 -0.00062 " pathEditMode="relative" rAng="0" ptsTypes="AA">
                                      <p:cBhvr>
                                        <p:cTn id="36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233" y="27037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">
                                      <p:cBhvr>
                                        <p:cTn id="38" dur="37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600000">
                                      <p:cBhvr>
                                        <p:cTn id="40" dur="37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2" dur="750" fill="hold"/>
                                        <p:tgtEl>
                                          <p:spTgt spid="82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10" fill="hold"/>
                                        <p:tgtEl>
                                          <p:spTgt spid="81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7118 0.54506 C 0.66076 0.53734 0.55816 -0.00278 1.11111E-6 3.82716E-6 " pathEditMode="relative" rAng="0" ptsTypes="AA">
                                      <p:cBhvr>
                                        <p:cTn id="53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559" y="-2728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300000">
                                      <p:cBhvr>
                                        <p:cTn id="55" dur="37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300000">
                                      <p:cBhvr>
                                        <p:cTn id="57" dur="37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8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59" dur="750" fill="hold"/>
                                        <p:tgtEl>
                                          <p:spTgt spid="81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9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5.55112E-17 L -1.66667E-6 5.55112E-17 " pathEditMode="relative" rAng="0" ptsTypes="AA">
                                      <p:cBhvr>
                                        <p:cTn id="64" dur="9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66" dur="500" fill="hold"/>
                                        <p:tgtEl>
                                          <p:spTgt spid="8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9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1.35802E-6 L 1.11111E-6 1.35802E-6 " pathEditMode="relative" rAng="0" ptsTypes="AA">
                                      <p:cBhvr>
                                        <p:cTn id="71" dur="9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73" dur="500" fill="hold"/>
                                        <p:tgtEl>
                                          <p:spTgt spid="84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9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-1.66667E-6 3.82716E-6 " pathEditMode="relative" rAng="0" ptsTypes="AA">
                                      <p:cBhvr>
                                        <p:cTn id="78" dur="9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0" dur="500" fill="hold"/>
                                        <p:tgtEl>
                                          <p:spTgt spid="8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9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1.11111E-6 3.82716E-6 " pathEditMode="relative" rAng="0" ptsTypes="AA">
                                      <p:cBhvr>
                                        <p:cTn id="85" dur="9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7" dur="500" fill="hold"/>
                                        <p:tgtEl>
                                          <p:spTgt spid="86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26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8" grpId="0" animBg="1"/>
      <p:bldP spid="79" grpId="0" animBg="1"/>
      <p:bldP spid="80" grpId="0" animBg="1"/>
      <p:bldP spid="80" grpId="1" animBg="1"/>
      <p:bldP spid="80" grpId="2" animBg="1"/>
      <p:bldP spid="80" grpId="3" animBg="1"/>
      <p:bldP spid="80" grpId="4" animBg="1"/>
      <p:bldP spid="80" grpId="5" animBg="1"/>
      <p:bldP spid="80" grpId="6" animBg="1"/>
      <p:bldP spid="80" grpId="7" animBg="1"/>
      <p:bldP spid="81" grpId="0" animBg="1"/>
      <p:bldP spid="81" grpId="1" animBg="1"/>
      <p:bldP spid="81" grpId="2" animBg="1"/>
      <p:bldP spid="81" grpId="3" animBg="1"/>
      <p:bldP spid="81" grpId="4" animBg="1"/>
      <p:bldP spid="81" grpId="5" animBg="1"/>
      <p:bldP spid="81" grpId="6" animBg="1"/>
      <p:bldP spid="81" grpId="7" animBg="1"/>
      <p:bldP spid="82" grpId="0" animBg="1"/>
      <p:bldP spid="82" grpId="1" animBg="1"/>
      <p:bldP spid="82" grpId="2" animBg="1"/>
      <p:bldP spid="82" grpId="3" animBg="1"/>
      <p:bldP spid="82" grpId="4" animBg="1"/>
      <p:bldP spid="82" grpId="5" animBg="1"/>
      <p:bldP spid="82" grpId="6" animBg="1"/>
      <p:bldP spid="82" grpId="7" animBg="1"/>
      <p:bldP spid="83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5.55112E-17 L -1.66667E-6 5.55112E-17 " pathEditMode="relative" rAng="0" ptsTypes="AA">
                      <p:cBhvr>
                        <p:cTn dur="950" fill="hold"/>
                        <p:tgtEl>
                          <p:spTgt spid="8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83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83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84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1.35802E-6 L 1.11111E-6 1.35802E-6 " pathEditMode="relative" rAng="0" ptsTypes="AA">
                      <p:cBhvr>
                        <p:cTn dur="950" fill="hold"/>
                        <p:tgtEl>
                          <p:spTgt spid="8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84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84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85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-1.66667E-6 3.82716E-6 " pathEditMode="relative" rAng="0" ptsTypes="AA">
                      <p:cBhvr>
                        <p:cTn dur="950" fill="hold"/>
                        <p:tgtEl>
                          <p:spTgt spid="8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8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85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86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1.11111E-6 3.82716E-6 " pathEditMode="relative" rAng="0" ptsTypes="AA">
                      <p:cBhvr>
                        <p:cTn dur="950" fill="hold"/>
                        <p:tgtEl>
                          <p:spTgt spid="8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86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86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95" grpId="0"/>
      <p:bldP spid="96" grpId="0"/>
      <p:bldP spid="99" grpId="0"/>
      <p:bldP spid="10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6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160"/>
            <a:ext cx="9144000" cy="515366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15240"/>
            <a:ext cx="9144000" cy="5163820"/>
          </a:xfrm>
          <a:prstGeom prst="rect">
            <a:avLst/>
          </a:prstGeom>
          <a:solidFill>
            <a:srgbClr val="00B8D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544136" y="1304464"/>
            <a:ext cx="1344637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44135" y="3277669"/>
            <a:ext cx="1344638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544135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2033154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white">
          <a:xfrm>
            <a:off x="2033154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44135" y="1789889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2033154" y="1792671"/>
            <a:ext cx="1344638" cy="1342046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4133" y="3279242"/>
            <a:ext cx="1344639" cy="1344828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033154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Rectangle 13"/>
          <p:cNvSpPr/>
          <p:nvPr userDrawn="1"/>
        </p:nvSpPr>
        <p:spPr bwMode="white">
          <a:xfrm>
            <a:off x="3522173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 bwMode="white">
          <a:xfrm>
            <a:off x="3522173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522172" y="1789889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522172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6" hasCustomPrompt="1"/>
          </p:nvPr>
        </p:nvSpPr>
        <p:spPr>
          <a:xfrm>
            <a:off x="820453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2309472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3798491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2309472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2" hasCustomPrompt="1"/>
          </p:nvPr>
        </p:nvSpPr>
        <p:spPr>
          <a:xfrm>
            <a:off x="3798491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820454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544329" y="749779"/>
            <a:ext cx="1198746" cy="411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3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0.00432 L -1.66667E-6 0.38334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38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7" presetClass="path" presetSubtype="0" decel="10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3976 -0.48858 C 0.62952 -0.47778 0.55816 0.0034 -1.66667E-6 -0.00031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97" y="2441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8" presetClass="emph" presetSubtype="0" accel="48649" decel="48649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1" dur="37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8" presetClass="emph" presetSubtype="0" decel="100000" fill="hold" grpId="6" nodeType="withEffect">
                                  <p:stCondLst>
                                    <p:cond delay="370"/>
                                  </p:stCondLst>
                                  <p:childTnLst>
                                    <p:animRot by="600000">
                                      <p:cBhvr>
                                        <p:cTn id="23" dur="37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2448 -0.54136 C 0.91441 -0.53086 0.55781 0.00247 1.11111E-6 -0.00062 " pathEditMode="relative" rAng="0" ptsTypes="AA">
                                      <p:cBhvr>
                                        <p:cTn id="3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233" y="27037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">
                                      <p:cBhvr>
                                        <p:cTn id="38" dur="37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600000">
                                      <p:cBhvr>
                                        <p:cTn id="40" dur="37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2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10" fill="hold"/>
                                        <p:tgtEl>
                                          <p:spTgt spid="8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7118 0.54506 C 0.66076 0.53734 0.55816 -0.00278 1.11111E-6 3.82716E-6 " pathEditMode="relative" rAng="0" ptsTypes="AA">
                                      <p:cBhvr>
                                        <p:cTn id="53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559" y="-2728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300000">
                                      <p:cBhvr>
                                        <p:cTn id="55" dur="37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300000">
                                      <p:cBhvr>
                                        <p:cTn id="57" dur="37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8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59" dur="750" fill="hold"/>
                                        <p:tgtEl>
                                          <p:spTgt spid="8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9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5.55112E-17 L -1.66667E-6 5.55112E-17 " pathEditMode="relative" rAng="0" ptsTypes="AA">
                                      <p:cBhvr>
                                        <p:cTn id="64" dur="9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66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1.35802E-6 L 1.11111E-6 1.35802E-6 " pathEditMode="relative" rAng="0" ptsTypes="AA">
                                      <p:cBhvr>
                                        <p:cTn id="71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73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-1.66667E-6 3.82716E-6 " pathEditMode="relative" rAng="0" ptsTypes="AA">
                                      <p:cBhvr>
                                        <p:cTn id="78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1.11111E-6 3.82716E-6 " pathEditMode="relative" rAng="0" ptsTypes="AA">
                                      <p:cBhvr>
                                        <p:cTn id="85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7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3" dur="10" fill="hold"/>
                                        <p:tgtEl>
                                          <p:spTgt spid="16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82691 -0.32654 C 1.10833 -0.31605 0.97708 0.0034 3.88889E-6 -0.00031 " pathEditMode="relative" rAng="0" ptsTypes="AA">
                                      <p:cBhvr>
                                        <p:cTn id="98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16296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600000">
                                      <p:cBhvr>
                                        <p:cTn id="100" dur="37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1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600000">
                                      <p:cBhvr>
                                        <p:cTn id="102" dur="37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3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4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0" dur="10" fill="hold"/>
                                        <p:tgtEl>
                                          <p:spTgt spid="14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32604 0.43642 C 0.91614 0.42685 0.55781 -0.00309 3.88889E-6 3.82716E-6 " pathEditMode="relative" rAng="0" ptsTypes="AA">
                                      <p:cBhvr>
                                        <p:cTn id="115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302" y="-2185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300000">
                                      <p:cBhvr>
                                        <p:cTn id="117" dur="3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8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300000">
                                      <p:cBhvr>
                                        <p:cTn id="119" dur="3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0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21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9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9 5.55112E-17 L 3.88889E-6 5.55112E-17 " pathEditMode="relative" rAng="0" ptsTypes="AA">
                                      <p:cBhvr>
                                        <p:cTn id="129" dur="9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31" dur="500" fill="hold"/>
                                        <p:tgtEl>
                                          <p:spTgt spid="18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9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9 3.82716E-6 L 3.88889E-6 3.82716E-6 " pathEditMode="relative" rAng="0" ptsTypes="AA">
                                      <p:cBhvr>
                                        <p:cTn id="136" dur="9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37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38" dur="500" fill="hold"/>
                                        <p:tgtEl>
                                          <p:spTgt spid="20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6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7" grpId="1" animBg="1"/>
      <p:bldP spid="7" grpId="2" animBg="1"/>
      <p:bldP spid="7" grpId="3" animBg="1"/>
      <p:bldP spid="7" grpId="4" animBg="1"/>
      <p:bldP spid="7" grpId="5" animBg="1"/>
      <p:bldP spid="7" grpId="6" animBg="1"/>
      <p:bldP spid="7" grpId="7" animBg="1"/>
      <p:bldP spid="8" grpId="0" animBg="1"/>
      <p:bldP spid="8" grpId="1" animBg="1"/>
      <p:bldP spid="8" grpId="2" animBg="1"/>
      <p:bldP spid="8" grpId="3" animBg="1"/>
      <p:bldP spid="8" grpId="4" animBg="1"/>
      <p:bldP spid="8" grpId="5" animBg="1"/>
      <p:bldP spid="8" grpId="6" animBg="1"/>
      <p:bldP spid="8" grpId="7" animBg="1"/>
      <p:bldP spid="9" grpId="0" animBg="1"/>
      <p:bldP spid="9" grpId="1" animBg="1"/>
      <p:bldP spid="9" grpId="2" animBg="1"/>
      <p:bldP spid="9" grpId="3" animBg="1"/>
      <p:bldP spid="9" grpId="4" animBg="1"/>
      <p:bldP spid="9" grpId="5" animBg="1"/>
      <p:bldP spid="9" grpId="6" animBg="1"/>
      <p:bldP spid="9" grpId="7" animBg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5.55112E-17 L -1.66667E-6 5.55112E-17 " pathEditMode="relative" rAng="0" ptsTypes="AA">
                      <p:cBhvr>
                        <p:cTn dur="95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0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0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1.35802E-6 L 1.11111E-6 1.35802E-6 " pathEditMode="relative" rAng="0" ptsTypes="AA">
                      <p:cBhvr>
                        <p:cTn dur="95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1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1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-1.66667E-6 3.82716E-6 " pathEditMode="relative" rAng="0" ptsTypes="AA">
                      <p:cBhvr>
                        <p:cTn dur="95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2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2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1.11111E-6 3.82716E-6 " pathEditMode="relative" rAng="0" ptsTypes="AA">
                      <p:cBhvr>
                        <p:cTn dur="95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3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3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4" grpId="0" animBg="1"/>
      <p:bldP spid="14" grpId="1" animBg="1"/>
      <p:bldP spid="14" grpId="2" animBg="1"/>
      <p:bldP spid="14" grpId="3" animBg="1"/>
      <p:bldP spid="14" grpId="4" animBg="1"/>
      <p:bldP spid="14" grpId="5" animBg="1"/>
      <p:bldP spid="14" grpId="6" animBg="1"/>
      <p:bldP spid="14" grpId="7" animBg="1"/>
      <p:bldP spid="16" grpId="0" animBg="1"/>
      <p:bldP spid="16" grpId="1" animBg="1"/>
      <p:bldP spid="16" grpId="2" animBg="1"/>
      <p:bldP spid="16" grpId="3" animBg="1"/>
      <p:bldP spid="16" grpId="4" animBg="1"/>
      <p:bldP spid="16" grpId="5" animBg="1"/>
      <p:bldP spid="16" grpId="6" animBg="1"/>
      <p:bldP spid="16" grpId="7" animBg="1"/>
      <p:bldP spid="18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9 5.55112E-17 L 3.88889E-6 5.55112E-17 " pathEditMode="relative" rAng="0" ptsTypes="AA">
                      <p:cBhvr>
                        <p:cTn dur="95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8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8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9 3.82716E-6 L 3.88889E-6 3.82716E-6 " pathEditMode="relative" rAng="0" ptsTypes="AA">
                      <p:cBhvr>
                        <p:cTn dur="95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20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20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22" grpId="0"/>
      <p:bldP spid="23" grpId="0"/>
      <p:bldP spid="24" grpId="0"/>
      <p:bldP spid="26" grpId="0"/>
      <p:bldP spid="27" grpId="0"/>
      <p:bldP spid="29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160"/>
            <a:ext cx="9144000" cy="515366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-15240"/>
            <a:ext cx="9144000" cy="5163820"/>
          </a:xfrm>
          <a:prstGeom prst="rect">
            <a:avLst/>
          </a:prstGeom>
          <a:solidFill>
            <a:srgbClr val="00B8D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544136" y="1304464"/>
            <a:ext cx="1344637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544135" y="3277669"/>
            <a:ext cx="1344638" cy="13464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544135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2033154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white">
          <a:xfrm>
            <a:off x="2033154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44135" y="1789889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2033154" y="1792671"/>
            <a:ext cx="1344638" cy="1342046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4133" y="3279242"/>
            <a:ext cx="1344639" cy="1344828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033154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4" name="Rectangle 13"/>
          <p:cNvSpPr/>
          <p:nvPr userDrawn="1"/>
        </p:nvSpPr>
        <p:spPr bwMode="white">
          <a:xfrm>
            <a:off x="3522173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white">
          <a:xfrm>
            <a:off x="5034341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 bwMode="white">
          <a:xfrm>
            <a:off x="3522173" y="1789888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 bwMode="white">
          <a:xfrm>
            <a:off x="5034341" y="3279241"/>
            <a:ext cx="1344637" cy="134482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522172" y="1789889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034340" y="1789888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522172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5027550" y="3279242"/>
            <a:ext cx="1344638" cy="1344827"/>
          </a:xfrm>
          <a:prstGeom prst="rect">
            <a:avLst/>
          </a:prstGeom>
          <a:noFill/>
        </p:spPr>
        <p:txBody>
          <a:bodyPr lIns="134453" tIns="107563" rIns="134453" bIns="107563" anchor="b">
            <a:noAutofit/>
          </a:bodyPr>
          <a:lstStyle>
            <a:lvl1pPr marL="0" indent="0">
              <a:spcBef>
                <a:spcPts val="0"/>
              </a:spcBef>
              <a:buNone/>
              <a:defRPr sz="1200" i="0" spc="0" baseline="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6" hasCustomPrompt="1"/>
          </p:nvPr>
        </p:nvSpPr>
        <p:spPr>
          <a:xfrm>
            <a:off x="820453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27" hasCustomPrompt="1"/>
          </p:nvPr>
        </p:nvSpPr>
        <p:spPr>
          <a:xfrm>
            <a:off x="2309472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3798491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29" hasCustomPrompt="1"/>
          </p:nvPr>
        </p:nvSpPr>
        <p:spPr>
          <a:xfrm>
            <a:off x="5310659" y="1963568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2309472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2" hasCustomPrompt="1"/>
          </p:nvPr>
        </p:nvSpPr>
        <p:spPr>
          <a:xfrm>
            <a:off x="3798491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5310659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0" hasCustomPrompt="1"/>
          </p:nvPr>
        </p:nvSpPr>
        <p:spPr>
          <a:xfrm>
            <a:off x="820454" y="3452135"/>
            <a:ext cx="792000" cy="79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NotesStyle-Regular" pitchFamily="50" charset="0"/>
              </a:defRPr>
            </a:lvl1pPr>
          </a:lstStyle>
          <a:p>
            <a:r>
              <a:rPr lang="en-US" dirty="0" smtClean="0"/>
              <a:t>Icon</a:t>
            </a:r>
            <a:endParaRPr lang="nl-NL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544329" y="749779"/>
            <a:ext cx="1198746" cy="411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50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0.00432 L -1.66667E-6 0.38334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938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7" presetClass="path" presetSubtype="0" decel="10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3976 -0.48858 C 0.62952 -0.47778 0.55816 0.0034 -1.66667E-6 -0.00031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97" y="2441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8" presetClass="emph" presetSubtype="0" accel="48649" decel="48649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1" dur="37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8" presetClass="emph" presetSubtype="0" decel="100000" fill="hold" grpId="6" nodeType="withEffect">
                                  <p:stCondLst>
                                    <p:cond delay="370"/>
                                  </p:stCondLst>
                                  <p:childTnLst>
                                    <p:animRot by="600000">
                                      <p:cBhvr>
                                        <p:cTn id="23" dur="37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" fill="hold"/>
                                        <p:tgtEl>
                                          <p:spTgt spid="9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2448 -0.54136 C 0.91441 -0.53086 0.55781 0.00247 1.11111E-6 -0.00062 " pathEditMode="relative" rAng="0" ptsTypes="AA">
                                      <p:cBhvr>
                                        <p:cTn id="3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233" y="27037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">
                                      <p:cBhvr>
                                        <p:cTn id="38" dur="37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600000">
                                      <p:cBhvr>
                                        <p:cTn id="40" dur="37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2" dur="750" fill="hold"/>
                                        <p:tgtEl>
                                          <p:spTgt spid="9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10" fill="hold"/>
                                        <p:tgtEl>
                                          <p:spTgt spid="8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7118 0.54506 C 0.66076 0.53734 0.55816 -0.00278 1.11111E-6 3.82716E-6 " pathEditMode="relative" rAng="0" ptsTypes="AA">
                                      <p:cBhvr>
                                        <p:cTn id="53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559" y="-2728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300000">
                                      <p:cBhvr>
                                        <p:cTn id="55" dur="37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300000">
                                      <p:cBhvr>
                                        <p:cTn id="57" dur="37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8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59" dur="750" fill="hold"/>
                                        <p:tgtEl>
                                          <p:spTgt spid="8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9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5.55112E-17 L -1.66667E-6 5.55112E-17 " pathEditMode="relative" rAng="0" ptsTypes="AA">
                                      <p:cBhvr>
                                        <p:cTn id="64" dur="9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66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1.35802E-6 L 1.11111E-6 1.35802E-6 " pathEditMode="relative" rAng="0" ptsTypes="AA">
                                      <p:cBhvr>
                                        <p:cTn id="71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73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-1.66667E-6 3.82716E-6 " pathEditMode="relative" rAng="0" ptsTypes="AA">
                                      <p:cBhvr>
                                        <p:cTn id="78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1.11111E-6 3.82716E-6 " pathEditMode="relative" rAng="0" ptsTypes="AA">
                                      <p:cBhvr>
                                        <p:cTn id="85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87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3" dur="10" fill="hold"/>
                                        <p:tgtEl>
                                          <p:spTgt spid="16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82691 -0.32654 C 1.10833 -0.31605 0.97708 0.0034 3.88889E-6 -0.00031 " pathEditMode="relative" rAng="0" ptsTypes="AA">
                                      <p:cBhvr>
                                        <p:cTn id="98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16296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600000">
                                      <p:cBhvr>
                                        <p:cTn id="100" dur="37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1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600000">
                                      <p:cBhvr>
                                        <p:cTn id="102" dur="37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3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4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0" dur="10" fill="hold"/>
                                        <p:tgtEl>
                                          <p:spTgt spid="14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32604 0.43642 C 0.91614 0.42685 0.55781 -0.00309 3.88889E-6 3.82716E-6 " pathEditMode="relative" rAng="0" ptsTypes="AA">
                                      <p:cBhvr>
                                        <p:cTn id="115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302" y="-2185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300000">
                                      <p:cBhvr>
                                        <p:cTn id="117" dur="3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8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300000">
                                      <p:cBhvr>
                                        <p:cTn id="119" dur="3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0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21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7" dur="10" fill="hold"/>
                                        <p:tgtEl>
                                          <p:spTgt spid="15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35851 -0.32685 C 1.63021 -0.31636 0.99063 0.00309 -3.88889E-6 -0.00031 " pathEditMode="relative" rAng="0" ptsTypes="AA">
                                      <p:cBhvr>
                                        <p:cTn id="13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16327"/>
                                    </p:animMotion>
                                  </p:childTnLst>
                                </p:cTn>
                              </p:par>
                              <p:par>
                                <p:cTn id="133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600000">
                                      <p:cBhvr>
                                        <p:cTn id="134" dur="37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5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600000">
                                      <p:cBhvr>
                                        <p:cTn id="136" dur="37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7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38" dur="750" fill="hold"/>
                                        <p:tgtEl>
                                          <p:spTgt spid="15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7" dur="10" fill="hold"/>
                                        <p:tgtEl>
                                          <p:spTgt spid="1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82691 0.34845 C 1.10834 0.33703 0.97709 -0.00402 -3.88889E-6 3.82716E-6 " pathEditMode="relative" rAng="0" ptsTypes="AA">
                                      <p:cBhvr>
                                        <p:cTn id="15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-17438"/>
                                    </p:animMotion>
                                  </p:childTnLst>
                                </p:cTn>
                              </p:par>
                              <p:par>
                                <p:cTn id="153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300000">
                                      <p:cBhvr>
                                        <p:cTn id="154" dur="37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5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300000">
                                      <p:cBhvr>
                                        <p:cTn id="156" dur="37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7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58" dur="750" fill="hold"/>
                                        <p:tgtEl>
                                          <p:spTgt spid="17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9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9 5.55112E-17 L 3.88889E-6 5.55112E-17 " pathEditMode="relative" rAng="0" ptsTypes="AA">
                                      <p:cBhvr>
                                        <p:cTn id="163" dur="9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64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65" dur="500" fill="hold"/>
                                        <p:tgtEl>
                                          <p:spTgt spid="18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9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5.55112E-17 L -3.88889E-6 5.55112E-17 " pathEditMode="relative" rAng="0" ptsTypes="AA">
                                      <p:cBhvr>
                                        <p:cTn id="170" dur="9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71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72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9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9 3.82716E-6 L 3.88889E-6 3.82716E-6 " pathEditMode="relative" rAng="0" ptsTypes="AA">
                                      <p:cBhvr>
                                        <p:cTn id="177" dur="9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78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79" dur="500" fill="hold"/>
                                        <p:tgtEl>
                                          <p:spTgt spid="20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9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63" presetClass="path" presetSubtype="0" decel="10000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animMotion origin="layout" path="M -0.01458 3.82716E-6 L -5.55556E-7 3.82716E-6 " pathEditMode="relative" rAng="0" ptsTypes="AA">
                                      <p:cBhvr>
                                        <p:cTn id="184" dur="9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85" presetID="6" presetClass="emph" presetSubtype="0" accel="100000" autoRev="1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animScale>
                                      <p:cBhvr>
                                        <p:cTn id="18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2600"/>
                            </p:stCondLst>
                            <p:childTnLst>
                              <p:par>
                                <p:cTn id="1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7" grpId="1" animBg="1"/>
      <p:bldP spid="7" grpId="2" animBg="1"/>
      <p:bldP spid="7" grpId="3" animBg="1"/>
      <p:bldP spid="7" grpId="4" animBg="1"/>
      <p:bldP spid="7" grpId="5" animBg="1"/>
      <p:bldP spid="7" grpId="6" animBg="1"/>
      <p:bldP spid="7" grpId="7" animBg="1"/>
      <p:bldP spid="8" grpId="0" animBg="1"/>
      <p:bldP spid="8" grpId="1" animBg="1"/>
      <p:bldP spid="8" grpId="2" animBg="1"/>
      <p:bldP spid="8" grpId="3" animBg="1"/>
      <p:bldP spid="8" grpId="4" animBg="1"/>
      <p:bldP spid="8" grpId="5" animBg="1"/>
      <p:bldP spid="8" grpId="6" animBg="1"/>
      <p:bldP spid="8" grpId="7" animBg="1"/>
      <p:bldP spid="9" grpId="0" animBg="1"/>
      <p:bldP spid="9" grpId="1" animBg="1"/>
      <p:bldP spid="9" grpId="2" animBg="1"/>
      <p:bldP spid="9" grpId="3" animBg="1"/>
      <p:bldP spid="9" grpId="4" animBg="1"/>
      <p:bldP spid="9" grpId="5" animBg="1"/>
      <p:bldP spid="9" grpId="6" animBg="1"/>
      <p:bldP spid="9" grpId="7" animBg="1"/>
      <p:bldP spid="10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5.55112E-17 L -1.66667E-6 5.55112E-17 " pathEditMode="relative" rAng="0" ptsTypes="AA">
                      <p:cBhvr>
                        <p:cTn dur="950" fill="hold"/>
                        <p:tgtEl>
                          <p:spTgt spid="1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0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0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1.35802E-6 L 1.11111E-6 1.35802E-6 " pathEditMode="relative" rAng="0" ptsTypes="AA">
                      <p:cBhvr>
                        <p:cTn dur="95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1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1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-1.66667E-6 3.82716E-6 " pathEditMode="relative" rAng="0" ptsTypes="AA">
                      <p:cBhvr>
                        <p:cTn dur="95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2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2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1.11111E-6 3.82716E-6 " pathEditMode="relative" rAng="0" ptsTypes="AA">
                      <p:cBhvr>
                        <p:cTn dur="95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3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3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4" grpId="0" animBg="1"/>
      <p:bldP spid="14" grpId="1" animBg="1"/>
      <p:bldP spid="14" grpId="2" animBg="1"/>
      <p:bldP spid="14" grpId="3" animBg="1"/>
      <p:bldP spid="14" grpId="4" animBg="1"/>
      <p:bldP spid="14" grpId="5" animBg="1"/>
      <p:bldP spid="14" grpId="6" animBg="1"/>
      <p:bldP spid="14" grpId="7" animBg="1"/>
      <p:bldP spid="15" grpId="0" animBg="1"/>
      <p:bldP spid="15" grpId="1" animBg="1"/>
      <p:bldP spid="15" grpId="2" animBg="1"/>
      <p:bldP spid="15" grpId="3" animBg="1"/>
      <p:bldP spid="15" grpId="4" animBg="1"/>
      <p:bldP spid="15" grpId="5" animBg="1"/>
      <p:bldP spid="15" grpId="6" animBg="1"/>
      <p:bldP spid="15" grpId="7" animBg="1"/>
      <p:bldP spid="16" grpId="0" animBg="1"/>
      <p:bldP spid="16" grpId="1" animBg="1"/>
      <p:bldP spid="16" grpId="2" animBg="1"/>
      <p:bldP spid="16" grpId="3" animBg="1"/>
      <p:bldP spid="16" grpId="4" animBg="1"/>
      <p:bldP spid="16" grpId="5" animBg="1"/>
      <p:bldP spid="16" grpId="6" animBg="1"/>
      <p:bldP spid="16" grpId="7" animBg="1"/>
      <p:bldP spid="17" grpId="0" animBg="1"/>
      <p:bldP spid="17" grpId="1" animBg="1"/>
      <p:bldP spid="17" grpId="2" animBg="1"/>
      <p:bldP spid="17" grpId="3" animBg="1"/>
      <p:bldP spid="17" grpId="4" animBg="1"/>
      <p:bldP spid="17" grpId="5" animBg="1"/>
      <p:bldP spid="17" grpId="6" animBg="1"/>
      <p:bldP spid="17" grpId="7" animBg="1"/>
      <p:bldP spid="18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9 5.55112E-17 L 3.88889E-6 5.55112E-17 " pathEditMode="relative" rAng="0" ptsTypes="AA">
                      <p:cBhvr>
                        <p:cTn dur="950" fill="hold"/>
                        <p:tgtEl>
                          <p:spTgt spid="18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8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8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5.55112E-17 L -3.88889E-6 5.55112E-17 " pathEditMode="relative" rAng="0" ptsTypes="AA">
                      <p:cBhvr>
                        <p:cTn dur="950" fill="hold"/>
                        <p:tgtEl>
                          <p:spTgt spid="1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19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19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9 3.82716E-6 L 3.88889E-6 3.82716E-6 " pathEditMode="relative" rAng="0" ptsTypes="AA">
                      <p:cBhvr>
                        <p:cTn dur="950" fill="hold"/>
                        <p:tgtEl>
                          <p:spTgt spid="20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20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20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1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1650"/>
                  </p:stCondLst>
                  <p:childTnLst>
                    <p:animMotion origin="layout" path="M -0.01458 3.82716E-6 L -5.55556E-7 3.82716E-6 " pathEditMode="relative" rAng="0" ptsTypes="AA">
                      <p:cBhvr>
                        <p:cTn dur="950" fill="hold"/>
                        <p:tgtEl>
                          <p:spTgt spid="2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9" y="0"/>
                    </p:animMotion>
                  </p:childTnLst>
                </p:cTn>
              </p:par>
            </p:tnLst>
          </p:tmpl>
        </p:tmplLst>
      </p:bldP>
      <p:bldP spid="21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950"/>
                  </p:stCondLst>
                  <p:childTnLst>
                    <p:animScale>
                      <p:cBhvr>
                        <p:cTn dur="500" fill="hold"/>
                        <p:tgtEl>
                          <p:spTgt spid="21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/ 25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986" y="4869106"/>
            <a:ext cx="1355879" cy="240104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2376" y="449840"/>
            <a:ext cx="1120186" cy="3883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6895" y="0"/>
            <a:ext cx="7027105" cy="5143500"/>
          </a:xfrm>
          <a:custGeom>
            <a:avLst/>
            <a:gdLst>
              <a:gd name="connsiteX0" fmla="*/ 169103 w 7027105"/>
              <a:gd name="connsiteY0" fmla="*/ 515576 h 5143500"/>
              <a:gd name="connsiteX1" fmla="*/ 169103 w 7027105"/>
              <a:gd name="connsiteY1" fmla="*/ 772460 h 5143500"/>
              <a:gd name="connsiteX2" fmla="*/ 0 w 7027105"/>
              <a:gd name="connsiteY2" fmla="*/ 644018 h 5143500"/>
              <a:gd name="connsiteX3" fmla="*/ 169105 w 7027105"/>
              <a:gd name="connsiteY3" fmla="*/ 0 h 5143500"/>
              <a:gd name="connsiteX4" fmla="*/ 7027105 w 7027105"/>
              <a:gd name="connsiteY4" fmla="*/ 0 h 5143500"/>
              <a:gd name="connsiteX5" fmla="*/ 7027105 w 7027105"/>
              <a:gd name="connsiteY5" fmla="*/ 5143500 h 5143500"/>
              <a:gd name="connsiteX6" fmla="*/ 169105 w 702710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7105" h="5143500">
                <a:moveTo>
                  <a:pt x="169103" y="515576"/>
                </a:moveTo>
                <a:lnTo>
                  <a:pt x="169103" y="772460"/>
                </a:lnTo>
                <a:lnTo>
                  <a:pt x="0" y="644018"/>
                </a:lnTo>
                <a:close/>
                <a:moveTo>
                  <a:pt x="169105" y="0"/>
                </a:moveTo>
                <a:lnTo>
                  <a:pt x="7027105" y="0"/>
                </a:lnTo>
                <a:lnTo>
                  <a:pt x="7027105" y="5143500"/>
                </a:lnTo>
                <a:lnTo>
                  <a:pt x="169105" y="5143500"/>
                </a:lnTo>
                <a:close/>
              </a:path>
            </a:pathLst>
          </a:cu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sp>
        <p:nvSpPr>
          <p:cNvPr id="18" name="Isosceles Triangle 17"/>
          <p:cNvSpPr/>
          <p:nvPr userDrawn="1"/>
        </p:nvSpPr>
        <p:spPr>
          <a:xfrm rot="16200000">
            <a:off x="-2796578" y="6111605"/>
            <a:ext cx="256884" cy="16910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2376" y="1114424"/>
            <a:ext cx="1689100" cy="30755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r>
              <a:rPr lang="nl-NL" dirty="0" err="1" smtClean="0"/>
              <a:t>Morbi</a:t>
            </a:r>
            <a:r>
              <a:rPr lang="nl-NL" dirty="0" smtClean="0"/>
              <a:t> </a:t>
            </a:r>
            <a:r>
              <a:rPr lang="nl-NL" dirty="0" err="1" smtClean="0"/>
              <a:t>velit</a:t>
            </a:r>
            <a:r>
              <a:rPr lang="nl-NL" dirty="0" smtClean="0"/>
              <a:t> massa, </a:t>
            </a:r>
            <a:r>
              <a:rPr lang="nl-NL" dirty="0" err="1" smtClean="0"/>
              <a:t>interdum</a:t>
            </a:r>
            <a:r>
              <a:rPr lang="nl-NL" dirty="0" smtClean="0"/>
              <a:t> et </a:t>
            </a:r>
            <a:r>
              <a:rPr lang="nl-NL" dirty="0" err="1" smtClean="0"/>
              <a:t>volutpat</a:t>
            </a:r>
            <a:r>
              <a:rPr lang="nl-NL" dirty="0" smtClean="0"/>
              <a:t> at, </a:t>
            </a:r>
            <a:r>
              <a:rPr lang="nl-NL" dirty="0" err="1" smtClean="0"/>
              <a:t>eleifend</a:t>
            </a:r>
            <a:r>
              <a:rPr lang="nl-NL" dirty="0" smtClean="0"/>
              <a:t> vel massa </a:t>
            </a:r>
            <a:r>
              <a:rPr lang="nl-NL" dirty="0" err="1" smtClean="0"/>
              <a:t>ringilla</a:t>
            </a:r>
            <a:r>
              <a:rPr lang="nl-NL" dirty="0" smtClean="0"/>
              <a:t> </a:t>
            </a:r>
            <a:r>
              <a:rPr lang="nl-NL" dirty="0" err="1" smtClean="0"/>
              <a:t>aliquet</a:t>
            </a:r>
            <a:r>
              <a:rPr lang="nl-NL" dirty="0" smtClean="0"/>
              <a:t>. </a:t>
            </a:r>
          </a:p>
          <a:p>
            <a:r>
              <a:rPr lang="nl-NL" dirty="0" err="1" smtClean="0"/>
              <a:t>Aliquam</a:t>
            </a:r>
            <a:r>
              <a:rPr lang="nl-NL" dirty="0" smtClean="0"/>
              <a:t> </a:t>
            </a:r>
            <a:r>
              <a:rPr lang="nl-NL" dirty="0" err="1" smtClean="0"/>
              <a:t>erat</a:t>
            </a:r>
            <a:r>
              <a:rPr lang="nl-NL" dirty="0" smtClean="0"/>
              <a:t> </a:t>
            </a:r>
            <a:r>
              <a:rPr lang="nl-NL" dirty="0" err="1" smtClean="0"/>
              <a:t>volutpat</a:t>
            </a:r>
            <a:r>
              <a:rPr lang="nl-NL" dirty="0" smtClean="0"/>
              <a:t>. </a:t>
            </a:r>
            <a:r>
              <a:rPr lang="nl-NL" dirty="0" err="1" smtClean="0"/>
              <a:t>Curabitur</a:t>
            </a:r>
            <a:r>
              <a:rPr lang="nl-NL" dirty="0" smtClean="0"/>
              <a:t> </a:t>
            </a:r>
            <a:r>
              <a:rPr lang="nl-NL" dirty="0" err="1" smtClean="0"/>
              <a:t>mauris</a:t>
            </a:r>
            <a:r>
              <a:rPr lang="nl-NL" dirty="0" smtClean="0"/>
              <a:t> </a:t>
            </a:r>
            <a:r>
              <a:rPr lang="nl-NL" dirty="0" err="1" smtClean="0"/>
              <a:t>arcu</a:t>
            </a:r>
            <a:r>
              <a:rPr lang="nl-NL" dirty="0" smtClean="0"/>
              <a:t>, </a:t>
            </a:r>
            <a:r>
              <a:rPr lang="nl-NL" dirty="0" err="1" smtClean="0"/>
              <a:t>placerat</a:t>
            </a:r>
            <a:r>
              <a:rPr lang="nl-NL" dirty="0" smtClean="0"/>
              <a:t> at </a:t>
            </a:r>
            <a:r>
              <a:rPr lang="nl-NL" dirty="0" err="1" smtClean="0"/>
              <a:t>metus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gravida </a:t>
            </a:r>
            <a:r>
              <a:rPr lang="nl-NL" dirty="0" err="1" smtClean="0"/>
              <a:t>fermentum</a:t>
            </a:r>
            <a:r>
              <a:rPr lang="nl-NL" dirty="0" smtClean="0"/>
              <a:t> ante. </a:t>
            </a: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 </a:t>
            </a: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. </a:t>
            </a:r>
            <a:endParaRPr lang="nl-NL" b="0" i="0" dirty="0" smtClean="0">
              <a:solidFill>
                <a:srgbClr val="000000"/>
              </a:solidFill>
              <a:effectLst/>
              <a:latin typeface="Segoe UI Light" panose="020B0502040204020203" pitchFamily="34" charset="0"/>
            </a:endParaRP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3726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 / 25%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1801" y="449840"/>
            <a:ext cx="1120186" cy="3883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161213" y="1114424"/>
            <a:ext cx="1689100" cy="30755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r>
              <a:rPr lang="nl-NL" dirty="0" err="1" smtClean="0"/>
              <a:t>Morbi</a:t>
            </a:r>
            <a:r>
              <a:rPr lang="nl-NL" dirty="0" smtClean="0"/>
              <a:t> </a:t>
            </a:r>
            <a:r>
              <a:rPr lang="nl-NL" dirty="0" err="1" smtClean="0"/>
              <a:t>velit</a:t>
            </a:r>
            <a:r>
              <a:rPr lang="nl-NL" dirty="0" smtClean="0"/>
              <a:t> massa, </a:t>
            </a:r>
            <a:r>
              <a:rPr lang="nl-NL" dirty="0" err="1" smtClean="0"/>
              <a:t>interdum</a:t>
            </a:r>
            <a:r>
              <a:rPr lang="nl-NL" dirty="0" smtClean="0"/>
              <a:t> et </a:t>
            </a:r>
            <a:r>
              <a:rPr lang="nl-NL" dirty="0" err="1" smtClean="0"/>
              <a:t>volutpat</a:t>
            </a:r>
            <a:r>
              <a:rPr lang="nl-NL" dirty="0" smtClean="0"/>
              <a:t> at, </a:t>
            </a:r>
            <a:r>
              <a:rPr lang="nl-NL" dirty="0" err="1" smtClean="0"/>
              <a:t>eleifend</a:t>
            </a:r>
            <a:r>
              <a:rPr lang="nl-NL" dirty="0" smtClean="0"/>
              <a:t> vel massa </a:t>
            </a:r>
            <a:r>
              <a:rPr lang="nl-NL" dirty="0" err="1" smtClean="0"/>
              <a:t>ringilla</a:t>
            </a:r>
            <a:r>
              <a:rPr lang="nl-NL" dirty="0" smtClean="0"/>
              <a:t> </a:t>
            </a:r>
            <a:r>
              <a:rPr lang="nl-NL" dirty="0" err="1" smtClean="0"/>
              <a:t>aliquet</a:t>
            </a:r>
            <a:r>
              <a:rPr lang="nl-NL" dirty="0" smtClean="0"/>
              <a:t>. </a:t>
            </a:r>
          </a:p>
          <a:p>
            <a:r>
              <a:rPr lang="nl-NL" dirty="0" err="1" smtClean="0"/>
              <a:t>Aliquam</a:t>
            </a:r>
            <a:r>
              <a:rPr lang="nl-NL" dirty="0" smtClean="0"/>
              <a:t> </a:t>
            </a:r>
            <a:r>
              <a:rPr lang="nl-NL" dirty="0" err="1" smtClean="0"/>
              <a:t>erat</a:t>
            </a:r>
            <a:r>
              <a:rPr lang="nl-NL" dirty="0" smtClean="0"/>
              <a:t> </a:t>
            </a:r>
            <a:r>
              <a:rPr lang="nl-NL" dirty="0" err="1" smtClean="0"/>
              <a:t>volutpat</a:t>
            </a:r>
            <a:r>
              <a:rPr lang="nl-NL" dirty="0" smtClean="0"/>
              <a:t>. </a:t>
            </a:r>
            <a:r>
              <a:rPr lang="nl-NL" dirty="0" err="1" smtClean="0"/>
              <a:t>Curabitur</a:t>
            </a:r>
            <a:r>
              <a:rPr lang="nl-NL" dirty="0" smtClean="0"/>
              <a:t> </a:t>
            </a:r>
            <a:r>
              <a:rPr lang="nl-NL" dirty="0" err="1" smtClean="0"/>
              <a:t>mauris</a:t>
            </a:r>
            <a:r>
              <a:rPr lang="nl-NL" dirty="0" smtClean="0"/>
              <a:t> </a:t>
            </a:r>
            <a:r>
              <a:rPr lang="nl-NL" dirty="0" err="1" smtClean="0"/>
              <a:t>arcu</a:t>
            </a:r>
            <a:r>
              <a:rPr lang="nl-NL" dirty="0" smtClean="0"/>
              <a:t>, </a:t>
            </a:r>
            <a:r>
              <a:rPr lang="nl-NL" dirty="0" err="1" smtClean="0"/>
              <a:t>placerat</a:t>
            </a:r>
            <a:r>
              <a:rPr lang="nl-NL" dirty="0" smtClean="0"/>
              <a:t> at </a:t>
            </a:r>
            <a:r>
              <a:rPr lang="nl-NL" dirty="0" err="1" smtClean="0"/>
              <a:t>metus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gravida </a:t>
            </a:r>
            <a:r>
              <a:rPr lang="nl-NL" dirty="0" err="1" smtClean="0"/>
              <a:t>fermentum</a:t>
            </a:r>
            <a:r>
              <a:rPr lang="nl-NL" dirty="0" smtClean="0"/>
              <a:t> ante. </a:t>
            </a: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 </a:t>
            </a: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. </a:t>
            </a:r>
            <a:endParaRPr lang="nl-NL" b="0" i="0" dirty="0" smtClean="0">
              <a:solidFill>
                <a:srgbClr val="000000"/>
              </a:solidFill>
              <a:effectLst/>
              <a:latin typeface="Segoe UI Light" panose="020B0502040204020203" pitchFamily="34" charset="0"/>
            </a:endParaRPr>
          </a:p>
          <a:p>
            <a:pPr lvl="0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7"/>
          <a:stretch/>
        </p:blipFill>
        <p:spPr>
          <a:xfrm>
            <a:off x="0" y="0"/>
            <a:ext cx="6853954" cy="5143500"/>
          </a:xfrm>
          <a:custGeom>
            <a:avLst/>
            <a:gdLst>
              <a:gd name="connsiteX0" fmla="*/ 6853954 w 6853954"/>
              <a:gd name="connsiteY0" fmla="*/ 515577 h 5143500"/>
              <a:gd name="connsiteX1" fmla="*/ 6684851 w 6853954"/>
              <a:gd name="connsiteY1" fmla="*/ 644019 h 5143500"/>
              <a:gd name="connsiteX2" fmla="*/ 6853954 w 6853954"/>
              <a:gd name="connsiteY2" fmla="*/ 772461 h 5143500"/>
              <a:gd name="connsiteX3" fmla="*/ 0 w 6853954"/>
              <a:gd name="connsiteY3" fmla="*/ 0 h 5143500"/>
              <a:gd name="connsiteX4" fmla="*/ 6853954 w 6853954"/>
              <a:gd name="connsiteY4" fmla="*/ 0 h 5143500"/>
              <a:gd name="connsiteX5" fmla="*/ 6853954 w 6853954"/>
              <a:gd name="connsiteY5" fmla="*/ 5143500 h 5143500"/>
              <a:gd name="connsiteX6" fmla="*/ 0 w 6853954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3954" h="5143500">
                <a:moveTo>
                  <a:pt x="6853954" y="515577"/>
                </a:moveTo>
                <a:lnTo>
                  <a:pt x="6684851" y="644019"/>
                </a:lnTo>
                <a:lnTo>
                  <a:pt x="6853954" y="772461"/>
                </a:lnTo>
                <a:close/>
                <a:moveTo>
                  <a:pt x="0" y="0"/>
                </a:moveTo>
                <a:lnTo>
                  <a:pt x="6853954" y="0"/>
                </a:lnTo>
                <a:lnTo>
                  <a:pt x="6853954" y="5143500"/>
                </a:lnTo>
                <a:lnTo>
                  <a:pt x="0" y="51435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2074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/ 75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3602" y="-9526"/>
            <a:ext cx="6650398" cy="5157509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920123" y="516177"/>
            <a:ext cx="1156578" cy="4421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920123" y="1234919"/>
            <a:ext cx="2870200" cy="652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nl-NL" sz="1200" b="0" i="0" baseline="0" smtClean="0">
                <a:effectLst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2920123" y="2055463"/>
            <a:ext cx="4537952" cy="2659411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lang="nl-NL" sz="1100" b="0" i="0" baseline="0" smtClean="0">
                <a:effectLst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668044" cy="5143500"/>
          </a:xfrm>
          <a:custGeom>
            <a:avLst/>
            <a:gdLst>
              <a:gd name="connsiteX0" fmla="*/ 2486028 w 2655131"/>
              <a:gd name="connsiteY0" fmla="*/ 619416 h 5143500"/>
              <a:gd name="connsiteX1" fmla="*/ 2655131 w 2655131"/>
              <a:gd name="connsiteY1" fmla="*/ 747858 h 5143500"/>
              <a:gd name="connsiteX2" fmla="*/ 2486028 w 2655131"/>
              <a:gd name="connsiteY2" fmla="*/ 876300 h 5143500"/>
              <a:gd name="connsiteX3" fmla="*/ 0 w 2655131"/>
              <a:gd name="connsiteY3" fmla="*/ 0 h 5143500"/>
              <a:gd name="connsiteX4" fmla="*/ 2486025 w 2655131"/>
              <a:gd name="connsiteY4" fmla="*/ 0 h 5143500"/>
              <a:gd name="connsiteX5" fmla="*/ 2486025 w 2655131"/>
              <a:gd name="connsiteY5" fmla="*/ 5143500 h 5143500"/>
              <a:gd name="connsiteX6" fmla="*/ 0 w 2655131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55131" h="5143500">
                <a:moveTo>
                  <a:pt x="2486028" y="619416"/>
                </a:moveTo>
                <a:lnTo>
                  <a:pt x="2655131" y="747858"/>
                </a:lnTo>
                <a:lnTo>
                  <a:pt x="2486028" y="876300"/>
                </a:lnTo>
                <a:close/>
                <a:moveTo>
                  <a:pt x="0" y="0"/>
                </a:moveTo>
                <a:lnTo>
                  <a:pt x="2486025" y="0"/>
                </a:lnTo>
                <a:lnTo>
                  <a:pt x="2486025" y="5143500"/>
                </a:lnTo>
                <a:lnTo>
                  <a:pt x="0" y="51435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0445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% / 75%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526"/>
            <a:ext cx="6650398" cy="5157509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1295" y="-1"/>
            <a:ext cx="2662706" cy="5147984"/>
          </a:xfrm>
          <a:custGeom>
            <a:avLst/>
            <a:gdLst>
              <a:gd name="connsiteX0" fmla="*/ 169103 w 2662706"/>
              <a:gd name="connsiteY0" fmla="*/ 608824 h 5143500"/>
              <a:gd name="connsiteX1" fmla="*/ 169103 w 2662706"/>
              <a:gd name="connsiteY1" fmla="*/ 865708 h 5143500"/>
              <a:gd name="connsiteX2" fmla="*/ 0 w 2662706"/>
              <a:gd name="connsiteY2" fmla="*/ 737266 h 5143500"/>
              <a:gd name="connsiteX3" fmla="*/ 169104 w 2662706"/>
              <a:gd name="connsiteY3" fmla="*/ 0 h 5143500"/>
              <a:gd name="connsiteX4" fmla="*/ 2662706 w 2662706"/>
              <a:gd name="connsiteY4" fmla="*/ 0 h 5143500"/>
              <a:gd name="connsiteX5" fmla="*/ 2662706 w 2662706"/>
              <a:gd name="connsiteY5" fmla="*/ 5143500 h 5143500"/>
              <a:gd name="connsiteX6" fmla="*/ 169104 w 2662706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62706" h="5143500">
                <a:moveTo>
                  <a:pt x="169103" y="608824"/>
                </a:moveTo>
                <a:lnTo>
                  <a:pt x="169103" y="865708"/>
                </a:lnTo>
                <a:lnTo>
                  <a:pt x="0" y="737266"/>
                </a:lnTo>
                <a:close/>
                <a:moveTo>
                  <a:pt x="169104" y="0"/>
                </a:moveTo>
                <a:lnTo>
                  <a:pt x="2662706" y="0"/>
                </a:lnTo>
                <a:lnTo>
                  <a:pt x="2662706" y="5143500"/>
                </a:lnTo>
                <a:lnTo>
                  <a:pt x="169104" y="514350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521" y="516177"/>
            <a:ext cx="1156578" cy="4421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26521" y="1234919"/>
            <a:ext cx="2870200" cy="652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nl-NL" sz="1200" b="0" i="0" baseline="0" smtClean="0">
                <a:effectLst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426521" y="2055463"/>
            <a:ext cx="4537952" cy="2659411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 lang="nl-NL" sz="1100" b="0" i="0" baseline="0" smtClean="0">
                <a:effectLst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868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4572000" y="-1"/>
            <a:ext cx="4572000" cy="5143499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4741103" cy="5147311"/>
          </a:xfrm>
          <a:custGeom>
            <a:avLst/>
            <a:gdLst>
              <a:gd name="connsiteX0" fmla="*/ 0 w 4741103"/>
              <a:gd name="connsiteY0" fmla="*/ 0 h 5143500"/>
              <a:gd name="connsiteX1" fmla="*/ 4572000 w 4741103"/>
              <a:gd name="connsiteY1" fmla="*/ 0 h 5143500"/>
              <a:gd name="connsiteX2" fmla="*/ 4572000 w 4741103"/>
              <a:gd name="connsiteY2" fmla="*/ 520356 h 5143500"/>
              <a:gd name="connsiteX3" fmla="*/ 4741103 w 4741103"/>
              <a:gd name="connsiteY3" fmla="*/ 648798 h 5143500"/>
              <a:gd name="connsiteX4" fmla="*/ 4572000 w 4741103"/>
              <a:gd name="connsiteY4" fmla="*/ 777239 h 5143500"/>
              <a:gd name="connsiteX5" fmla="*/ 4572000 w 4741103"/>
              <a:gd name="connsiteY5" fmla="*/ 5143500 h 5143500"/>
              <a:gd name="connsiteX6" fmla="*/ 0 w 4741103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1103" h="5143500">
                <a:moveTo>
                  <a:pt x="0" y="0"/>
                </a:moveTo>
                <a:lnTo>
                  <a:pt x="4572000" y="0"/>
                </a:lnTo>
                <a:lnTo>
                  <a:pt x="4572000" y="520356"/>
                </a:lnTo>
                <a:lnTo>
                  <a:pt x="4741103" y="648798"/>
                </a:lnTo>
                <a:lnTo>
                  <a:pt x="4572000" y="777239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4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17571" y="418680"/>
            <a:ext cx="1156578" cy="4421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0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5017571" y="1137422"/>
            <a:ext cx="2870200" cy="652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nl-NL" sz="1200" b="0" i="0" baseline="0" smtClean="0">
                <a:effectLst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</p:txBody>
      </p:sp>
      <p:sp>
        <p:nvSpPr>
          <p:cNvPr id="52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017571" y="1933068"/>
            <a:ext cx="3669229" cy="2659411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lang="nl-NL" sz="1100" b="0" i="0" baseline="0" smtClean="0">
                <a:effectLst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dirty="0" smtClean="0"/>
              <a:t>Lorem ipsum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pic>
        <p:nvPicPr>
          <p:cNvPr id="55" name="Picture 5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95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89155" y="3952414"/>
            <a:ext cx="1316419" cy="8435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nl-NL" dirty="0" smtClean="0"/>
              <a:t>Customer Logo</a:t>
            </a:r>
            <a:endParaRPr lang="nl-NL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1932" y="4558208"/>
            <a:ext cx="1572897" cy="28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4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0%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71640" y="-728855"/>
            <a:ext cx="2600717" cy="914400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2731328"/>
          </a:xfrm>
          <a:custGeom>
            <a:avLst/>
            <a:gdLst>
              <a:gd name="connsiteX0" fmla="*/ 0 w 9144000"/>
              <a:gd name="connsiteY0" fmla="*/ 0 h 2731328"/>
              <a:gd name="connsiteX1" fmla="*/ 9144000 w 9144000"/>
              <a:gd name="connsiteY1" fmla="*/ 0 h 2731328"/>
              <a:gd name="connsiteX2" fmla="*/ 9144000 w 9144000"/>
              <a:gd name="connsiteY2" fmla="*/ 2562225 h 2731328"/>
              <a:gd name="connsiteX3" fmla="*/ 984557 w 9144000"/>
              <a:gd name="connsiteY3" fmla="*/ 2562225 h 2731328"/>
              <a:gd name="connsiteX4" fmla="*/ 856115 w 9144000"/>
              <a:gd name="connsiteY4" fmla="*/ 2731328 h 2731328"/>
              <a:gd name="connsiteX5" fmla="*/ 727673 w 9144000"/>
              <a:gd name="connsiteY5" fmla="*/ 2562225 h 2731328"/>
              <a:gd name="connsiteX6" fmla="*/ 0 w 9144000"/>
              <a:gd name="connsiteY6" fmla="*/ 2562225 h 273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2731328">
                <a:moveTo>
                  <a:pt x="0" y="0"/>
                </a:moveTo>
                <a:lnTo>
                  <a:pt x="9144000" y="0"/>
                </a:lnTo>
                <a:lnTo>
                  <a:pt x="9144000" y="2562225"/>
                </a:lnTo>
                <a:lnTo>
                  <a:pt x="984557" y="2562225"/>
                </a:lnTo>
                <a:lnTo>
                  <a:pt x="856115" y="2731328"/>
                </a:lnTo>
                <a:lnTo>
                  <a:pt x="727673" y="2562225"/>
                </a:lnTo>
                <a:lnTo>
                  <a:pt x="0" y="2562225"/>
                </a:lnTo>
                <a:close/>
              </a:path>
            </a:pathLst>
          </a:custGeom>
        </p:spPr>
      </p:pic>
      <p:sp>
        <p:nvSpPr>
          <p:cNvPr id="24" name="Text Placeholder 79"/>
          <p:cNvSpPr>
            <a:spLocks noGrp="1"/>
          </p:cNvSpPr>
          <p:nvPr>
            <p:ph type="body" sz="quarter" idx="10" hasCustomPrompt="1"/>
          </p:nvPr>
        </p:nvSpPr>
        <p:spPr>
          <a:xfrm>
            <a:off x="1008031" y="1183876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699863" y="3050207"/>
            <a:ext cx="2609089" cy="1528058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buFontTx/>
              <a:buBlip>
                <a:blip r:embed="rId6"/>
              </a:buBlip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r>
              <a:rPr lang="nl-NL" dirty="0" err="1" smtClean="0"/>
              <a:t>Morbi</a:t>
            </a:r>
            <a:r>
              <a:rPr lang="nl-NL" dirty="0" smtClean="0"/>
              <a:t> </a:t>
            </a:r>
            <a:r>
              <a:rPr lang="nl-NL" dirty="0" err="1" smtClean="0"/>
              <a:t>velit</a:t>
            </a:r>
            <a:r>
              <a:rPr lang="nl-NL" dirty="0" smtClean="0"/>
              <a:t> massa, </a:t>
            </a:r>
            <a:r>
              <a:rPr lang="nl-NL" dirty="0" err="1" smtClean="0"/>
              <a:t>interdum</a:t>
            </a:r>
            <a:r>
              <a:rPr lang="nl-NL" dirty="0" smtClean="0"/>
              <a:t> et </a:t>
            </a:r>
            <a:r>
              <a:rPr lang="nl-NL" dirty="0" err="1" smtClean="0"/>
              <a:t>volutpat</a:t>
            </a:r>
            <a:r>
              <a:rPr lang="nl-NL" dirty="0" smtClean="0"/>
              <a:t> at, </a:t>
            </a:r>
            <a:r>
              <a:rPr lang="nl-NL" dirty="0" err="1" smtClean="0"/>
              <a:t>eleifend</a:t>
            </a:r>
            <a:r>
              <a:rPr lang="nl-NL" dirty="0" smtClean="0"/>
              <a:t> vel massa </a:t>
            </a:r>
            <a:r>
              <a:rPr lang="nl-NL" dirty="0" err="1" smtClean="0"/>
              <a:t>ringilla</a:t>
            </a:r>
            <a:r>
              <a:rPr lang="nl-NL" dirty="0" smtClean="0"/>
              <a:t> </a:t>
            </a:r>
            <a:r>
              <a:rPr lang="nl-NL" dirty="0" err="1" smtClean="0"/>
              <a:t>aliquet</a:t>
            </a:r>
            <a:r>
              <a:rPr lang="nl-NL" dirty="0" smtClean="0"/>
              <a:t>. </a:t>
            </a:r>
          </a:p>
          <a:p>
            <a:pPr lvl="0"/>
            <a:endParaRPr lang="nl-NL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45983" y="3050207"/>
            <a:ext cx="2609089" cy="1528058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buFontTx/>
              <a:buBlip>
                <a:blip r:embed="rId6"/>
              </a:buBlip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r>
              <a:rPr lang="nl-NL" dirty="0" err="1" smtClean="0"/>
              <a:t>Morbi</a:t>
            </a:r>
            <a:r>
              <a:rPr lang="nl-NL" dirty="0" smtClean="0"/>
              <a:t> </a:t>
            </a:r>
            <a:r>
              <a:rPr lang="nl-NL" dirty="0" err="1" smtClean="0"/>
              <a:t>velit</a:t>
            </a:r>
            <a:r>
              <a:rPr lang="nl-NL" dirty="0" smtClean="0"/>
              <a:t> massa, </a:t>
            </a:r>
            <a:r>
              <a:rPr lang="nl-NL" dirty="0" err="1" smtClean="0"/>
              <a:t>interdum</a:t>
            </a:r>
            <a:r>
              <a:rPr lang="nl-NL" dirty="0" smtClean="0"/>
              <a:t> et </a:t>
            </a:r>
            <a:r>
              <a:rPr lang="nl-NL" dirty="0" err="1" smtClean="0"/>
              <a:t>volutpat</a:t>
            </a:r>
            <a:r>
              <a:rPr lang="nl-NL" dirty="0" smtClean="0"/>
              <a:t> at, </a:t>
            </a:r>
            <a:r>
              <a:rPr lang="nl-NL" dirty="0" err="1" smtClean="0"/>
              <a:t>eleifend</a:t>
            </a:r>
            <a:r>
              <a:rPr lang="nl-NL" dirty="0" smtClean="0"/>
              <a:t> vel massa </a:t>
            </a:r>
            <a:r>
              <a:rPr lang="nl-NL" dirty="0" err="1" smtClean="0"/>
              <a:t>ringilla</a:t>
            </a:r>
            <a:r>
              <a:rPr lang="nl-NL" dirty="0" smtClean="0"/>
              <a:t> </a:t>
            </a:r>
            <a:r>
              <a:rPr lang="nl-NL" dirty="0" err="1" smtClean="0"/>
              <a:t>aliquet</a:t>
            </a:r>
            <a:r>
              <a:rPr lang="nl-NL" dirty="0" smtClean="0"/>
              <a:t>. </a:t>
            </a: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2586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2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86122" y="-714374"/>
            <a:ext cx="2571753" cy="914400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1" cy="2733730"/>
          </a:xfrm>
          <a:custGeom>
            <a:avLst/>
            <a:gdLst>
              <a:gd name="connsiteX0" fmla="*/ 0 w 9144001"/>
              <a:gd name="connsiteY0" fmla="*/ 0 h 2733730"/>
              <a:gd name="connsiteX1" fmla="*/ 9144001 w 9144001"/>
              <a:gd name="connsiteY1" fmla="*/ 0 h 2733730"/>
              <a:gd name="connsiteX2" fmla="*/ 9144001 w 9144001"/>
              <a:gd name="connsiteY2" fmla="*/ 2571750 h 2733730"/>
              <a:gd name="connsiteX3" fmla="*/ 6857975 w 9144001"/>
              <a:gd name="connsiteY3" fmla="*/ 2571750 h 2733730"/>
              <a:gd name="connsiteX4" fmla="*/ 6734943 w 9144001"/>
              <a:gd name="connsiteY4" fmla="*/ 2733730 h 2733730"/>
              <a:gd name="connsiteX5" fmla="*/ 6611912 w 9144001"/>
              <a:gd name="connsiteY5" fmla="*/ 2571750 h 2733730"/>
              <a:gd name="connsiteX6" fmla="*/ 4702733 w 9144001"/>
              <a:gd name="connsiteY6" fmla="*/ 2571750 h 2733730"/>
              <a:gd name="connsiteX7" fmla="*/ 4581525 w 9144001"/>
              <a:gd name="connsiteY7" fmla="*/ 2731328 h 2733730"/>
              <a:gd name="connsiteX8" fmla="*/ 4460318 w 9144001"/>
              <a:gd name="connsiteY8" fmla="*/ 2571750 h 2733730"/>
              <a:gd name="connsiteX9" fmla="*/ 2531906 w 9144001"/>
              <a:gd name="connsiteY9" fmla="*/ 2571750 h 2733730"/>
              <a:gd name="connsiteX10" fmla="*/ 2410699 w 9144001"/>
              <a:gd name="connsiteY10" fmla="*/ 2731328 h 2733730"/>
              <a:gd name="connsiteX11" fmla="*/ 2289491 w 9144001"/>
              <a:gd name="connsiteY11" fmla="*/ 2571750 h 2733730"/>
              <a:gd name="connsiteX12" fmla="*/ 0 w 9144001"/>
              <a:gd name="connsiteY12" fmla="*/ 2571750 h 2733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44001" h="2733730">
                <a:moveTo>
                  <a:pt x="0" y="0"/>
                </a:moveTo>
                <a:lnTo>
                  <a:pt x="9144001" y="0"/>
                </a:lnTo>
                <a:lnTo>
                  <a:pt x="9144001" y="2571750"/>
                </a:lnTo>
                <a:lnTo>
                  <a:pt x="6857975" y="2571750"/>
                </a:lnTo>
                <a:lnTo>
                  <a:pt x="6734943" y="2733730"/>
                </a:lnTo>
                <a:lnTo>
                  <a:pt x="6611912" y="2571750"/>
                </a:lnTo>
                <a:lnTo>
                  <a:pt x="4702733" y="2571750"/>
                </a:lnTo>
                <a:lnTo>
                  <a:pt x="4581525" y="2731328"/>
                </a:lnTo>
                <a:lnTo>
                  <a:pt x="4460318" y="2571750"/>
                </a:lnTo>
                <a:lnTo>
                  <a:pt x="2531906" y="2571750"/>
                </a:lnTo>
                <a:lnTo>
                  <a:pt x="2410699" y="2731328"/>
                </a:lnTo>
                <a:lnTo>
                  <a:pt x="2289491" y="2571750"/>
                </a:lnTo>
                <a:lnTo>
                  <a:pt x="0" y="2571750"/>
                </a:lnTo>
                <a:close/>
              </a:path>
            </a:pathLst>
          </a:custGeom>
        </p:spPr>
      </p:pic>
      <p:sp>
        <p:nvSpPr>
          <p:cNvPr id="9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1733194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10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3894913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11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6056632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18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3894913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</a:p>
          <a:p>
            <a:pPr lvl="0"/>
            <a:endParaRPr lang="nl-NL" dirty="0"/>
          </a:p>
        </p:txBody>
      </p:sp>
      <p:sp>
        <p:nvSpPr>
          <p:cNvPr id="19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6056632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1733194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894913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056632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1729440" y="3518537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33" name="Text Placeholder 79"/>
          <p:cNvSpPr>
            <a:spLocks noGrp="1"/>
          </p:cNvSpPr>
          <p:nvPr>
            <p:ph type="body" sz="quarter" idx="10" hasCustomPrompt="1"/>
          </p:nvPr>
        </p:nvSpPr>
        <p:spPr>
          <a:xfrm>
            <a:off x="1729440" y="1183876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122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3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86122" y="-714374"/>
            <a:ext cx="2571753" cy="9144002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97"/>
          <a:stretch/>
        </p:blipFill>
        <p:spPr>
          <a:xfrm>
            <a:off x="2" y="-70945"/>
            <a:ext cx="9143999" cy="2806929"/>
          </a:xfrm>
          <a:custGeom>
            <a:avLst/>
            <a:gdLst>
              <a:gd name="connsiteX0" fmla="*/ 0 w 9143999"/>
              <a:gd name="connsiteY0" fmla="*/ 0 h 2806929"/>
              <a:gd name="connsiteX1" fmla="*/ 9143999 w 9143999"/>
              <a:gd name="connsiteY1" fmla="*/ 0 h 2806929"/>
              <a:gd name="connsiteX2" fmla="*/ 9143999 w 9143999"/>
              <a:gd name="connsiteY2" fmla="*/ 2638885 h 2806929"/>
              <a:gd name="connsiteX3" fmla="*/ 6849570 w 9143999"/>
              <a:gd name="connsiteY3" fmla="*/ 2638885 h 2806929"/>
              <a:gd name="connsiteX4" fmla="*/ 6721932 w 9143999"/>
              <a:gd name="connsiteY4" fmla="*/ 2806929 h 2806929"/>
              <a:gd name="connsiteX5" fmla="*/ 6594295 w 9143999"/>
              <a:gd name="connsiteY5" fmla="*/ 2638885 h 2806929"/>
              <a:gd name="connsiteX6" fmla="*/ 5410489 w 9143999"/>
              <a:gd name="connsiteY6" fmla="*/ 2638885 h 2806929"/>
              <a:gd name="connsiteX7" fmla="*/ 5282851 w 9143999"/>
              <a:gd name="connsiteY7" fmla="*/ 2806929 h 2806929"/>
              <a:gd name="connsiteX8" fmla="*/ 5155214 w 9143999"/>
              <a:gd name="connsiteY8" fmla="*/ 2638885 h 2806929"/>
              <a:gd name="connsiteX9" fmla="*/ 3971407 w 9143999"/>
              <a:gd name="connsiteY9" fmla="*/ 2638885 h 2806929"/>
              <a:gd name="connsiteX10" fmla="*/ 3843771 w 9143999"/>
              <a:gd name="connsiteY10" fmla="*/ 2806928 h 2806929"/>
              <a:gd name="connsiteX11" fmla="*/ 3716134 w 9143999"/>
              <a:gd name="connsiteY11" fmla="*/ 2638885 h 2806929"/>
              <a:gd name="connsiteX12" fmla="*/ 2530910 w 9143999"/>
              <a:gd name="connsiteY12" fmla="*/ 2638885 h 2806929"/>
              <a:gd name="connsiteX13" fmla="*/ 2404689 w 9143999"/>
              <a:gd name="connsiteY13" fmla="*/ 2805064 h 2806929"/>
              <a:gd name="connsiteX14" fmla="*/ 2278467 w 9143999"/>
              <a:gd name="connsiteY14" fmla="*/ 2638885 h 2806929"/>
              <a:gd name="connsiteX15" fmla="*/ 0 w 9143999"/>
              <a:gd name="connsiteY15" fmla="*/ 2638885 h 2806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3999" h="2806929">
                <a:moveTo>
                  <a:pt x="0" y="0"/>
                </a:moveTo>
                <a:lnTo>
                  <a:pt x="9143999" y="0"/>
                </a:lnTo>
                <a:lnTo>
                  <a:pt x="9143999" y="2638885"/>
                </a:lnTo>
                <a:lnTo>
                  <a:pt x="6849570" y="2638885"/>
                </a:lnTo>
                <a:lnTo>
                  <a:pt x="6721932" y="2806929"/>
                </a:lnTo>
                <a:lnTo>
                  <a:pt x="6594295" y="2638885"/>
                </a:lnTo>
                <a:lnTo>
                  <a:pt x="5410489" y="2638885"/>
                </a:lnTo>
                <a:lnTo>
                  <a:pt x="5282851" y="2806929"/>
                </a:lnTo>
                <a:lnTo>
                  <a:pt x="5155214" y="2638885"/>
                </a:lnTo>
                <a:lnTo>
                  <a:pt x="3971407" y="2638885"/>
                </a:lnTo>
                <a:lnTo>
                  <a:pt x="3843771" y="2806928"/>
                </a:lnTo>
                <a:lnTo>
                  <a:pt x="3716134" y="2638885"/>
                </a:lnTo>
                <a:lnTo>
                  <a:pt x="2530910" y="2638885"/>
                </a:lnTo>
                <a:lnTo>
                  <a:pt x="2404689" y="2805064"/>
                </a:lnTo>
                <a:lnTo>
                  <a:pt x="2278467" y="2638885"/>
                </a:lnTo>
                <a:lnTo>
                  <a:pt x="0" y="2638885"/>
                </a:lnTo>
                <a:close/>
              </a:path>
            </a:pathLst>
          </a:custGeom>
        </p:spPr>
      </p:pic>
      <p:sp>
        <p:nvSpPr>
          <p:cNvPr id="17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1726160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18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3161488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19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4608832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sp>
        <p:nvSpPr>
          <p:cNvPr id="20" name="Text Placeholder 197"/>
          <p:cNvSpPr>
            <a:spLocks noGrp="1"/>
          </p:cNvSpPr>
          <p:nvPr>
            <p:ph type="body" sz="quarter" idx="22" hasCustomPrompt="1"/>
          </p:nvPr>
        </p:nvSpPr>
        <p:spPr>
          <a:xfrm>
            <a:off x="6046651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4</a:t>
            </a:r>
            <a:endParaRPr lang="nl-NL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24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3161488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</a:p>
          <a:p>
            <a:pPr lvl="0"/>
            <a:endParaRPr lang="nl-NL" dirty="0"/>
          </a:p>
        </p:txBody>
      </p:sp>
      <p:sp>
        <p:nvSpPr>
          <p:cNvPr id="25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4608832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26" name="Text Placeholder 197"/>
          <p:cNvSpPr>
            <a:spLocks noGrp="1"/>
          </p:cNvSpPr>
          <p:nvPr>
            <p:ph type="body" sz="quarter" idx="27" hasCustomPrompt="1"/>
          </p:nvPr>
        </p:nvSpPr>
        <p:spPr>
          <a:xfrm>
            <a:off x="6046651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1726160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161488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608832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6046651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1722406" y="3518537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41" name="Text Placeholder 79"/>
          <p:cNvSpPr>
            <a:spLocks noGrp="1"/>
          </p:cNvSpPr>
          <p:nvPr>
            <p:ph type="body" sz="quarter" idx="30" hasCustomPrompt="1"/>
          </p:nvPr>
        </p:nvSpPr>
        <p:spPr>
          <a:xfrm>
            <a:off x="1722406" y="1155190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9460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4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/ 5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86122" y="-714374"/>
            <a:ext cx="2571753" cy="914400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-2"/>
            <a:ext cx="9143999" cy="2759905"/>
          </a:xfrm>
          <a:custGeom>
            <a:avLst/>
            <a:gdLst>
              <a:gd name="connsiteX0" fmla="*/ 7332059 w 9143999"/>
              <a:gd name="connsiteY0" fmla="*/ 2590802 h 2759905"/>
              <a:gd name="connsiteX1" fmla="*/ 7588943 w 9143999"/>
              <a:gd name="connsiteY1" fmla="*/ 2590802 h 2759905"/>
              <a:gd name="connsiteX2" fmla="*/ 7460501 w 9143999"/>
              <a:gd name="connsiteY2" fmla="*/ 2759905 h 2759905"/>
              <a:gd name="connsiteX3" fmla="*/ 5886116 w 9143999"/>
              <a:gd name="connsiteY3" fmla="*/ 2590802 h 2759905"/>
              <a:gd name="connsiteX4" fmla="*/ 6143000 w 9143999"/>
              <a:gd name="connsiteY4" fmla="*/ 2590802 h 2759905"/>
              <a:gd name="connsiteX5" fmla="*/ 6014558 w 9143999"/>
              <a:gd name="connsiteY5" fmla="*/ 2759905 h 2759905"/>
              <a:gd name="connsiteX6" fmla="*/ 4440173 w 9143999"/>
              <a:gd name="connsiteY6" fmla="*/ 2590802 h 2759905"/>
              <a:gd name="connsiteX7" fmla="*/ 4697057 w 9143999"/>
              <a:gd name="connsiteY7" fmla="*/ 2590802 h 2759905"/>
              <a:gd name="connsiteX8" fmla="*/ 4568615 w 9143999"/>
              <a:gd name="connsiteY8" fmla="*/ 2759905 h 2759905"/>
              <a:gd name="connsiteX9" fmla="*/ 3003445 w 9143999"/>
              <a:gd name="connsiteY9" fmla="*/ 2590802 h 2759905"/>
              <a:gd name="connsiteX10" fmla="*/ 3260329 w 9143999"/>
              <a:gd name="connsiteY10" fmla="*/ 2590802 h 2759905"/>
              <a:gd name="connsiteX11" fmla="*/ 3131887 w 9143999"/>
              <a:gd name="connsiteY11" fmla="*/ 2759905 h 2759905"/>
              <a:gd name="connsiteX12" fmla="*/ 1566715 w 9143999"/>
              <a:gd name="connsiteY12" fmla="*/ 2590802 h 2759905"/>
              <a:gd name="connsiteX13" fmla="*/ 1823599 w 9143999"/>
              <a:gd name="connsiteY13" fmla="*/ 2590802 h 2759905"/>
              <a:gd name="connsiteX14" fmla="*/ 1695157 w 9143999"/>
              <a:gd name="connsiteY14" fmla="*/ 2759905 h 2759905"/>
              <a:gd name="connsiteX15" fmla="*/ 0 w 9143999"/>
              <a:gd name="connsiteY15" fmla="*/ 0 h 2759905"/>
              <a:gd name="connsiteX16" fmla="*/ 9143999 w 9143999"/>
              <a:gd name="connsiteY16" fmla="*/ 0 h 2759905"/>
              <a:gd name="connsiteX17" fmla="*/ 9143999 w 9143999"/>
              <a:gd name="connsiteY17" fmla="*/ 2590801 h 2759905"/>
              <a:gd name="connsiteX18" fmla="*/ 0 w 9143999"/>
              <a:gd name="connsiteY18" fmla="*/ 2590801 h 2759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3999" h="2759905">
                <a:moveTo>
                  <a:pt x="7332059" y="2590802"/>
                </a:moveTo>
                <a:lnTo>
                  <a:pt x="7588943" y="2590802"/>
                </a:lnTo>
                <a:lnTo>
                  <a:pt x="7460501" y="2759905"/>
                </a:lnTo>
                <a:close/>
                <a:moveTo>
                  <a:pt x="5886116" y="2590802"/>
                </a:moveTo>
                <a:lnTo>
                  <a:pt x="6143000" y="2590802"/>
                </a:lnTo>
                <a:lnTo>
                  <a:pt x="6014558" y="2759905"/>
                </a:lnTo>
                <a:close/>
                <a:moveTo>
                  <a:pt x="4440173" y="2590802"/>
                </a:moveTo>
                <a:lnTo>
                  <a:pt x="4697057" y="2590802"/>
                </a:lnTo>
                <a:lnTo>
                  <a:pt x="4568615" y="2759905"/>
                </a:lnTo>
                <a:close/>
                <a:moveTo>
                  <a:pt x="3003445" y="2590802"/>
                </a:moveTo>
                <a:lnTo>
                  <a:pt x="3260329" y="2590802"/>
                </a:lnTo>
                <a:lnTo>
                  <a:pt x="3131887" y="2759905"/>
                </a:lnTo>
                <a:close/>
                <a:moveTo>
                  <a:pt x="1566715" y="2590802"/>
                </a:moveTo>
                <a:lnTo>
                  <a:pt x="1823599" y="2590802"/>
                </a:lnTo>
                <a:lnTo>
                  <a:pt x="1695157" y="2759905"/>
                </a:ln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2590801"/>
                </a:lnTo>
                <a:lnTo>
                  <a:pt x="0" y="2590801"/>
                </a:lnTo>
                <a:close/>
              </a:path>
            </a:pathLst>
          </a:custGeom>
        </p:spPr>
      </p:pic>
      <p:sp>
        <p:nvSpPr>
          <p:cNvPr id="198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1011785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204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2456638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205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3894457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sp>
        <p:nvSpPr>
          <p:cNvPr id="206" name="Text Placeholder 197"/>
          <p:cNvSpPr>
            <a:spLocks noGrp="1"/>
          </p:cNvSpPr>
          <p:nvPr>
            <p:ph type="body" sz="quarter" idx="22" hasCustomPrompt="1"/>
          </p:nvPr>
        </p:nvSpPr>
        <p:spPr>
          <a:xfrm>
            <a:off x="5332276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4</a:t>
            </a:r>
            <a:endParaRPr lang="nl-NL" dirty="0"/>
          </a:p>
        </p:txBody>
      </p:sp>
      <p:sp>
        <p:nvSpPr>
          <p:cNvPr id="207" name="Text Placeholder 197"/>
          <p:cNvSpPr>
            <a:spLocks noGrp="1"/>
          </p:cNvSpPr>
          <p:nvPr>
            <p:ph type="body" sz="quarter" idx="23" hasCustomPrompt="1"/>
          </p:nvPr>
        </p:nvSpPr>
        <p:spPr>
          <a:xfrm>
            <a:off x="6770095" y="2974496"/>
            <a:ext cx="1364566" cy="3294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5</a:t>
            </a:r>
            <a:endParaRPr lang="nl-NL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22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2456638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</a:p>
          <a:p>
            <a:pPr lvl="0"/>
            <a:endParaRPr lang="nl-NL" dirty="0"/>
          </a:p>
        </p:txBody>
      </p:sp>
      <p:sp>
        <p:nvSpPr>
          <p:cNvPr id="23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3894457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24" name="Text Placeholder 197"/>
          <p:cNvSpPr>
            <a:spLocks noGrp="1"/>
          </p:cNvSpPr>
          <p:nvPr>
            <p:ph type="body" sz="quarter" idx="27" hasCustomPrompt="1"/>
          </p:nvPr>
        </p:nvSpPr>
        <p:spPr>
          <a:xfrm>
            <a:off x="5332276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25" name="Text Placeholder 197"/>
          <p:cNvSpPr>
            <a:spLocks noGrp="1"/>
          </p:cNvSpPr>
          <p:nvPr>
            <p:ph type="body" sz="quarter" idx="28" hasCustomPrompt="1"/>
          </p:nvPr>
        </p:nvSpPr>
        <p:spPr>
          <a:xfrm>
            <a:off x="6770095" y="3518538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11785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2456638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3894457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5332276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6770095" y="3400425"/>
            <a:ext cx="1364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1008031" y="3518537"/>
            <a:ext cx="1364566" cy="12058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r</a:t>
            </a:r>
            <a:r>
              <a:rPr lang="nl-NL" dirty="0" smtClean="0"/>
              <a:t> </a:t>
            </a:r>
            <a:r>
              <a:rPr lang="nl-NL" dirty="0" err="1" smtClean="0"/>
              <a:t>adipisch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, </a:t>
            </a:r>
            <a:r>
              <a:rPr lang="nl-NL" dirty="0" err="1" smtClean="0"/>
              <a:t>sed</a:t>
            </a:r>
            <a:r>
              <a:rPr lang="nl-NL" dirty="0" smtClean="0"/>
              <a:t> do </a:t>
            </a:r>
            <a:r>
              <a:rPr lang="nl-NL" dirty="0" err="1" smtClean="0"/>
              <a:t>eiusmod</a:t>
            </a:r>
            <a:r>
              <a:rPr lang="nl-NL" dirty="0" smtClean="0"/>
              <a:t> </a:t>
            </a:r>
            <a:r>
              <a:rPr lang="nl-NL" dirty="0" err="1" smtClean="0"/>
              <a:t>tempr</a:t>
            </a:r>
            <a:r>
              <a:rPr lang="nl-NL" dirty="0" smtClean="0"/>
              <a:t> </a:t>
            </a:r>
            <a:r>
              <a:rPr lang="nl-NL" dirty="0" err="1" smtClean="0"/>
              <a:t>incididunt</a:t>
            </a:r>
            <a:r>
              <a:rPr lang="nl-NL" dirty="0" smtClean="0"/>
              <a:t> ut </a:t>
            </a:r>
            <a:r>
              <a:rPr lang="nl-NL" dirty="0" err="1" smtClean="0"/>
              <a:t>labore</a:t>
            </a:r>
            <a:r>
              <a:rPr lang="nl-NL" dirty="0" smtClean="0"/>
              <a:t>.</a:t>
            </a:r>
            <a:endParaRPr lang="nl-NL" dirty="0"/>
          </a:p>
        </p:txBody>
      </p:sp>
      <p:sp>
        <p:nvSpPr>
          <p:cNvPr id="38" name="Text Placeholder 79"/>
          <p:cNvSpPr>
            <a:spLocks noGrp="1"/>
          </p:cNvSpPr>
          <p:nvPr>
            <p:ph type="body" sz="quarter" idx="10" hasCustomPrompt="1"/>
          </p:nvPr>
        </p:nvSpPr>
        <p:spPr>
          <a:xfrm>
            <a:off x="1008031" y="1183876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4259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2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20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2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2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0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/ 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2"/>
          <a:stretch/>
        </p:blipFill>
        <p:spPr>
          <a:xfrm>
            <a:off x="0" y="-10160"/>
            <a:ext cx="6897414" cy="5153660"/>
          </a:xfrm>
          <a:custGeom>
            <a:avLst/>
            <a:gdLst>
              <a:gd name="connsiteX0" fmla="*/ 0 w 6839213"/>
              <a:gd name="connsiteY0" fmla="*/ 0 h 5143500"/>
              <a:gd name="connsiteX1" fmla="*/ 6670110 w 6839213"/>
              <a:gd name="connsiteY1" fmla="*/ 0 h 5143500"/>
              <a:gd name="connsiteX2" fmla="*/ 6670110 w 6839213"/>
              <a:gd name="connsiteY2" fmla="*/ 1015657 h 5143500"/>
              <a:gd name="connsiteX3" fmla="*/ 6839212 w 6839213"/>
              <a:gd name="connsiteY3" fmla="*/ 1144098 h 5143500"/>
              <a:gd name="connsiteX4" fmla="*/ 6670110 w 6839213"/>
              <a:gd name="connsiteY4" fmla="*/ 1272539 h 5143500"/>
              <a:gd name="connsiteX5" fmla="*/ 6670110 w 6839213"/>
              <a:gd name="connsiteY5" fmla="*/ 2446020 h 5143500"/>
              <a:gd name="connsiteX6" fmla="*/ 6839213 w 6839213"/>
              <a:gd name="connsiteY6" fmla="*/ 2574462 h 5143500"/>
              <a:gd name="connsiteX7" fmla="*/ 6670110 w 6839213"/>
              <a:gd name="connsiteY7" fmla="*/ 2702903 h 5143500"/>
              <a:gd name="connsiteX8" fmla="*/ 6670110 w 6839213"/>
              <a:gd name="connsiteY8" fmla="*/ 3884868 h 5143500"/>
              <a:gd name="connsiteX9" fmla="*/ 6838076 w 6839213"/>
              <a:gd name="connsiteY9" fmla="*/ 4012446 h 5143500"/>
              <a:gd name="connsiteX10" fmla="*/ 6670110 w 6839213"/>
              <a:gd name="connsiteY10" fmla="*/ 4140024 h 5143500"/>
              <a:gd name="connsiteX11" fmla="*/ 6670110 w 6839213"/>
              <a:gd name="connsiteY11" fmla="*/ 5143500 h 5143500"/>
              <a:gd name="connsiteX12" fmla="*/ 0 w 6839213"/>
              <a:gd name="connsiteY1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39213" h="5143500">
                <a:moveTo>
                  <a:pt x="0" y="0"/>
                </a:moveTo>
                <a:lnTo>
                  <a:pt x="6670110" y="0"/>
                </a:lnTo>
                <a:lnTo>
                  <a:pt x="6670110" y="1015657"/>
                </a:lnTo>
                <a:lnTo>
                  <a:pt x="6839212" y="1144098"/>
                </a:lnTo>
                <a:lnTo>
                  <a:pt x="6670110" y="1272539"/>
                </a:lnTo>
                <a:lnTo>
                  <a:pt x="6670110" y="2446020"/>
                </a:lnTo>
                <a:lnTo>
                  <a:pt x="6839213" y="2574462"/>
                </a:lnTo>
                <a:lnTo>
                  <a:pt x="6670110" y="2702903"/>
                </a:lnTo>
                <a:lnTo>
                  <a:pt x="6670110" y="3884868"/>
                </a:lnTo>
                <a:lnTo>
                  <a:pt x="6838076" y="4012446"/>
                </a:lnTo>
                <a:lnTo>
                  <a:pt x="6670110" y="4140024"/>
                </a:lnTo>
                <a:lnTo>
                  <a:pt x="667011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8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6956618" y="863516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9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6958239" y="2292155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10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6958239" y="3740674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sp>
        <p:nvSpPr>
          <p:cNvPr id="11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6956618" y="2585567"/>
            <a:ext cx="1928017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2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6956618" y="4035985"/>
            <a:ext cx="1937541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3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6956618" y="1160741"/>
            <a:ext cx="1926396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5" name="Text Placeholder 79"/>
          <p:cNvSpPr>
            <a:spLocks noGrp="1"/>
          </p:cNvSpPr>
          <p:nvPr>
            <p:ph type="body" sz="quarter" idx="30" hasCustomPrompt="1"/>
          </p:nvPr>
        </p:nvSpPr>
        <p:spPr>
          <a:xfrm>
            <a:off x="446056" y="399388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82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/ 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71"/>
          <a:stretch/>
        </p:blipFill>
        <p:spPr>
          <a:xfrm>
            <a:off x="1" y="0"/>
            <a:ext cx="6897413" cy="5163429"/>
          </a:xfrm>
          <a:custGeom>
            <a:avLst/>
            <a:gdLst>
              <a:gd name="connsiteX0" fmla="*/ 0 w 6893753"/>
              <a:gd name="connsiteY0" fmla="*/ 0 h 5163429"/>
              <a:gd name="connsiteX1" fmla="*/ 6724650 w 6893753"/>
              <a:gd name="connsiteY1" fmla="*/ 0 h 5163429"/>
              <a:gd name="connsiteX2" fmla="*/ 6724650 w 6893753"/>
              <a:gd name="connsiteY2" fmla="*/ 878362 h 5163429"/>
              <a:gd name="connsiteX3" fmla="*/ 6893753 w 6893753"/>
              <a:gd name="connsiteY3" fmla="*/ 1006804 h 5163429"/>
              <a:gd name="connsiteX4" fmla="*/ 6724650 w 6893753"/>
              <a:gd name="connsiteY4" fmla="*/ 1135246 h 5163429"/>
              <a:gd name="connsiteX5" fmla="*/ 6724650 w 6893753"/>
              <a:gd name="connsiteY5" fmla="*/ 1927906 h 5163429"/>
              <a:gd name="connsiteX6" fmla="*/ 6893753 w 6893753"/>
              <a:gd name="connsiteY6" fmla="*/ 2056348 h 5163429"/>
              <a:gd name="connsiteX7" fmla="*/ 6724650 w 6893753"/>
              <a:gd name="connsiteY7" fmla="*/ 2184789 h 5163429"/>
              <a:gd name="connsiteX8" fmla="*/ 6724650 w 6893753"/>
              <a:gd name="connsiteY8" fmla="*/ 2996490 h 5163429"/>
              <a:gd name="connsiteX9" fmla="*/ 6889785 w 6893753"/>
              <a:gd name="connsiteY9" fmla="*/ 3121918 h 5163429"/>
              <a:gd name="connsiteX10" fmla="*/ 6724650 w 6893753"/>
              <a:gd name="connsiteY10" fmla="*/ 3247345 h 5163429"/>
              <a:gd name="connsiteX11" fmla="*/ 6724650 w 6893753"/>
              <a:gd name="connsiteY11" fmla="*/ 4046034 h 5163429"/>
              <a:gd name="connsiteX12" fmla="*/ 6889785 w 6893753"/>
              <a:gd name="connsiteY12" fmla="*/ 4171462 h 5163429"/>
              <a:gd name="connsiteX13" fmla="*/ 6724650 w 6893753"/>
              <a:gd name="connsiteY13" fmla="*/ 4296889 h 5163429"/>
              <a:gd name="connsiteX14" fmla="*/ 6724650 w 6893753"/>
              <a:gd name="connsiteY14" fmla="*/ 5163429 h 5163429"/>
              <a:gd name="connsiteX15" fmla="*/ 0 w 6893753"/>
              <a:gd name="connsiteY15" fmla="*/ 5163429 h 5163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93753" h="5163429">
                <a:moveTo>
                  <a:pt x="0" y="0"/>
                </a:moveTo>
                <a:lnTo>
                  <a:pt x="6724650" y="0"/>
                </a:lnTo>
                <a:lnTo>
                  <a:pt x="6724650" y="878362"/>
                </a:lnTo>
                <a:lnTo>
                  <a:pt x="6893753" y="1006804"/>
                </a:lnTo>
                <a:lnTo>
                  <a:pt x="6724650" y="1135246"/>
                </a:lnTo>
                <a:lnTo>
                  <a:pt x="6724650" y="1927906"/>
                </a:lnTo>
                <a:lnTo>
                  <a:pt x="6893753" y="2056348"/>
                </a:lnTo>
                <a:lnTo>
                  <a:pt x="6724650" y="2184789"/>
                </a:lnTo>
                <a:lnTo>
                  <a:pt x="6724650" y="2996490"/>
                </a:lnTo>
                <a:lnTo>
                  <a:pt x="6889785" y="3121918"/>
                </a:lnTo>
                <a:lnTo>
                  <a:pt x="6724650" y="3247345"/>
                </a:lnTo>
                <a:lnTo>
                  <a:pt x="6724650" y="4046034"/>
                </a:lnTo>
                <a:lnTo>
                  <a:pt x="6889785" y="4171462"/>
                </a:lnTo>
                <a:lnTo>
                  <a:pt x="6724650" y="4296889"/>
                </a:lnTo>
                <a:lnTo>
                  <a:pt x="6724650" y="5163429"/>
                </a:lnTo>
                <a:lnTo>
                  <a:pt x="0" y="5163429"/>
                </a:lnTo>
                <a:close/>
              </a:path>
            </a:pathLst>
          </a:custGeom>
        </p:spPr>
      </p:pic>
      <p:sp>
        <p:nvSpPr>
          <p:cNvPr id="22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6979478" y="741596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23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6981099" y="1781615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24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6981099" y="2856754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sp>
        <p:nvSpPr>
          <p:cNvPr id="25" name="Text Placeholder 197"/>
          <p:cNvSpPr>
            <a:spLocks noGrp="1"/>
          </p:cNvSpPr>
          <p:nvPr>
            <p:ph type="body" sz="quarter" idx="22" hasCustomPrompt="1"/>
          </p:nvPr>
        </p:nvSpPr>
        <p:spPr>
          <a:xfrm>
            <a:off x="6981098" y="3901953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4</a:t>
            </a:r>
            <a:endParaRPr lang="nl-NL" dirty="0"/>
          </a:p>
        </p:txBody>
      </p:sp>
      <p:sp>
        <p:nvSpPr>
          <p:cNvPr id="41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6979478" y="2075027"/>
            <a:ext cx="1928017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42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6979478" y="3152065"/>
            <a:ext cx="1937541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43" name="Text Placeholder 197"/>
          <p:cNvSpPr>
            <a:spLocks noGrp="1"/>
          </p:cNvSpPr>
          <p:nvPr>
            <p:ph type="body" sz="quarter" idx="27" hasCustomPrompt="1"/>
          </p:nvPr>
        </p:nvSpPr>
        <p:spPr>
          <a:xfrm>
            <a:off x="6979478" y="4188271"/>
            <a:ext cx="1937540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45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6979478" y="1038821"/>
            <a:ext cx="1926396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5" name="Text Placeholder 79"/>
          <p:cNvSpPr>
            <a:spLocks noGrp="1"/>
          </p:cNvSpPr>
          <p:nvPr>
            <p:ph type="body" sz="quarter" idx="31" hasCustomPrompt="1"/>
          </p:nvPr>
        </p:nvSpPr>
        <p:spPr>
          <a:xfrm>
            <a:off x="446056" y="399388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68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% / 5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888480" cy="5143500"/>
          </a:xfrm>
          <a:custGeom>
            <a:avLst/>
            <a:gdLst>
              <a:gd name="connsiteX0" fmla="*/ 0 w 6912803"/>
              <a:gd name="connsiteY0" fmla="*/ 0 h 5143500"/>
              <a:gd name="connsiteX1" fmla="*/ 6743700 w 6912803"/>
              <a:gd name="connsiteY1" fmla="*/ 0 h 5143500"/>
              <a:gd name="connsiteX2" fmla="*/ 6743700 w 6912803"/>
              <a:gd name="connsiteY2" fmla="*/ 852637 h 5143500"/>
              <a:gd name="connsiteX3" fmla="*/ 6912800 w 6912803"/>
              <a:gd name="connsiteY3" fmla="*/ 981076 h 5143500"/>
              <a:gd name="connsiteX4" fmla="*/ 6743700 w 6912803"/>
              <a:gd name="connsiteY4" fmla="*/ 1109515 h 5143500"/>
              <a:gd name="connsiteX5" fmla="*/ 6743700 w 6912803"/>
              <a:gd name="connsiteY5" fmla="*/ 1647974 h 5143500"/>
              <a:gd name="connsiteX6" fmla="*/ 6912801 w 6912803"/>
              <a:gd name="connsiteY6" fmla="*/ 1776414 h 5143500"/>
              <a:gd name="connsiteX7" fmla="*/ 6743700 w 6912803"/>
              <a:gd name="connsiteY7" fmla="*/ 1904854 h 5143500"/>
              <a:gd name="connsiteX8" fmla="*/ 6743700 w 6912803"/>
              <a:gd name="connsiteY8" fmla="*/ 2443309 h 5143500"/>
              <a:gd name="connsiteX9" fmla="*/ 6912803 w 6912803"/>
              <a:gd name="connsiteY9" fmla="*/ 2571751 h 5143500"/>
              <a:gd name="connsiteX10" fmla="*/ 6743700 w 6912803"/>
              <a:gd name="connsiteY10" fmla="*/ 2700192 h 5143500"/>
              <a:gd name="connsiteX11" fmla="*/ 6743700 w 6912803"/>
              <a:gd name="connsiteY11" fmla="*/ 3238649 h 5143500"/>
              <a:gd name="connsiteX12" fmla="*/ 6912801 w 6912803"/>
              <a:gd name="connsiteY12" fmla="*/ 3367089 h 5143500"/>
              <a:gd name="connsiteX13" fmla="*/ 6743700 w 6912803"/>
              <a:gd name="connsiteY13" fmla="*/ 3495529 h 5143500"/>
              <a:gd name="connsiteX14" fmla="*/ 6743700 w 6912803"/>
              <a:gd name="connsiteY14" fmla="*/ 4033986 h 5143500"/>
              <a:gd name="connsiteX15" fmla="*/ 6912802 w 6912803"/>
              <a:gd name="connsiteY15" fmla="*/ 4162427 h 5143500"/>
              <a:gd name="connsiteX16" fmla="*/ 6743700 w 6912803"/>
              <a:gd name="connsiteY16" fmla="*/ 4290868 h 5143500"/>
              <a:gd name="connsiteX17" fmla="*/ 6743700 w 6912803"/>
              <a:gd name="connsiteY17" fmla="*/ 5143500 h 5143500"/>
              <a:gd name="connsiteX18" fmla="*/ 0 w 6912803"/>
              <a:gd name="connsiteY18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912803" h="5143500">
                <a:moveTo>
                  <a:pt x="0" y="0"/>
                </a:moveTo>
                <a:lnTo>
                  <a:pt x="6743700" y="0"/>
                </a:lnTo>
                <a:lnTo>
                  <a:pt x="6743700" y="852637"/>
                </a:lnTo>
                <a:lnTo>
                  <a:pt x="6912800" y="981076"/>
                </a:lnTo>
                <a:lnTo>
                  <a:pt x="6743700" y="1109515"/>
                </a:lnTo>
                <a:lnTo>
                  <a:pt x="6743700" y="1647974"/>
                </a:lnTo>
                <a:lnTo>
                  <a:pt x="6912801" y="1776414"/>
                </a:lnTo>
                <a:lnTo>
                  <a:pt x="6743700" y="1904854"/>
                </a:lnTo>
                <a:lnTo>
                  <a:pt x="6743700" y="2443309"/>
                </a:lnTo>
                <a:lnTo>
                  <a:pt x="6912803" y="2571751"/>
                </a:lnTo>
                <a:lnTo>
                  <a:pt x="6743700" y="2700192"/>
                </a:lnTo>
                <a:lnTo>
                  <a:pt x="6743700" y="3238649"/>
                </a:lnTo>
                <a:lnTo>
                  <a:pt x="6912801" y="3367089"/>
                </a:lnTo>
                <a:lnTo>
                  <a:pt x="6743700" y="3495529"/>
                </a:lnTo>
                <a:lnTo>
                  <a:pt x="6743700" y="4033986"/>
                </a:lnTo>
                <a:lnTo>
                  <a:pt x="6912802" y="4162427"/>
                </a:lnTo>
                <a:lnTo>
                  <a:pt x="6743700" y="4290868"/>
                </a:lnTo>
                <a:lnTo>
                  <a:pt x="67437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4" name="Text Placeholder 197"/>
          <p:cNvSpPr>
            <a:spLocks noGrp="1"/>
          </p:cNvSpPr>
          <p:nvPr>
            <p:ph type="body" sz="quarter" idx="15" hasCustomPrompt="1"/>
          </p:nvPr>
        </p:nvSpPr>
        <p:spPr>
          <a:xfrm>
            <a:off x="6950903" y="678722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  <a:endParaRPr lang="nl-NL" dirty="0"/>
          </a:p>
        </p:txBody>
      </p:sp>
      <p:sp>
        <p:nvSpPr>
          <p:cNvPr id="5" name="Text Placeholder 197"/>
          <p:cNvSpPr>
            <a:spLocks noGrp="1"/>
          </p:cNvSpPr>
          <p:nvPr>
            <p:ph type="body" sz="quarter" idx="20" hasCustomPrompt="1"/>
          </p:nvPr>
        </p:nvSpPr>
        <p:spPr>
          <a:xfrm>
            <a:off x="6950903" y="1475027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2</a:t>
            </a:r>
            <a:endParaRPr lang="nl-NL" dirty="0"/>
          </a:p>
        </p:txBody>
      </p:sp>
      <p:sp>
        <p:nvSpPr>
          <p:cNvPr id="6" name="Text Placeholder 197"/>
          <p:cNvSpPr>
            <a:spLocks noGrp="1"/>
          </p:cNvSpPr>
          <p:nvPr>
            <p:ph type="body" sz="quarter" idx="21" hasCustomPrompt="1"/>
          </p:nvPr>
        </p:nvSpPr>
        <p:spPr>
          <a:xfrm>
            <a:off x="6941378" y="2271332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3</a:t>
            </a:r>
            <a:endParaRPr lang="nl-NL" dirty="0"/>
          </a:p>
        </p:txBody>
      </p:sp>
      <p:sp>
        <p:nvSpPr>
          <p:cNvPr id="7" name="Text Placeholder 197"/>
          <p:cNvSpPr>
            <a:spLocks noGrp="1"/>
          </p:cNvSpPr>
          <p:nvPr>
            <p:ph type="body" sz="quarter" idx="22" hasCustomPrompt="1"/>
          </p:nvPr>
        </p:nvSpPr>
        <p:spPr>
          <a:xfrm>
            <a:off x="6941378" y="3067637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4</a:t>
            </a:r>
            <a:endParaRPr lang="nl-NL" dirty="0"/>
          </a:p>
        </p:txBody>
      </p:sp>
      <p:sp>
        <p:nvSpPr>
          <p:cNvPr id="8" name="Text Placeholder 197"/>
          <p:cNvSpPr>
            <a:spLocks noGrp="1"/>
          </p:cNvSpPr>
          <p:nvPr>
            <p:ph type="body" sz="quarter" idx="23" hasCustomPrompt="1"/>
          </p:nvPr>
        </p:nvSpPr>
        <p:spPr>
          <a:xfrm>
            <a:off x="6950903" y="3863942"/>
            <a:ext cx="1364566" cy="254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NotesStyle-Regular" pitchFamily="50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5</a:t>
            </a:r>
            <a:endParaRPr lang="nl-NL" dirty="0"/>
          </a:p>
        </p:txBody>
      </p:sp>
      <p:sp>
        <p:nvSpPr>
          <p:cNvPr id="10" name="Text Placeholder 197"/>
          <p:cNvSpPr>
            <a:spLocks noGrp="1"/>
          </p:cNvSpPr>
          <p:nvPr>
            <p:ph type="body" sz="quarter" idx="25" hasCustomPrompt="1"/>
          </p:nvPr>
        </p:nvSpPr>
        <p:spPr>
          <a:xfrm>
            <a:off x="6949282" y="1768439"/>
            <a:ext cx="1928017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1" name="Text Placeholder 197"/>
          <p:cNvSpPr>
            <a:spLocks noGrp="1"/>
          </p:cNvSpPr>
          <p:nvPr>
            <p:ph type="body" sz="quarter" idx="26" hasCustomPrompt="1"/>
          </p:nvPr>
        </p:nvSpPr>
        <p:spPr>
          <a:xfrm>
            <a:off x="6939757" y="2566643"/>
            <a:ext cx="1937541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2" name="Text Placeholder 197"/>
          <p:cNvSpPr>
            <a:spLocks noGrp="1"/>
          </p:cNvSpPr>
          <p:nvPr>
            <p:ph type="body" sz="quarter" idx="27" hasCustomPrompt="1"/>
          </p:nvPr>
        </p:nvSpPr>
        <p:spPr>
          <a:xfrm>
            <a:off x="6939758" y="3353955"/>
            <a:ext cx="1937540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3" name="Text Placeholder 197"/>
          <p:cNvSpPr>
            <a:spLocks noGrp="1"/>
          </p:cNvSpPr>
          <p:nvPr>
            <p:ph type="body" sz="quarter" idx="28" hasCustomPrompt="1"/>
          </p:nvPr>
        </p:nvSpPr>
        <p:spPr>
          <a:xfrm>
            <a:off x="6950902" y="4170391"/>
            <a:ext cx="1926395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4" name="Text Placeholder 197"/>
          <p:cNvSpPr>
            <a:spLocks noGrp="1"/>
          </p:cNvSpPr>
          <p:nvPr>
            <p:ph type="body" sz="quarter" idx="29" hasCustomPrompt="1"/>
          </p:nvPr>
        </p:nvSpPr>
        <p:spPr>
          <a:xfrm>
            <a:off x="6950903" y="975947"/>
            <a:ext cx="1926396" cy="40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1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i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endParaRPr lang="nl-NL" dirty="0"/>
          </a:p>
        </p:txBody>
      </p:sp>
      <p:sp>
        <p:nvSpPr>
          <p:cNvPr id="16" name="Text Placeholder 79"/>
          <p:cNvSpPr>
            <a:spLocks noGrp="1"/>
          </p:cNvSpPr>
          <p:nvPr>
            <p:ph type="body" sz="quarter" idx="30" hasCustomPrompt="1"/>
          </p:nvPr>
        </p:nvSpPr>
        <p:spPr>
          <a:xfrm>
            <a:off x="446056" y="399388"/>
            <a:ext cx="1830418" cy="951650"/>
          </a:xfrm>
          <a:prstGeom prst="rect">
            <a:avLst/>
          </a:prstGeom>
          <a:solidFill>
            <a:srgbClr val="00B8DE">
              <a:alpha val="50196"/>
            </a:srgbClr>
          </a:solidFill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1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6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 animBg="1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620"/>
            <a:ext cx="9144000" cy="515112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6244" y="384334"/>
            <a:ext cx="8291512" cy="43672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nl-NL" sz="1600" kern="1200" baseline="0" dirty="0" err="1" smtClean="0">
                <a:solidFill>
                  <a:schemeClr val="bg1"/>
                </a:solidFill>
                <a:latin typeface="NotesStyle-Regular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nl-NL" dirty="0" smtClean="0"/>
              <a:t>			</a:t>
            </a:r>
          </a:p>
          <a:p>
            <a:pPr lvl="0"/>
            <a:endParaRPr lang="nl-NL" dirty="0" smtClean="0"/>
          </a:p>
          <a:p>
            <a:pPr lvl="0"/>
            <a:endParaRPr lang="nl-NL" dirty="0" smtClean="0"/>
          </a:p>
          <a:p>
            <a:pPr lvl="0"/>
            <a:endParaRPr lang="nl-NL" dirty="0" smtClean="0"/>
          </a:p>
          <a:p>
            <a:pPr lvl="0"/>
            <a:endParaRPr lang="nl-NL" dirty="0" smtClean="0"/>
          </a:p>
          <a:p>
            <a:pPr lvl="0"/>
            <a:r>
              <a:rPr lang="nl-NL" dirty="0" smtClean="0"/>
              <a:t>			             ADD MEDI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09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18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0064" y="183664"/>
            <a:ext cx="3108960" cy="5909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0864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9266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white">
          <a:xfrm>
            <a:off x="689546" y="3785672"/>
            <a:ext cx="744977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 bwMode="white">
          <a:xfrm>
            <a:off x="681925" y="3041227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white">
          <a:xfrm>
            <a:off x="1434523" y="3785672"/>
            <a:ext cx="740484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 bwMode="white">
          <a:xfrm>
            <a:off x="1431551" y="3048197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 bwMode="white">
          <a:xfrm>
            <a:off x="2175938" y="3785672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white">
          <a:xfrm>
            <a:off x="2908198" y="3041179"/>
            <a:ext cx="753739" cy="740809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white">
          <a:xfrm>
            <a:off x="2174523" y="3040577"/>
            <a:ext cx="734606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 bwMode="white">
          <a:xfrm>
            <a:off x="2911880" y="3785672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3652585" y="3785672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 bwMode="white">
          <a:xfrm>
            <a:off x="3661854" y="3040577"/>
            <a:ext cx="731437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689442" y="2040680"/>
            <a:ext cx="1696331" cy="3711365"/>
          </a:xfrm>
          <a:custGeom>
            <a:avLst/>
            <a:gdLst>
              <a:gd name="connsiteX0" fmla="*/ 0 w 1687820"/>
              <a:gd name="connsiteY0" fmla="*/ 3703744 h 3703744"/>
              <a:gd name="connsiteX1" fmla="*/ 0 w 1687820"/>
              <a:gd name="connsiteY1" fmla="*/ 0 h 3703744"/>
              <a:gd name="connsiteX2" fmla="*/ 1472044 w 1687820"/>
              <a:gd name="connsiteY2" fmla="*/ 0 h 3703744"/>
              <a:gd name="connsiteX3" fmla="*/ 1472044 w 1687820"/>
              <a:gd name="connsiteY3" fmla="*/ 3113331 h 3703744"/>
              <a:gd name="connsiteX4" fmla="*/ 1687820 w 1687820"/>
              <a:gd name="connsiteY4" fmla="*/ 3297824 h 3703744"/>
              <a:gd name="connsiteX5" fmla="*/ 1472044 w 1687820"/>
              <a:gd name="connsiteY5" fmla="*/ 3482316 h 3703744"/>
              <a:gd name="connsiteX6" fmla="*/ 1472044 w 1687820"/>
              <a:gd name="connsiteY6" fmla="*/ 3703744 h 370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7820" h="3703744">
                <a:moveTo>
                  <a:pt x="0" y="3703744"/>
                </a:moveTo>
                <a:lnTo>
                  <a:pt x="0" y="0"/>
                </a:lnTo>
                <a:lnTo>
                  <a:pt x="1472044" y="0"/>
                </a:lnTo>
                <a:lnTo>
                  <a:pt x="1472044" y="3113331"/>
                </a:lnTo>
                <a:lnTo>
                  <a:pt x="1687820" y="3297824"/>
                </a:lnTo>
                <a:lnTo>
                  <a:pt x="1472044" y="3482316"/>
                </a:lnTo>
                <a:lnTo>
                  <a:pt x="1472044" y="3703744"/>
                </a:lnTo>
                <a:close/>
              </a:path>
            </a:pathLst>
          </a:custGeom>
        </p:spPr>
      </p:pic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41739" y="3701691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Speaker name </a:t>
            </a:r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2214" y="3157723"/>
            <a:ext cx="3418626" cy="5369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 dirty="0" smtClean="0"/>
              <a:t>Presentation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sp>
        <p:nvSpPr>
          <p:cNvPr id="2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841739" y="4002153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1881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10" fill="hold"/>
                                        <p:tgtEl>
                                          <p:spTgt spid="1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7" presetClass="path" presetSubtype="0" decel="10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063 -0.48858 C 0.63039 -0.47808 0.55903 0.0034 0.00087 -0.00031 " pathEditMode="relative" rAng="0" ptsTypes="AA">
                                      <p:cBhvr>
                                        <p:cTn id="2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97" y="2441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8" presetClass="emph" presetSubtype="0" accel="48649" decel="48649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2" dur="37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8" presetClass="emph" presetSubtype="0" decel="100000" fill="hold" grpId="6" nodeType="withEffect">
                                  <p:stCondLst>
                                    <p:cond delay="370"/>
                                  </p:stCondLst>
                                  <p:childTnLst>
                                    <p:animRot by="600000">
                                      <p:cBhvr>
                                        <p:cTn id="24" dur="37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2448 -0.54136 C 0.91441 -0.53087 0.55781 0.00247 1.38889E-6 -0.00062 " pathEditMode="relative" rAng="0" ptsTypes="AA">
                                      <p:cBhvr>
                                        <p:cTn id="37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233" y="27037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">
                                      <p:cBhvr>
                                        <p:cTn id="39" dur="37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600000">
                                      <p:cBhvr>
                                        <p:cTn id="41" dur="37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3" dur="750" fill="hold"/>
                                        <p:tgtEl>
                                          <p:spTgt spid="19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10" fill="hold"/>
                                        <p:tgtEl>
                                          <p:spTgt spid="22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82691 -0.32654 C 1.10833 -0.31605 0.97708 0.0034 -1.38889E-6 -0.00031 " pathEditMode="relative" rAng="0" ptsTypes="AA">
                                      <p:cBhvr>
                                        <p:cTn id="54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16296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600000">
                                      <p:cBhvr>
                                        <p:cTn id="56" dur="3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600000">
                                      <p:cBhvr>
                                        <p:cTn id="58" dur="3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0" dur="750" fill="hold"/>
                                        <p:tgtEl>
                                          <p:spTgt spid="22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10" fill="hold"/>
                                        <p:tgtEl>
                                          <p:spTgt spid="18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71 0.54507 C 0.66076 0.53735 0.55816 -0.00277 4.16667E-6 -4.69136E-6 " pathEditMode="relative" rAng="0" ptsTypes="AA">
                                      <p:cBhvr>
                                        <p:cTn id="71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559" y="-27284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300000">
                                      <p:cBhvr>
                                        <p:cTn id="73" dur="37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4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300000">
                                      <p:cBhvr>
                                        <p:cTn id="75" dur="37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77" dur="750" fill="hold"/>
                                        <p:tgtEl>
                                          <p:spTgt spid="18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3" dur="10" fill="hold"/>
                                        <p:tgtEl>
                                          <p:spTgt spid="20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32604 0.43642 C 0.91615 0.42686 0.55781 -0.00308 -2.22222E-6 -4.69136E-6 " pathEditMode="relative" rAng="0" ptsTypes="AA">
                                      <p:cBhvr>
                                        <p:cTn id="88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302" y="-21852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300000">
                                      <p:cBhvr>
                                        <p:cTn id="90" dur="37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1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300000">
                                      <p:cBhvr>
                                        <p:cTn id="92" dur="37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3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4" dur="750" fill="hold"/>
                                        <p:tgtEl>
                                          <p:spTgt spid="20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0" dur="10" fill="hold"/>
                                        <p:tgtEl>
                                          <p:spTgt spid="21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35851 -0.32685 C 1.63021 -0.31636 0.99063 0.00309 -1.38889E-6 -0.00031 " pathEditMode="relative" rAng="0" ptsTypes="AA">
                                      <p:cBhvr>
                                        <p:cTn id="105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16327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600000">
                                      <p:cBhvr>
                                        <p:cTn id="107" dur="37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600000">
                                      <p:cBhvr>
                                        <p:cTn id="109" dur="37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11" dur="750" fill="hold"/>
                                        <p:tgtEl>
                                          <p:spTgt spid="21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7" dur="10" fill="hold"/>
                                        <p:tgtEl>
                                          <p:spTgt spid="23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82691 0.34846 C 1.10834 0.33704 0.97709 -0.00401 -4.16667E-6 -4.69136E-6 " pathEditMode="relative" rAng="0" ptsTypes="AA">
                                      <p:cBhvr>
                                        <p:cTn id="12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-17438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300000">
                                      <p:cBhvr>
                                        <p:cTn id="124" dur="37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300000">
                                      <p:cBhvr>
                                        <p:cTn id="126" dur="37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28" dur="750" fill="hold"/>
                                        <p:tgtEl>
                                          <p:spTgt spid="23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4" dur="10" fill="hold"/>
                                        <p:tgtEl>
                                          <p:spTgt spid="25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37" presetClass="path" presetSubtype="0" decel="10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35851 -0.32685 C 1.63021 -0.31636 0.99063 0.00309 -1.38889E-6 -0.00031 " pathEditMode="relative" rAng="0" ptsTypes="AA">
                                      <p:cBhvr>
                                        <p:cTn id="139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16327"/>
                                    </p:animMotion>
                                  </p:childTnLst>
                                </p:cTn>
                              </p:par>
                              <p:par>
                                <p:cTn id="140" presetID="8" presetClass="emph" presetSubtype="0" accel="48649" decel="48649" fill="hold" grpId="5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-600000">
                                      <p:cBhvr>
                                        <p:cTn id="141" dur="37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2" presetID="8" presetClass="emph" presetSubtype="0" decel="100000" fill="hold" grpId="6" nodeType="withEffect">
                                  <p:stCondLst>
                                    <p:cond delay="770"/>
                                  </p:stCondLst>
                                  <p:childTnLst>
                                    <p:animRot by="600000">
                                      <p:cBhvr>
                                        <p:cTn id="143" dur="37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4" presetID="6" presetClass="emph" presetSubtype="0" decel="100000" fill="hold" grpId="7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45" dur="750" fill="hold"/>
                                        <p:tgtEl>
                                          <p:spTgt spid="25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1" dur="10" fill="hold"/>
                                        <p:tgtEl>
                                          <p:spTgt spid="24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37" presetClass="path" presetSubtype="0" decel="10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35851 0.23982 C 1.63021 0.2321 0.99063 -0.00246 -5.55556E-7 -4.69136E-6 " pathEditMode="relative" rAng="0" ptsTypes="AA">
                                      <p:cBhvr>
                                        <p:cTn id="156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-12006"/>
                                    </p:animMotion>
                                  </p:childTnLst>
                                </p:cTn>
                              </p:par>
                              <p:par>
                                <p:cTn id="157" presetID="8" presetClass="emph" presetSubtype="0" accel="48649" decel="48649" fill="hold" grpId="5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-300000">
                                      <p:cBhvr>
                                        <p:cTn id="158" dur="3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9" presetID="8" presetClass="emph" presetSubtype="0" decel="100000" fill="hold" grpId="6" nodeType="withEffect">
                                  <p:stCondLst>
                                    <p:cond delay="770"/>
                                  </p:stCondLst>
                                  <p:childTnLst>
                                    <p:animRot by="300000">
                                      <p:cBhvr>
                                        <p:cTn id="160" dur="3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1" presetID="6" presetClass="emph" presetSubtype="0" decel="100000" fill="hold" grpId="7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62" dur="750" fill="hold"/>
                                        <p:tgtEl>
                                          <p:spTgt spid="24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6" presetClass="emp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Scale>
                                      <p:cBhvr>
                                        <p:cTn id="173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7" grpId="1" animBg="1"/>
      <p:bldP spid="17" grpId="2" animBg="1"/>
      <p:bldP spid="17" grpId="3" animBg="1"/>
      <p:bldP spid="17" grpId="4" animBg="1"/>
      <p:bldP spid="17" grpId="5" animBg="1"/>
      <p:bldP spid="17" grpId="6" animBg="1"/>
      <p:bldP spid="17" grpId="7" animBg="1"/>
      <p:bldP spid="18" grpId="0" animBg="1"/>
      <p:bldP spid="18" grpId="1" animBg="1"/>
      <p:bldP spid="18" grpId="2" animBg="1"/>
      <p:bldP spid="18" grpId="3" animBg="1"/>
      <p:bldP spid="18" grpId="4" animBg="1"/>
      <p:bldP spid="18" grpId="5" animBg="1"/>
      <p:bldP spid="18" grpId="6" animBg="1"/>
      <p:bldP spid="18" grpId="7" animBg="1"/>
      <p:bldP spid="19" grpId="0" animBg="1"/>
      <p:bldP spid="19" grpId="1" animBg="1"/>
      <p:bldP spid="19" grpId="2" animBg="1"/>
      <p:bldP spid="19" grpId="3" animBg="1"/>
      <p:bldP spid="19" grpId="4" animBg="1"/>
      <p:bldP spid="19" grpId="5" animBg="1"/>
      <p:bldP spid="19" grpId="6" animBg="1"/>
      <p:bldP spid="19" grpId="7" animBg="1"/>
      <p:bldP spid="20" grpId="0" animBg="1"/>
      <p:bldP spid="20" grpId="1" animBg="1"/>
      <p:bldP spid="20" grpId="2" animBg="1"/>
      <p:bldP spid="20" grpId="3" animBg="1"/>
      <p:bldP spid="20" grpId="4" animBg="1"/>
      <p:bldP spid="20" grpId="5" animBg="1"/>
      <p:bldP spid="20" grpId="6" animBg="1"/>
      <p:bldP spid="20" grpId="7" animBg="1"/>
      <p:bldP spid="21" grpId="0" animBg="1"/>
      <p:bldP spid="21" grpId="1" animBg="1"/>
      <p:bldP spid="21" grpId="2" animBg="1"/>
      <p:bldP spid="21" grpId="3" animBg="1"/>
      <p:bldP spid="21" grpId="4" animBg="1"/>
      <p:bldP spid="21" grpId="5" animBg="1"/>
      <p:bldP spid="21" grpId="6" animBg="1"/>
      <p:bldP spid="21" grpId="7" animBg="1"/>
      <p:bldP spid="22" grpId="0" animBg="1"/>
      <p:bldP spid="22" grpId="1" animBg="1"/>
      <p:bldP spid="22" grpId="2" animBg="1"/>
      <p:bldP spid="22" grpId="3" animBg="1"/>
      <p:bldP spid="22" grpId="4" animBg="1"/>
      <p:bldP spid="22" grpId="5" animBg="1"/>
      <p:bldP spid="22" grpId="6" animBg="1"/>
      <p:bldP spid="22" grpId="7" animBg="1"/>
      <p:bldP spid="23" grpId="0" animBg="1"/>
      <p:bldP spid="23" grpId="1" animBg="1"/>
      <p:bldP spid="23" grpId="2" animBg="1"/>
      <p:bldP spid="23" grpId="3" animBg="1"/>
      <p:bldP spid="23" grpId="4" animBg="1"/>
      <p:bldP spid="23" grpId="5" animBg="1"/>
      <p:bldP spid="23" grpId="6" animBg="1"/>
      <p:bldP spid="23" grpId="7" animBg="1"/>
      <p:bldP spid="24" grpId="0" animBg="1"/>
      <p:bldP spid="24" grpId="1" animBg="1"/>
      <p:bldP spid="24" grpId="2" animBg="1"/>
      <p:bldP spid="24" grpId="3" animBg="1"/>
      <p:bldP spid="24" grpId="4" animBg="1"/>
      <p:bldP spid="24" grpId="5" animBg="1"/>
      <p:bldP spid="24" grpId="6" animBg="1"/>
      <p:bldP spid="24" grpId="7" animBg="1"/>
      <p:bldP spid="25" grpId="0" animBg="1"/>
      <p:bldP spid="25" grpId="1" animBg="1"/>
      <p:bldP spid="25" grpId="2" animBg="1"/>
      <p:bldP spid="25" grpId="3" animBg="1"/>
      <p:bldP spid="25" grpId="4" animBg="1"/>
      <p:bldP spid="25" grpId="5" animBg="1"/>
      <p:bldP spid="25" grpId="6" animBg="1"/>
      <p:bldP spid="25" grpId="7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0064" y="183664"/>
            <a:ext cx="3108960" cy="5909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165252" y="958258"/>
            <a:ext cx="6813493" cy="3718938"/>
          </a:xfr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35995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30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Title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5144" y="182880"/>
            <a:ext cx="3108960" cy="5410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99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tract Title/Text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00249" y="-2000249"/>
            <a:ext cx="5143501" cy="9144003"/>
          </a:xfrm>
          <a:prstGeom prst="rect">
            <a:avLst/>
          </a:prstGeom>
        </p:spPr>
      </p:pic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5144" y="182880"/>
            <a:ext cx="3108960" cy="5410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165252" y="958258"/>
            <a:ext cx="6813493" cy="3718938"/>
          </a:xfr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8933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24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0064" y="183664"/>
            <a:ext cx="3108960" cy="5909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0113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0064" y="183664"/>
            <a:ext cx="3108960" cy="5909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165252" y="958258"/>
            <a:ext cx="6813493" cy="3718938"/>
          </a:xfr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19105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9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5144" y="182880"/>
            <a:ext cx="3108960" cy="5410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53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/Text/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25144" y="182880"/>
            <a:ext cx="3108960" cy="5410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489" y="4875436"/>
            <a:ext cx="1146437" cy="207792"/>
          </a:xfrm>
          <a:prstGeom prst="rect">
            <a:avLst/>
          </a:prstGeom>
        </p:spPr>
      </p:pic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165252" y="958258"/>
            <a:ext cx="6813493" cy="3718938"/>
          </a:xfrm>
        </p:spPr>
        <p:txBody>
          <a:bodyPr>
            <a:normAutofit/>
          </a:bodyPr>
          <a:lstStyle>
            <a:lvl1pPr>
              <a:defRPr sz="11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nl-NL" dirty="0" err="1" smtClean="0"/>
              <a:t>Tex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2393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0" name="Rectangle 39"/>
          <p:cNvSpPr/>
          <p:nvPr userDrawn="1"/>
        </p:nvSpPr>
        <p:spPr bwMode="white">
          <a:xfrm>
            <a:off x="699054" y="3776164"/>
            <a:ext cx="744977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 bwMode="white">
          <a:xfrm>
            <a:off x="691433" y="3031719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 bwMode="white">
          <a:xfrm>
            <a:off x="1444031" y="3776164"/>
            <a:ext cx="740484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 42"/>
          <p:cNvSpPr/>
          <p:nvPr userDrawn="1"/>
        </p:nvSpPr>
        <p:spPr bwMode="white">
          <a:xfrm>
            <a:off x="1441059" y="3038689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ectangle 43"/>
          <p:cNvSpPr/>
          <p:nvPr userDrawn="1"/>
        </p:nvSpPr>
        <p:spPr bwMode="white">
          <a:xfrm>
            <a:off x="2185446" y="3776164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 bwMode="white">
          <a:xfrm>
            <a:off x="2917706" y="3031671"/>
            <a:ext cx="753739" cy="740809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 bwMode="white">
          <a:xfrm>
            <a:off x="2184031" y="3031069"/>
            <a:ext cx="734606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 bwMode="white">
          <a:xfrm>
            <a:off x="2921388" y="3776164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 bwMode="white">
          <a:xfrm>
            <a:off x="3662093" y="3776164"/>
            <a:ext cx="740705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 bwMode="white">
          <a:xfrm>
            <a:off x="3671362" y="3031069"/>
            <a:ext cx="731437" cy="740810"/>
          </a:xfrm>
          <a:prstGeom prst="rect">
            <a:avLst/>
          </a:prstGeom>
          <a:solidFill>
            <a:srgbClr val="0096DB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3" tIns="107563" rIns="134453" bIns="1075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68555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4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698950" y="2031172"/>
            <a:ext cx="1696331" cy="3711365"/>
          </a:xfrm>
          <a:custGeom>
            <a:avLst/>
            <a:gdLst>
              <a:gd name="connsiteX0" fmla="*/ 0 w 1687820"/>
              <a:gd name="connsiteY0" fmla="*/ 3703744 h 3703744"/>
              <a:gd name="connsiteX1" fmla="*/ 0 w 1687820"/>
              <a:gd name="connsiteY1" fmla="*/ 0 h 3703744"/>
              <a:gd name="connsiteX2" fmla="*/ 1472044 w 1687820"/>
              <a:gd name="connsiteY2" fmla="*/ 0 h 3703744"/>
              <a:gd name="connsiteX3" fmla="*/ 1472044 w 1687820"/>
              <a:gd name="connsiteY3" fmla="*/ 3113331 h 3703744"/>
              <a:gd name="connsiteX4" fmla="*/ 1687820 w 1687820"/>
              <a:gd name="connsiteY4" fmla="*/ 3297824 h 3703744"/>
              <a:gd name="connsiteX5" fmla="*/ 1472044 w 1687820"/>
              <a:gd name="connsiteY5" fmla="*/ 3482316 h 3703744"/>
              <a:gd name="connsiteX6" fmla="*/ 1472044 w 1687820"/>
              <a:gd name="connsiteY6" fmla="*/ 3703744 h 370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7820" h="3703744">
                <a:moveTo>
                  <a:pt x="0" y="3703744"/>
                </a:moveTo>
                <a:lnTo>
                  <a:pt x="0" y="0"/>
                </a:lnTo>
                <a:lnTo>
                  <a:pt x="1472044" y="0"/>
                </a:lnTo>
                <a:lnTo>
                  <a:pt x="1472044" y="3113331"/>
                </a:lnTo>
                <a:lnTo>
                  <a:pt x="1687820" y="3297824"/>
                </a:lnTo>
                <a:lnTo>
                  <a:pt x="1472044" y="3482316"/>
                </a:lnTo>
                <a:lnTo>
                  <a:pt x="1472044" y="3703744"/>
                </a:lnTo>
                <a:close/>
              </a:path>
            </a:pathLst>
          </a:custGeom>
        </p:spPr>
      </p:pic>
      <p:sp>
        <p:nvSpPr>
          <p:cNvPr id="52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841722" y="3148215"/>
            <a:ext cx="3418626" cy="5369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 dirty="0" smtClean="0"/>
              <a:t>Presentation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1739" y="3701691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Speaker name 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841739" y="4002153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1902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7" dur="10" fill="hold"/>
                                        <p:tgtEl>
                                          <p:spTgt spid="41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7" presetClass="path" presetSubtype="0" decel="10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063 -0.48858 C 0.63038 -0.47808 0.55903 0.0034 0.00087 -0.00031 " pathEditMode="relative" rAng="0" ptsTypes="AA">
                                      <p:cBhvr>
                                        <p:cTn id="22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97" y="2441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8" presetClass="emph" presetSubtype="0" accel="48649" decel="48649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4" dur="37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decel="100000" fill="hold" grpId="6" nodeType="withEffect">
                                  <p:stCondLst>
                                    <p:cond delay="370"/>
                                  </p:stCondLst>
                                  <p:childTnLst>
                                    <p:animRot by="600000">
                                      <p:cBhvr>
                                        <p:cTn id="26" dur="37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6" presetClass="emph" presetSubtype="0" decel="10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750" fill="hold"/>
                                        <p:tgtEl>
                                          <p:spTgt spid="41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10" fill="hold"/>
                                        <p:tgtEl>
                                          <p:spTgt spid="43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2448 -0.54136 C 0.91441 -0.53087 0.55782 0.00246 -4.44444E-6 -0.0006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233" y="2703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600000">
                                      <p:cBhvr>
                                        <p:cTn id="41" dur="37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600000">
                                      <p:cBhvr>
                                        <p:cTn id="43" dur="37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5" dur="750" fill="hold"/>
                                        <p:tgtEl>
                                          <p:spTgt spid="43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1" dur="10" fill="hold"/>
                                        <p:tgtEl>
                                          <p:spTgt spid="46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82691 -0.32654 C 1.10833 -0.31605 0.97708 0.0034 2.77778E-6 -0.00031 " pathEditMode="relative" rAng="0" ptsTypes="AA">
                                      <p:cBhvr>
                                        <p:cTn id="56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16296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600000">
                                      <p:cBhvr>
                                        <p:cTn id="58" dur="3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600000">
                                      <p:cBhvr>
                                        <p:cTn id="60" dur="3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2" dur="750" fill="hold"/>
                                        <p:tgtEl>
                                          <p:spTgt spid="46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8" dur="10" fill="hold"/>
                                        <p:tgtEl>
                                          <p:spTgt spid="42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37" presetClass="path" presetSubtype="0" decel="100000" fill="hold" grpId="4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7101 0.54506 C 0.66077 0.53734 0.55816 -0.00278 -1.66667E-6 4.32099E-6 " pathEditMode="relative" rAng="0" ptsTypes="AA">
                                      <p:cBhvr>
                                        <p:cTn id="7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559" y="-27284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8" presetClass="emph" presetSubtype="0" accel="48649" decel="48649" fill="hold" grpId="5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300000">
                                      <p:cBhvr>
                                        <p:cTn id="75" dur="37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6" presetID="8" presetClass="emph" presetSubtype="0" decel="100000" fill="hold" grpId="6" nodeType="withEffect">
                                  <p:stCondLst>
                                    <p:cond delay="470"/>
                                  </p:stCondLst>
                                  <p:childTnLst>
                                    <p:animRot by="300000">
                                      <p:cBhvr>
                                        <p:cTn id="77" dur="37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8" presetID="6" presetClass="emph" presetSubtype="0" decel="100000" fill="hold" grpId="7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79" dur="750" fill="hold"/>
                                        <p:tgtEl>
                                          <p:spTgt spid="42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5" dur="10" fill="hold"/>
                                        <p:tgtEl>
                                          <p:spTgt spid="44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3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37" presetClass="path" presetSubtype="0" decel="10000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32604 0.43642 C 0.91614 0.42685 0.55781 -0.00309 1.94444E-6 4.32099E-6 " pathEditMode="relative" rAng="0" ptsTypes="AA">
                                      <p:cBhvr>
                                        <p:cTn id="90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302" y="-21852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8" presetClass="emph" presetSubtype="0" accel="48649" decel="48649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-300000">
                                      <p:cBhvr>
                                        <p:cTn id="92" dur="37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3" presetID="8" presetClass="emph" presetSubtype="0" decel="100000" fill="hold" grpId="6" nodeType="withEffect">
                                  <p:stCondLst>
                                    <p:cond delay="570"/>
                                  </p:stCondLst>
                                  <p:childTnLst>
                                    <p:animRot by="300000">
                                      <p:cBhvr>
                                        <p:cTn id="94" dur="37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5" presetID="6" presetClass="emph" presetSubtype="0" decel="10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6" dur="750" fill="hold"/>
                                        <p:tgtEl>
                                          <p:spTgt spid="44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2" dur="10" fill="hold"/>
                                        <p:tgtEl>
                                          <p:spTgt spid="45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35851 -0.32685 C 1.63021 -0.31636 0.99063 0.00309 -8.33333E-7 -0.00031 " pathEditMode="relative" rAng="0" ptsTypes="AA">
                                      <p:cBhvr>
                                        <p:cTn id="107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16327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600000">
                                      <p:cBhvr>
                                        <p:cTn id="109" dur="3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600000">
                                      <p:cBhvr>
                                        <p:cTn id="111" dur="3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13" dur="750" fill="hold"/>
                                        <p:tgtEl>
                                          <p:spTgt spid="45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9" dur="10" fill="hold"/>
                                        <p:tgtEl>
                                          <p:spTgt spid="47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3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37" presetClass="path" presetSubtype="0" decel="100000" fill="hold" grpId="4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82691 0.34845 C 1.10834 0.33703 0.97709 -0.00402 -3.61111E-6 4.32099E-6 " pathEditMode="relative" rAng="0" ptsTypes="AA">
                                      <p:cBhvr>
                                        <p:cTn id="124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354" y="-17438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8" presetClass="emph" presetSubtype="0" accel="48649" decel="48649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-300000">
                                      <p:cBhvr>
                                        <p:cTn id="126" dur="37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8" presetClass="emph" presetSubtype="0" decel="100000" fill="hold" grpId="6" nodeType="withEffect">
                                  <p:stCondLst>
                                    <p:cond delay="670"/>
                                  </p:stCondLst>
                                  <p:childTnLst>
                                    <p:animRot by="300000">
                                      <p:cBhvr>
                                        <p:cTn id="128" dur="37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6" presetClass="emph" presetSubtype="0" decel="100000" fill="hold" grpId="7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30" dur="750" fill="hold"/>
                                        <p:tgtEl>
                                          <p:spTgt spid="47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6" dur="10" fill="hold"/>
                                        <p:tgtEl>
                                          <p:spTgt spid="49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37" presetClass="path" presetSubtype="0" decel="10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3585 -0.32685 C 1.63021 -0.31636 0.99062 0.00309 2.77778E-6 -0.00031 " pathEditMode="relative" rAng="0" ptsTypes="AA">
                                      <p:cBhvr>
                                        <p:cTn id="14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16327"/>
                                    </p:animMotion>
                                  </p:childTnLst>
                                </p:cTn>
                              </p:par>
                              <p:par>
                                <p:cTn id="142" presetID="8" presetClass="emph" presetSubtype="0" accel="48649" decel="48649" fill="hold" grpId="5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-600000">
                                      <p:cBhvr>
                                        <p:cTn id="143" dur="37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4" presetID="8" presetClass="emph" presetSubtype="0" decel="100000" fill="hold" grpId="6" nodeType="withEffect">
                                  <p:stCondLst>
                                    <p:cond delay="770"/>
                                  </p:stCondLst>
                                  <p:childTnLst>
                                    <p:animRot by="600000">
                                      <p:cBhvr>
                                        <p:cTn id="145" dur="37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6" presetID="6" presetClass="emph" presetSubtype="0" decel="100000" fill="hold" grpId="7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47" dur="750" fill="hold"/>
                                        <p:tgtEl>
                                          <p:spTgt spid="49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3" dur="10" fill="hold"/>
                                        <p:tgtEl>
                                          <p:spTgt spid="48"/>
                                        </p:tgtEl>
                                      </p:cBhvr>
                                      <p:by x="250000" y="250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37" presetClass="path" presetSubtype="0" decel="10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3585 0.23981 C 1.6302 0.23209 0.99062 -0.00247 3.61111E-6 4.32099E-6 " pathEditMode="relative" rAng="0" ptsTypes="AA">
                                      <p:cBhvr>
                                        <p:cTn id="158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934" y="-12006"/>
                                    </p:animMotion>
                                  </p:childTnLst>
                                </p:cTn>
                              </p:par>
                              <p:par>
                                <p:cTn id="159" presetID="8" presetClass="emph" presetSubtype="0" accel="48649" decel="48649" fill="hold" grpId="5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-300000">
                                      <p:cBhvr>
                                        <p:cTn id="160" dur="37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1" presetID="8" presetClass="emph" presetSubtype="0" decel="100000" fill="hold" grpId="6" nodeType="withEffect">
                                  <p:stCondLst>
                                    <p:cond delay="770"/>
                                  </p:stCondLst>
                                  <p:childTnLst>
                                    <p:animRot by="300000">
                                      <p:cBhvr>
                                        <p:cTn id="162" dur="37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3" presetID="6" presetClass="emph" presetSubtype="0" decel="100000" fill="hold" grpId="7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64" dur="750" fill="hold"/>
                                        <p:tgtEl>
                                          <p:spTgt spid="48"/>
                                        </p:tgtEl>
                                      </p:cBhvr>
                                      <p:by x="40000" y="40000"/>
                                    </p:animScale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1" grpId="1" animBg="1"/>
      <p:bldP spid="41" grpId="2" animBg="1"/>
      <p:bldP spid="41" grpId="3" animBg="1"/>
      <p:bldP spid="41" grpId="4" animBg="1"/>
      <p:bldP spid="41" grpId="5" animBg="1"/>
      <p:bldP spid="41" grpId="6" animBg="1"/>
      <p:bldP spid="41" grpId="7" animBg="1"/>
      <p:bldP spid="42" grpId="0" animBg="1"/>
      <p:bldP spid="42" grpId="1" animBg="1"/>
      <p:bldP spid="42" grpId="2" animBg="1"/>
      <p:bldP spid="42" grpId="3" animBg="1"/>
      <p:bldP spid="42" grpId="4" animBg="1"/>
      <p:bldP spid="42" grpId="5" animBg="1"/>
      <p:bldP spid="42" grpId="6" animBg="1"/>
      <p:bldP spid="42" grpId="7" animBg="1"/>
      <p:bldP spid="43" grpId="0" animBg="1"/>
      <p:bldP spid="43" grpId="1" animBg="1"/>
      <p:bldP spid="43" grpId="2" animBg="1"/>
      <p:bldP spid="43" grpId="3" animBg="1"/>
      <p:bldP spid="43" grpId="4" animBg="1"/>
      <p:bldP spid="43" grpId="5" animBg="1"/>
      <p:bldP spid="43" grpId="6" animBg="1"/>
      <p:bldP spid="43" grpId="7" animBg="1"/>
      <p:bldP spid="44" grpId="0" animBg="1"/>
      <p:bldP spid="44" grpId="1" animBg="1"/>
      <p:bldP spid="44" grpId="2" animBg="1"/>
      <p:bldP spid="44" grpId="3" animBg="1"/>
      <p:bldP spid="44" grpId="4" animBg="1"/>
      <p:bldP spid="44" grpId="5" animBg="1"/>
      <p:bldP spid="44" grpId="6" animBg="1"/>
      <p:bldP spid="44" grpId="7" animBg="1"/>
      <p:bldP spid="45" grpId="0" animBg="1"/>
      <p:bldP spid="45" grpId="1" animBg="1"/>
      <p:bldP spid="45" grpId="2" animBg="1"/>
      <p:bldP spid="45" grpId="3" animBg="1"/>
      <p:bldP spid="45" grpId="4" animBg="1"/>
      <p:bldP spid="45" grpId="5" animBg="1"/>
      <p:bldP spid="45" grpId="6" animBg="1"/>
      <p:bldP spid="45" grpId="7" animBg="1"/>
      <p:bldP spid="46" grpId="0" animBg="1"/>
      <p:bldP spid="46" grpId="1" animBg="1"/>
      <p:bldP spid="46" grpId="2" animBg="1"/>
      <p:bldP spid="46" grpId="3" animBg="1"/>
      <p:bldP spid="46" grpId="4" animBg="1"/>
      <p:bldP spid="46" grpId="5" animBg="1"/>
      <p:bldP spid="46" grpId="6" animBg="1"/>
      <p:bldP spid="46" grpId="7" animBg="1"/>
      <p:bldP spid="47" grpId="0" animBg="1"/>
      <p:bldP spid="47" grpId="1" animBg="1"/>
      <p:bldP spid="47" grpId="2" animBg="1"/>
      <p:bldP spid="47" grpId="3" animBg="1"/>
      <p:bldP spid="47" grpId="4" animBg="1"/>
      <p:bldP spid="47" grpId="5" animBg="1"/>
      <p:bldP spid="47" grpId="6" animBg="1"/>
      <p:bldP spid="47" grpId="7" animBg="1"/>
      <p:bldP spid="48" grpId="0" animBg="1"/>
      <p:bldP spid="48" grpId="1" animBg="1"/>
      <p:bldP spid="48" grpId="2" animBg="1"/>
      <p:bldP spid="48" grpId="3" animBg="1"/>
      <p:bldP spid="48" grpId="4" animBg="1"/>
      <p:bldP spid="48" grpId="5" animBg="1"/>
      <p:bldP spid="48" grpId="6" animBg="1"/>
      <p:bldP spid="48" grpId="7" animBg="1"/>
      <p:bldP spid="49" grpId="0" animBg="1"/>
      <p:bldP spid="49" grpId="1" animBg="1"/>
      <p:bldP spid="49" grpId="2" animBg="1"/>
      <p:bldP spid="49" grpId="3" animBg="1"/>
      <p:bldP spid="49" grpId="4" animBg="1"/>
      <p:bldP spid="49" grpId="5" animBg="1"/>
      <p:bldP spid="49" grpId="6" animBg="1"/>
      <p:bldP spid="49" grpId="7" animBg="1"/>
      <p:bldP spid="5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64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760036" y="2094020"/>
            <a:ext cx="1696331" cy="3711365"/>
          </a:xfrm>
          <a:custGeom>
            <a:avLst/>
            <a:gdLst>
              <a:gd name="connsiteX0" fmla="*/ 0 w 1687820"/>
              <a:gd name="connsiteY0" fmla="*/ 3703744 h 3703744"/>
              <a:gd name="connsiteX1" fmla="*/ 0 w 1687820"/>
              <a:gd name="connsiteY1" fmla="*/ 0 h 3703744"/>
              <a:gd name="connsiteX2" fmla="*/ 1472044 w 1687820"/>
              <a:gd name="connsiteY2" fmla="*/ 0 h 3703744"/>
              <a:gd name="connsiteX3" fmla="*/ 1472044 w 1687820"/>
              <a:gd name="connsiteY3" fmla="*/ 3113331 h 3703744"/>
              <a:gd name="connsiteX4" fmla="*/ 1687820 w 1687820"/>
              <a:gd name="connsiteY4" fmla="*/ 3297824 h 3703744"/>
              <a:gd name="connsiteX5" fmla="*/ 1472044 w 1687820"/>
              <a:gd name="connsiteY5" fmla="*/ 3482316 h 3703744"/>
              <a:gd name="connsiteX6" fmla="*/ 1472044 w 1687820"/>
              <a:gd name="connsiteY6" fmla="*/ 3703744 h 370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7820" h="3703744">
                <a:moveTo>
                  <a:pt x="0" y="3703744"/>
                </a:moveTo>
                <a:lnTo>
                  <a:pt x="0" y="0"/>
                </a:lnTo>
                <a:lnTo>
                  <a:pt x="1472044" y="0"/>
                </a:lnTo>
                <a:lnTo>
                  <a:pt x="1472044" y="3113331"/>
                </a:lnTo>
                <a:lnTo>
                  <a:pt x="1687820" y="3297824"/>
                </a:lnTo>
                <a:lnTo>
                  <a:pt x="1472044" y="3482316"/>
                </a:lnTo>
                <a:lnTo>
                  <a:pt x="1472044" y="3703744"/>
                </a:lnTo>
                <a:close/>
              </a:path>
            </a:pathLst>
          </a:custGeom>
        </p:spPr>
      </p:pic>
      <p:sp>
        <p:nvSpPr>
          <p:cNvPr id="21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845549" y="3180583"/>
            <a:ext cx="3418626" cy="5369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nl-NL" dirty="0" smtClean="0"/>
              <a:t>Presentation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  <p:sp>
        <p:nvSpPr>
          <p:cNvPr id="10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1739" y="3701691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Speaker name 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841739" y="4002153"/>
            <a:ext cx="3418626" cy="283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nl-NL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6854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30671" y="1856064"/>
            <a:ext cx="3779954" cy="721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en-US" dirty="0" smtClean="0"/>
              <a:t>Section Titl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47258" y="2577662"/>
            <a:ext cx="3763367" cy="464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30671" y="1856064"/>
            <a:ext cx="3779954" cy="721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en-US" dirty="0" smtClean="0"/>
              <a:t>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47258" y="2577662"/>
            <a:ext cx="3763367" cy="464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986" y="4869106"/>
            <a:ext cx="1355879" cy="24010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20" y="0"/>
            <a:ext cx="9159240" cy="5143500"/>
          </a:xfrm>
          <a:prstGeom prst="rect">
            <a:avLst/>
          </a:prstGeom>
        </p:spPr>
      </p:pic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30671" y="1856064"/>
            <a:ext cx="3779954" cy="721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NotesStyle-Medium" pitchFamily="50" charset="0"/>
              </a:defRPr>
            </a:lvl1pPr>
          </a:lstStyle>
          <a:p>
            <a:pPr lvl="0"/>
            <a:r>
              <a:rPr lang="en-US" dirty="0" smtClean="0"/>
              <a:t>Section Tit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47258" y="2577662"/>
            <a:ext cx="3763367" cy="464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NotesStyle-Regular" pitchFamily="50" charset="0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5109" y="4878852"/>
            <a:ext cx="1134837" cy="20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07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Freeform 5"/>
          <p:cNvSpPr>
            <a:spLocks/>
          </p:cNvSpPr>
          <p:nvPr userDrawn="1"/>
        </p:nvSpPr>
        <p:spPr bwMode="auto">
          <a:xfrm>
            <a:off x="0" y="-254000"/>
            <a:ext cx="3033713" cy="2138363"/>
          </a:xfrm>
          <a:custGeom>
            <a:avLst/>
            <a:gdLst>
              <a:gd name="T0" fmla="*/ 1911 w 1911"/>
              <a:gd name="T1" fmla="*/ 0 h 1347"/>
              <a:gd name="T2" fmla="*/ 0 w 1911"/>
              <a:gd name="T3" fmla="*/ 699 h 1347"/>
              <a:gd name="T4" fmla="*/ 0 w 1911"/>
              <a:gd name="T5" fmla="*/ 1076 h 1347"/>
              <a:gd name="T6" fmla="*/ 784 w 1911"/>
              <a:gd name="T7" fmla="*/ 1347 h 1347"/>
              <a:gd name="T8" fmla="*/ 1110 w 1911"/>
              <a:gd name="T9" fmla="*/ 1005 h 1347"/>
              <a:gd name="T10" fmla="*/ 1911 w 1911"/>
              <a:gd name="T11" fmla="*/ 1005 h 1347"/>
              <a:gd name="T12" fmla="*/ 1911 w 1911"/>
              <a:gd name="T13" fmla="*/ 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11" h="1347">
                <a:moveTo>
                  <a:pt x="1911" y="0"/>
                </a:moveTo>
                <a:lnTo>
                  <a:pt x="0" y="699"/>
                </a:lnTo>
                <a:lnTo>
                  <a:pt x="0" y="1076"/>
                </a:lnTo>
                <a:lnTo>
                  <a:pt x="784" y="1347"/>
                </a:lnTo>
                <a:lnTo>
                  <a:pt x="1110" y="1005"/>
                </a:lnTo>
                <a:lnTo>
                  <a:pt x="1911" y="1005"/>
                </a:lnTo>
                <a:lnTo>
                  <a:pt x="1911" y="0"/>
                </a:lnTo>
                <a:close/>
              </a:path>
            </a:pathLst>
          </a:custGeom>
          <a:solidFill>
            <a:srgbClr val="BFC0CA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1" name="Freeform 7"/>
          <p:cNvSpPr>
            <a:spLocks/>
          </p:cNvSpPr>
          <p:nvPr userDrawn="1"/>
        </p:nvSpPr>
        <p:spPr bwMode="auto">
          <a:xfrm>
            <a:off x="3033713" y="-254000"/>
            <a:ext cx="3781425" cy="2754313"/>
          </a:xfrm>
          <a:custGeom>
            <a:avLst/>
            <a:gdLst>
              <a:gd name="T0" fmla="*/ 0 w 2382"/>
              <a:gd name="T1" fmla="*/ 0 h 1735"/>
              <a:gd name="T2" fmla="*/ 0 w 2382"/>
              <a:gd name="T3" fmla="*/ 1005 h 1735"/>
              <a:gd name="T4" fmla="*/ 0 w 2382"/>
              <a:gd name="T5" fmla="*/ 1735 h 1735"/>
              <a:gd name="T6" fmla="*/ 2004 w 2382"/>
              <a:gd name="T7" fmla="*/ 1005 h 1735"/>
              <a:gd name="T8" fmla="*/ 2004 w 2382"/>
              <a:gd name="T9" fmla="*/ 1005 h 1735"/>
              <a:gd name="T10" fmla="*/ 2380 w 2382"/>
              <a:gd name="T11" fmla="*/ 868 h 1735"/>
              <a:gd name="T12" fmla="*/ 2380 w 2382"/>
              <a:gd name="T13" fmla="*/ 868 h 1735"/>
              <a:gd name="T14" fmla="*/ 2382 w 2382"/>
              <a:gd name="T15" fmla="*/ 868 h 1735"/>
              <a:gd name="T16" fmla="*/ 0 w 2382"/>
              <a:gd name="T17" fmla="*/ 0 h 1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82" h="1735">
                <a:moveTo>
                  <a:pt x="0" y="0"/>
                </a:moveTo>
                <a:lnTo>
                  <a:pt x="0" y="1005"/>
                </a:lnTo>
                <a:lnTo>
                  <a:pt x="0" y="1735"/>
                </a:lnTo>
                <a:lnTo>
                  <a:pt x="2004" y="1005"/>
                </a:lnTo>
                <a:lnTo>
                  <a:pt x="2004" y="1005"/>
                </a:lnTo>
                <a:lnTo>
                  <a:pt x="2380" y="868"/>
                </a:lnTo>
                <a:lnTo>
                  <a:pt x="2380" y="868"/>
                </a:lnTo>
                <a:lnTo>
                  <a:pt x="2382" y="868"/>
                </a:lnTo>
                <a:lnTo>
                  <a:pt x="0" y="0"/>
                </a:lnTo>
                <a:close/>
              </a:path>
            </a:pathLst>
          </a:custGeom>
          <a:solidFill>
            <a:srgbClr val="99D5F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5" name="Freeform 11"/>
          <p:cNvSpPr>
            <a:spLocks noEditPoints="1"/>
          </p:cNvSpPr>
          <p:nvPr userDrawn="1"/>
        </p:nvSpPr>
        <p:spPr bwMode="auto">
          <a:xfrm>
            <a:off x="0" y="1454150"/>
            <a:ext cx="3033713" cy="4356100"/>
          </a:xfrm>
          <a:custGeom>
            <a:avLst/>
            <a:gdLst>
              <a:gd name="T0" fmla="*/ 1911 w 1911"/>
              <a:gd name="T1" fmla="*/ 2056 h 2744"/>
              <a:gd name="T2" fmla="*/ 1660 w 1911"/>
              <a:gd name="T3" fmla="*/ 2327 h 2744"/>
              <a:gd name="T4" fmla="*/ 1911 w 1911"/>
              <a:gd name="T5" fmla="*/ 2421 h 2744"/>
              <a:gd name="T6" fmla="*/ 1911 w 1911"/>
              <a:gd name="T7" fmla="*/ 2056 h 2744"/>
              <a:gd name="T8" fmla="*/ 0 w 1911"/>
              <a:gd name="T9" fmla="*/ 0 h 2744"/>
              <a:gd name="T10" fmla="*/ 0 w 1911"/>
              <a:gd name="T11" fmla="*/ 2744 h 2744"/>
              <a:gd name="T12" fmla="*/ 1911 w 1911"/>
              <a:gd name="T13" fmla="*/ 2744 h 2744"/>
              <a:gd name="T14" fmla="*/ 1273 w 1911"/>
              <a:gd name="T15" fmla="*/ 2744 h 2744"/>
              <a:gd name="T16" fmla="*/ 956 w 1911"/>
              <a:gd name="T17" fmla="*/ 2744 h 2744"/>
              <a:gd name="T18" fmla="*/ 0 w 1911"/>
              <a:gd name="T19" fmla="*/ 2744 h 2744"/>
              <a:gd name="T20" fmla="*/ 0 w 1911"/>
              <a:gd name="T21" fmla="*/ 1702 h 2744"/>
              <a:gd name="T22" fmla="*/ 0 w 1911"/>
              <a:gd name="T23" fmla="*/ 1372 h 2744"/>
              <a:gd name="T24" fmla="*/ 1911 w 1911"/>
              <a:gd name="T25" fmla="*/ 659 h 2744"/>
              <a:gd name="T26" fmla="*/ 0 w 1911"/>
              <a:gd name="T27" fmla="*/ 1372 h 2744"/>
              <a:gd name="T28" fmla="*/ 0 w 1911"/>
              <a:gd name="T29" fmla="*/ 1090 h 2744"/>
              <a:gd name="T30" fmla="*/ 784 w 1911"/>
              <a:gd name="T31" fmla="*/ 271 h 2744"/>
              <a:gd name="T32" fmla="*/ 0 w 1911"/>
              <a:gd name="T33" fmla="*/ 0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11" h="2744">
                <a:moveTo>
                  <a:pt x="1911" y="2056"/>
                </a:moveTo>
                <a:lnTo>
                  <a:pt x="1660" y="2327"/>
                </a:lnTo>
                <a:lnTo>
                  <a:pt x="1911" y="2421"/>
                </a:lnTo>
                <a:lnTo>
                  <a:pt x="1911" y="2056"/>
                </a:lnTo>
                <a:close/>
                <a:moveTo>
                  <a:pt x="0" y="0"/>
                </a:moveTo>
                <a:lnTo>
                  <a:pt x="0" y="2744"/>
                </a:lnTo>
                <a:lnTo>
                  <a:pt x="1911" y="2744"/>
                </a:lnTo>
                <a:lnTo>
                  <a:pt x="1273" y="2744"/>
                </a:lnTo>
                <a:lnTo>
                  <a:pt x="956" y="2744"/>
                </a:lnTo>
                <a:lnTo>
                  <a:pt x="0" y="2744"/>
                </a:lnTo>
                <a:lnTo>
                  <a:pt x="0" y="1702"/>
                </a:lnTo>
                <a:lnTo>
                  <a:pt x="0" y="1372"/>
                </a:lnTo>
                <a:lnTo>
                  <a:pt x="1911" y="659"/>
                </a:lnTo>
                <a:lnTo>
                  <a:pt x="0" y="1372"/>
                </a:lnTo>
                <a:lnTo>
                  <a:pt x="0" y="1090"/>
                </a:lnTo>
                <a:lnTo>
                  <a:pt x="784" y="271"/>
                </a:lnTo>
                <a:lnTo>
                  <a:pt x="0" y="0"/>
                </a:lnTo>
                <a:close/>
              </a:path>
            </a:pathLst>
          </a:custGeom>
          <a:solidFill>
            <a:srgbClr val="E1E4E6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8" name="Freeform 14"/>
          <p:cNvSpPr>
            <a:spLocks/>
          </p:cNvSpPr>
          <p:nvPr userDrawn="1"/>
        </p:nvSpPr>
        <p:spPr bwMode="auto">
          <a:xfrm>
            <a:off x="3033713" y="2500313"/>
            <a:ext cx="1871663" cy="2797175"/>
          </a:xfrm>
          <a:custGeom>
            <a:avLst/>
            <a:gdLst>
              <a:gd name="T0" fmla="*/ 0 w 1179"/>
              <a:gd name="T1" fmla="*/ 0 h 1762"/>
              <a:gd name="T2" fmla="*/ 634 w 1179"/>
              <a:gd name="T3" fmla="*/ 713 h 1762"/>
              <a:gd name="T4" fmla="*/ 0 w 1179"/>
              <a:gd name="T5" fmla="*/ 1397 h 1762"/>
              <a:gd name="T6" fmla="*/ 0 w 1179"/>
              <a:gd name="T7" fmla="*/ 1762 h 1762"/>
              <a:gd name="T8" fmla="*/ 1179 w 1179"/>
              <a:gd name="T9" fmla="*/ 1323 h 1762"/>
              <a:gd name="T10" fmla="*/ 634 w 1179"/>
              <a:gd name="T11" fmla="*/ 713 h 1762"/>
              <a:gd name="T12" fmla="*/ 0 w 1179"/>
              <a:gd name="T13" fmla="*/ 0 h 1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79" h="1762">
                <a:moveTo>
                  <a:pt x="0" y="0"/>
                </a:moveTo>
                <a:lnTo>
                  <a:pt x="634" y="713"/>
                </a:lnTo>
                <a:lnTo>
                  <a:pt x="0" y="1397"/>
                </a:lnTo>
                <a:lnTo>
                  <a:pt x="0" y="1762"/>
                </a:lnTo>
                <a:lnTo>
                  <a:pt x="1179" y="1323"/>
                </a:lnTo>
                <a:lnTo>
                  <a:pt x="634" y="713"/>
                </a:lnTo>
                <a:lnTo>
                  <a:pt x="0" y="0"/>
                </a:lnTo>
                <a:close/>
              </a:path>
            </a:pathLst>
          </a:custGeom>
          <a:solidFill>
            <a:srgbClr val="CED2D5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2" name="Freeform 18"/>
          <p:cNvSpPr>
            <a:spLocks/>
          </p:cNvSpPr>
          <p:nvPr userDrawn="1"/>
        </p:nvSpPr>
        <p:spPr bwMode="auto">
          <a:xfrm>
            <a:off x="6815138" y="3055938"/>
            <a:ext cx="2328863" cy="2754313"/>
          </a:xfrm>
          <a:custGeom>
            <a:avLst/>
            <a:gdLst>
              <a:gd name="T0" fmla="*/ 1467 w 1467"/>
              <a:gd name="T1" fmla="*/ 0 h 1735"/>
              <a:gd name="T2" fmla="*/ 1467 w 1467"/>
              <a:gd name="T3" fmla="*/ 0 h 1735"/>
              <a:gd name="T4" fmla="*/ 1465 w 1467"/>
              <a:gd name="T5" fmla="*/ 2 h 1735"/>
              <a:gd name="T6" fmla="*/ 1465 w 1467"/>
              <a:gd name="T7" fmla="*/ 867 h 1735"/>
              <a:gd name="T8" fmla="*/ 988 w 1467"/>
              <a:gd name="T9" fmla="*/ 365 h 1735"/>
              <a:gd name="T10" fmla="*/ 0 w 1467"/>
              <a:gd name="T11" fmla="*/ 1414 h 1735"/>
              <a:gd name="T12" fmla="*/ 0 w 1467"/>
              <a:gd name="T13" fmla="*/ 1735 h 1735"/>
              <a:gd name="T14" fmla="*/ 1467 w 1467"/>
              <a:gd name="T15" fmla="*/ 1735 h 1735"/>
              <a:gd name="T16" fmla="*/ 1467 w 1467"/>
              <a:gd name="T17" fmla="*/ 0 h 1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67" h="1735">
                <a:moveTo>
                  <a:pt x="1467" y="0"/>
                </a:moveTo>
                <a:lnTo>
                  <a:pt x="1467" y="0"/>
                </a:lnTo>
                <a:lnTo>
                  <a:pt x="1465" y="2"/>
                </a:lnTo>
                <a:lnTo>
                  <a:pt x="1465" y="867"/>
                </a:lnTo>
                <a:lnTo>
                  <a:pt x="988" y="365"/>
                </a:lnTo>
                <a:lnTo>
                  <a:pt x="0" y="1414"/>
                </a:lnTo>
                <a:lnTo>
                  <a:pt x="0" y="1735"/>
                </a:lnTo>
                <a:lnTo>
                  <a:pt x="1467" y="1735"/>
                </a:lnTo>
                <a:lnTo>
                  <a:pt x="1467" y="0"/>
                </a:lnTo>
                <a:close/>
              </a:path>
            </a:pathLst>
          </a:custGeom>
          <a:solidFill>
            <a:srgbClr val="CCCDD5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28" name="Freeform 24"/>
          <p:cNvSpPr>
            <a:spLocks/>
          </p:cNvSpPr>
          <p:nvPr userDrawn="1"/>
        </p:nvSpPr>
        <p:spPr bwMode="auto">
          <a:xfrm>
            <a:off x="7531100" y="3405188"/>
            <a:ext cx="852488" cy="227013"/>
          </a:xfrm>
          <a:custGeom>
            <a:avLst/>
            <a:gdLst>
              <a:gd name="T0" fmla="*/ 400 w 537"/>
              <a:gd name="T1" fmla="*/ 0 h 143"/>
              <a:gd name="T2" fmla="*/ 0 w 537"/>
              <a:gd name="T3" fmla="*/ 143 h 143"/>
              <a:gd name="T4" fmla="*/ 537 w 537"/>
              <a:gd name="T5" fmla="*/ 143 h 143"/>
              <a:gd name="T6" fmla="*/ 400 w 537"/>
              <a:gd name="T7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7" h="143">
                <a:moveTo>
                  <a:pt x="400" y="0"/>
                </a:moveTo>
                <a:lnTo>
                  <a:pt x="0" y="143"/>
                </a:lnTo>
                <a:lnTo>
                  <a:pt x="537" y="143"/>
                </a:lnTo>
                <a:lnTo>
                  <a:pt x="400" y="0"/>
                </a:lnTo>
                <a:close/>
              </a:path>
            </a:pathLst>
          </a:custGeom>
          <a:solidFill>
            <a:srgbClr val="A5A7B5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0" name="Freeform 26"/>
          <p:cNvSpPr>
            <a:spLocks/>
          </p:cNvSpPr>
          <p:nvPr userDrawn="1"/>
        </p:nvSpPr>
        <p:spPr bwMode="auto">
          <a:xfrm>
            <a:off x="6815138" y="1970089"/>
            <a:ext cx="1354137" cy="1668462"/>
          </a:xfrm>
          <a:custGeom>
            <a:avLst/>
            <a:gdLst>
              <a:gd name="T0" fmla="*/ 0 w 851"/>
              <a:gd name="T1" fmla="*/ 0 h 1042"/>
              <a:gd name="T2" fmla="*/ 0 w 851"/>
              <a:gd name="T3" fmla="*/ 1042 h 1042"/>
              <a:gd name="T4" fmla="*/ 451 w 851"/>
              <a:gd name="T5" fmla="*/ 1042 h 1042"/>
              <a:gd name="T6" fmla="*/ 851 w 851"/>
              <a:gd name="T7" fmla="*/ 899 h 1042"/>
              <a:gd name="T8" fmla="*/ 0 w 851"/>
              <a:gd name="T9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1" h="1042">
                <a:moveTo>
                  <a:pt x="0" y="0"/>
                </a:moveTo>
                <a:lnTo>
                  <a:pt x="0" y="1042"/>
                </a:lnTo>
                <a:lnTo>
                  <a:pt x="451" y="1042"/>
                </a:lnTo>
                <a:lnTo>
                  <a:pt x="851" y="899"/>
                </a:lnTo>
                <a:lnTo>
                  <a:pt x="0" y="0"/>
                </a:lnTo>
                <a:close/>
              </a:path>
            </a:pathLst>
          </a:custGeom>
          <a:solidFill>
            <a:srgbClr val="3F5F9A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34" name="Freeform 30"/>
          <p:cNvSpPr>
            <a:spLocks/>
          </p:cNvSpPr>
          <p:nvPr userDrawn="1"/>
        </p:nvSpPr>
        <p:spPr bwMode="auto">
          <a:xfrm>
            <a:off x="6815138" y="3632200"/>
            <a:ext cx="1568450" cy="1668463"/>
          </a:xfrm>
          <a:custGeom>
            <a:avLst/>
            <a:gdLst>
              <a:gd name="T0" fmla="*/ 988 w 988"/>
              <a:gd name="T1" fmla="*/ 0 h 1051"/>
              <a:gd name="T2" fmla="*/ 451 w 988"/>
              <a:gd name="T3" fmla="*/ 0 h 1051"/>
              <a:gd name="T4" fmla="*/ 0 w 988"/>
              <a:gd name="T5" fmla="*/ 161 h 1051"/>
              <a:gd name="T6" fmla="*/ 0 w 988"/>
              <a:gd name="T7" fmla="*/ 1051 h 1051"/>
              <a:gd name="T8" fmla="*/ 988 w 988"/>
              <a:gd name="T9" fmla="*/ 2 h 1051"/>
              <a:gd name="T10" fmla="*/ 988 w 988"/>
              <a:gd name="T11" fmla="*/ 0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8" h="1051">
                <a:moveTo>
                  <a:pt x="988" y="0"/>
                </a:moveTo>
                <a:lnTo>
                  <a:pt x="451" y="0"/>
                </a:lnTo>
                <a:lnTo>
                  <a:pt x="0" y="161"/>
                </a:lnTo>
                <a:lnTo>
                  <a:pt x="0" y="1051"/>
                </a:lnTo>
                <a:lnTo>
                  <a:pt x="988" y="2"/>
                </a:lnTo>
                <a:lnTo>
                  <a:pt x="988" y="0"/>
                </a:lnTo>
                <a:close/>
              </a:path>
            </a:pathLst>
          </a:custGeom>
          <a:solidFill>
            <a:srgbClr val="85C6D8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40" name="Freeform 36"/>
          <p:cNvSpPr>
            <a:spLocks/>
          </p:cNvSpPr>
          <p:nvPr userDrawn="1"/>
        </p:nvSpPr>
        <p:spPr bwMode="auto">
          <a:xfrm>
            <a:off x="6815138" y="3632200"/>
            <a:ext cx="715963" cy="255588"/>
          </a:xfrm>
          <a:custGeom>
            <a:avLst/>
            <a:gdLst>
              <a:gd name="T0" fmla="*/ 451 w 451"/>
              <a:gd name="T1" fmla="*/ 0 h 161"/>
              <a:gd name="T2" fmla="*/ 0 w 451"/>
              <a:gd name="T3" fmla="*/ 0 h 161"/>
              <a:gd name="T4" fmla="*/ 0 w 451"/>
              <a:gd name="T5" fmla="*/ 161 h 161"/>
              <a:gd name="T6" fmla="*/ 451 w 451"/>
              <a:gd name="T7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1" h="161">
                <a:moveTo>
                  <a:pt x="451" y="0"/>
                </a:moveTo>
                <a:lnTo>
                  <a:pt x="0" y="0"/>
                </a:lnTo>
                <a:lnTo>
                  <a:pt x="0" y="161"/>
                </a:lnTo>
                <a:lnTo>
                  <a:pt x="451" y="0"/>
                </a:lnTo>
                <a:close/>
              </a:path>
            </a:pathLst>
          </a:custGeom>
          <a:solidFill>
            <a:srgbClr val="3286B9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42" name="Freeform 38"/>
          <p:cNvSpPr>
            <a:spLocks/>
          </p:cNvSpPr>
          <p:nvPr userDrawn="1"/>
        </p:nvSpPr>
        <p:spPr bwMode="auto">
          <a:xfrm>
            <a:off x="3033713" y="4600575"/>
            <a:ext cx="2947988" cy="1209675"/>
          </a:xfrm>
          <a:custGeom>
            <a:avLst/>
            <a:gdLst>
              <a:gd name="T0" fmla="*/ 1179 w 1857"/>
              <a:gd name="T1" fmla="*/ 0 h 762"/>
              <a:gd name="T2" fmla="*/ 0 w 1857"/>
              <a:gd name="T3" fmla="*/ 439 h 762"/>
              <a:gd name="T4" fmla="*/ 850 w 1857"/>
              <a:gd name="T5" fmla="*/ 762 h 762"/>
              <a:gd name="T6" fmla="*/ 1857 w 1857"/>
              <a:gd name="T7" fmla="*/ 762 h 762"/>
              <a:gd name="T8" fmla="*/ 1179 w 1857"/>
              <a:gd name="T9" fmla="*/ 0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7" h="762">
                <a:moveTo>
                  <a:pt x="1179" y="0"/>
                </a:moveTo>
                <a:lnTo>
                  <a:pt x="0" y="439"/>
                </a:lnTo>
                <a:lnTo>
                  <a:pt x="850" y="762"/>
                </a:lnTo>
                <a:lnTo>
                  <a:pt x="1857" y="762"/>
                </a:lnTo>
                <a:lnTo>
                  <a:pt x="1179" y="0"/>
                </a:lnTo>
                <a:close/>
              </a:path>
            </a:pathLst>
          </a:custGeom>
          <a:solidFill>
            <a:srgbClr val="B2B6BF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44" name="Freeform 40"/>
          <p:cNvSpPr>
            <a:spLocks/>
          </p:cNvSpPr>
          <p:nvPr userDrawn="1"/>
        </p:nvSpPr>
        <p:spPr bwMode="auto">
          <a:xfrm>
            <a:off x="6334125" y="5300663"/>
            <a:ext cx="481013" cy="509588"/>
          </a:xfrm>
          <a:custGeom>
            <a:avLst/>
            <a:gdLst>
              <a:gd name="T0" fmla="*/ 303 w 303"/>
              <a:gd name="T1" fmla="*/ 0 h 321"/>
              <a:gd name="T2" fmla="*/ 0 w 303"/>
              <a:gd name="T3" fmla="*/ 321 h 321"/>
              <a:gd name="T4" fmla="*/ 303 w 303"/>
              <a:gd name="T5" fmla="*/ 321 h 321"/>
              <a:gd name="T6" fmla="*/ 303 w 303"/>
              <a:gd name="T7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3" h="321">
                <a:moveTo>
                  <a:pt x="303" y="0"/>
                </a:moveTo>
                <a:lnTo>
                  <a:pt x="0" y="321"/>
                </a:lnTo>
                <a:lnTo>
                  <a:pt x="303" y="321"/>
                </a:lnTo>
                <a:lnTo>
                  <a:pt x="303" y="0"/>
                </a:lnTo>
                <a:close/>
              </a:path>
            </a:pathLst>
          </a:custGeom>
          <a:solidFill>
            <a:srgbClr val="B2B6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46" name="Freeform 42"/>
          <p:cNvSpPr>
            <a:spLocks/>
          </p:cNvSpPr>
          <p:nvPr userDrawn="1"/>
        </p:nvSpPr>
        <p:spPr bwMode="auto">
          <a:xfrm>
            <a:off x="4905375" y="3887788"/>
            <a:ext cx="1909763" cy="1922463"/>
          </a:xfrm>
          <a:custGeom>
            <a:avLst/>
            <a:gdLst>
              <a:gd name="T0" fmla="*/ 1203 w 1203"/>
              <a:gd name="T1" fmla="*/ 0 h 1211"/>
              <a:gd name="T2" fmla="*/ 1203 w 1203"/>
              <a:gd name="T3" fmla="*/ 0 h 1211"/>
              <a:gd name="T4" fmla="*/ 0 w 1203"/>
              <a:gd name="T5" fmla="*/ 449 h 1211"/>
              <a:gd name="T6" fmla="*/ 0 w 1203"/>
              <a:gd name="T7" fmla="*/ 449 h 1211"/>
              <a:gd name="T8" fmla="*/ 678 w 1203"/>
              <a:gd name="T9" fmla="*/ 1211 h 1211"/>
              <a:gd name="T10" fmla="*/ 900 w 1203"/>
              <a:gd name="T11" fmla="*/ 1211 h 1211"/>
              <a:gd name="T12" fmla="*/ 1203 w 1203"/>
              <a:gd name="T13" fmla="*/ 890 h 1211"/>
              <a:gd name="T14" fmla="*/ 1203 w 1203"/>
              <a:gd name="T15" fmla="*/ 0 h 1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3" h="1211">
                <a:moveTo>
                  <a:pt x="1203" y="0"/>
                </a:moveTo>
                <a:lnTo>
                  <a:pt x="1203" y="0"/>
                </a:lnTo>
                <a:lnTo>
                  <a:pt x="0" y="449"/>
                </a:lnTo>
                <a:lnTo>
                  <a:pt x="0" y="449"/>
                </a:lnTo>
                <a:lnTo>
                  <a:pt x="678" y="1211"/>
                </a:lnTo>
                <a:lnTo>
                  <a:pt x="900" y="1211"/>
                </a:lnTo>
                <a:lnTo>
                  <a:pt x="1203" y="890"/>
                </a:lnTo>
                <a:lnTo>
                  <a:pt x="1203" y="0"/>
                </a:lnTo>
                <a:close/>
              </a:path>
            </a:pathLst>
          </a:custGeom>
          <a:solidFill>
            <a:srgbClr val="84B0C1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54" name="Freeform 50"/>
          <p:cNvSpPr>
            <a:spLocks/>
          </p:cNvSpPr>
          <p:nvPr userDrawn="1"/>
        </p:nvSpPr>
        <p:spPr bwMode="auto">
          <a:xfrm>
            <a:off x="6811963" y="1125538"/>
            <a:ext cx="2328863" cy="2279650"/>
          </a:xfrm>
          <a:custGeom>
            <a:avLst/>
            <a:gdLst>
              <a:gd name="T0" fmla="*/ 0 w 1465"/>
              <a:gd name="T1" fmla="*/ 0 h 1436"/>
              <a:gd name="T2" fmla="*/ 0 w 1465"/>
              <a:gd name="T3" fmla="*/ 533 h 1436"/>
              <a:gd name="T4" fmla="*/ 0 w 1465"/>
              <a:gd name="T5" fmla="*/ 533 h 1436"/>
              <a:gd name="T6" fmla="*/ 853 w 1465"/>
              <a:gd name="T7" fmla="*/ 1436 h 1436"/>
              <a:gd name="T8" fmla="*/ 853 w 1465"/>
              <a:gd name="T9" fmla="*/ 1436 h 1436"/>
              <a:gd name="T10" fmla="*/ 1465 w 1465"/>
              <a:gd name="T11" fmla="*/ 1218 h 1436"/>
              <a:gd name="T12" fmla="*/ 1465 w 1465"/>
              <a:gd name="T13" fmla="*/ 537 h 1436"/>
              <a:gd name="T14" fmla="*/ 0 w 1465"/>
              <a:gd name="T15" fmla="*/ 0 h 1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65" h="1436">
                <a:moveTo>
                  <a:pt x="0" y="0"/>
                </a:moveTo>
                <a:lnTo>
                  <a:pt x="0" y="533"/>
                </a:lnTo>
                <a:lnTo>
                  <a:pt x="0" y="533"/>
                </a:lnTo>
                <a:lnTo>
                  <a:pt x="853" y="1436"/>
                </a:lnTo>
                <a:lnTo>
                  <a:pt x="853" y="1436"/>
                </a:lnTo>
                <a:lnTo>
                  <a:pt x="1465" y="1218"/>
                </a:lnTo>
                <a:lnTo>
                  <a:pt x="1465" y="537"/>
                </a:lnTo>
                <a:lnTo>
                  <a:pt x="0" y="0"/>
                </a:lnTo>
                <a:close/>
              </a:path>
            </a:pathLst>
          </a:custGeom>
          <a:solidFill>
            <a:srgbClr val="CCCFD4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56" name="Freeform 52"/>
          <p:cNvSpPr>
            <a:spLocks/>
          </p:cNvSpPr>
          <p:nvPr userDrawn="1"/>
        </p:nvSpPr>
        <p:spPr bwMode="auto">
          <a:xfrm>
            <a:off x="8169275" y="3059113"/>
            <a:ext cx="971550" cy="1373188"/>
          </a:xfrm>
          <a:custGeom>
            <a:avLst/>
            <a:gdLst>
              <a:gd name="T0" fmla="*/ 612 w 612"/>
              <a:gd name="T1" fmla="*/ 0 h 865"/>
              <a:gd name="T2" fmla="*/ 0 w 612"/>
              <a:gd name="T3" fmla="*/ 218 h 865"/>
              <a:gd name="T4" fmla="*/ 136 w 612"/>
              <a:gd name="T5" fmla="*/ 361 h 865"/>
              <a:gd name="T6" fmla="*/ 135 w 612"/>
              <a:gd name="T7" fmla="*/ 363 h 865"/>
              <a:gd name="T8" fmla="*/ 612 w 612"/>
              <a:gd name="T9" fmla="*/ 865 h 865"/>
              <a:gd name="T10" fmla="*/ 612 w 612"/>
              <a:gd name="T11" fmla="*/ 0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2" h="865">
                <a:moveTo>
                  <a:pt x="612" y="0"/>
                </a:moveTo>
                <a:lnTo>
                  <a:pt x="0" y="218"/>
                </a:lnTo>
                <a:lnTo>
                  <a:pt x="136" y="361"/>
                </a:lnTo>
                <a:lnTo>
                  <a:pt x="135" y="363"/>
                </a:lnTo>
                <a:lnTo>
                  <a:pt x="612" y="865"/>
                </a:lnTo>
                <a:lnTo>
                  <a:pt x="612" y="0"/>
                </a:lnTo>
                <a:close/>
              </a:path>
            </a:pathLst>
          </a:custGeom>
          <a:solidFill>
            <a:srgbClr val="C2C5CC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0" name="Freeform 66"/>
          <p:cNvSpPr>
            <a:spLocks/>
          </p:cNvSpPr>
          <p:nvPr userDrawn="1"/>
        </p:nvSpPr>
        <p:spPr bwMode="auto">
          <a:xfrm>
            <a:off x="0" y="2500312"/>
            <a:ext cx="3033713" cy="2652714"/>
          </a:xfrm>
          <a:custGeom>
            <a:avLst/>
            <a:gdLst>
              <a:gd name="T0" fmla="*/ 1911 w 1911"/>
              <a:gd name="T1" fmla="*/ 0 h 1668"/>
              <a:gd name="T2" fmla="*/ 0 w 1911"/>
              <a:gd name="T3" fmla="*/ 713 h 1668"/>
              <a:gd name="T4" fmla="*/ 0 w 1911"/>
              <a:gd name="T5" fmla="*/ 1043 h 1668"/>
              <a:gd name="T6" fmla="*/ 1660 w 1911"/>
              <a:gd name="T7" fmla="*/ 1668 h 1668"/>
              <a:gd name="T8" fmla="*/ 1911 w 1911"/>
              <a:gd name="T9" fmla="*/ 1397 h 1668"/>
              <a:gd name="T10" fmla="*/ 1911 w 1911"/>
              <a:gd name="T11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11" h="1668">
                <a:moveTo>
                  <a:pt x="1911" y="0"/>
                </a:moveTo>
                <a:lnTo>
                  <a:pt x="0" y="713"/>
                </a:lnTo>
                <a:lnTo>
                  <a:pt x="0" y="1043"/>
                </a:lnTo>
                <a:lnTo>
                  <a:pt x="1660" y="1668"/>
                </a:lnTo>
                <a:lnTo>
                  <a:pt x="1911" y="1397"/>
                </a:lnTo>
                <a:lnTo>
                  <a:pt x="1911" y="0"/>
                </a:lnTo>
                <a:close/>
              </a:path>
            </a:pathLst>
          </a:custGeom>
          <a:solidFill>
            <a:srgbClr val="A6A9B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2" name="Freeform 68"/>
          <p:cNvSpPr>
            <a:spLocks/>
          </p:cNvSpPr>
          <p:nvPr userDrawn="1"/>
        </p:nvSpPr>
        <p:spPr bwMode="auto">
          <a:xfrm>
            <a:off x="3033713" y="2500313"/>
            <a:ext cx="1006475" cy="2217738"/>
          </a:xfrm>
          <a:custGeom>
            <a:avLst/>
            <a:gdLst>
              <a:gd name="T0" fmla="*/ 0 w 634"/>
              <a:gd name="T1" fmla="*/ 0 h 1397"/>
              <a:gd name="T2" fmla="*/ 0 w 634"/>
              <a:gd name="T3" fmla="*/ 0 h 1397"/>
              <a:gd name="T4" fmla="*/ 0 w 634"/>
              <a:gd name="T5" fmla="*/ 1397 h 1397"/>
              <a:gd name="T6" fmla="*/ 634 w 634"/>
              <a:gd name="T7" fmla="*/ 713 h 1397"/>
              <a:gd name="T8" fmla="*/ 0 w 634"/>
              <a:gd name="T9" fmla="*/ 0 h 1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4" h="1397">
                <a:moveTo>
                  <a:pt x="0" y="0"/>
                </a:moveTo>
                <a:lnTo>
                  <a:pt x="0" y="0"/>
                </a:lnTo>
                <a:lnTo>
                  <a:pt x="0" y="1397"/>
                </a:lnTo>
                <a:lnTo>
                  <a:pt x="634" y="713"/>
                </a:lnTo>
                <a:lnTo>
                  <a:pt x="0" y="0"/>
                </a:lnTo>
                <a:close/>
              </a:path>
            </a:pathLst>
          </a:custGeom>
          <a:solidFill>
            <a:srgbClr val="9FA2AF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4" name="Freeform 70"/>
          <p:cNvSpPr>
            <a:spLocks/>
          </p:cNvSpPr>
          <p:nvPr userDrawn="1"/>
        </p:nvSpPr>
        <p:spPr bwMode="auto">
          <a:xfrm>
            <a:off x="1244600" y="1341438"/>
            <a:ext cx="1789113" cy="1158873"/>
          </a:xfrm>
          <a:custGeom>
            <a:avLst/>
            <a:gdLst>
              <a:gd name="T0" fmla="*/ 326 w 1127"/>
              <a:gd name="T1" fmla="*/ 0 h 730"/>
              <a:gd name="T2" fmla="*/ 326 w 1127"/>
              <a:gd name="T3" fmla="*/ 0 h 730"/>
              <a:gd name="T4" fmla="*/ 0 w 1127"/>
              <a:gd name="T5" fmla="*/ 342 h 730"/>
              <a:gd name="T6" fmla="*/ 1127 w 1127"/>
              <a:gd name="T7" fmla="*/ 730 h 730"/>
              <a:gd name="T8" fmla="*/ 326 w 1127"/>
              <a:gd name="T9" fmla="*/ 0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27" h="730">
                <a:moveTo>
                  <a:pt x="326" y="0"/>
                </a:moveTo>
                <a:lnTo>
                  <a:pt x="326" y="0"/>
                </a:lnTo>
                <a:lnTo>
                  <a:pt x="0" y="342"/>
                </a:lnTo>
                <a:lnTo>
                  <a:pt x="1127" y="730"/>
                </a:lnTo>
                <a:lnTo>
                  <a:pt x="326" y="0"/>
                </a:lnTo>
                <a:close/>
              </a:path>
            </a:pathLst>
          </a:custGeom>
          <a:solidFill>
            <a:srgbClr val="B2B4C0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6" name="Freeform 72"/>
          <p:cNvSpPr>
            <a:spLocks/>
          </p:cNvSpPr>
          <p:nvPr userDrawn="1"/>
        </p:nvSpPr>
        <p:spPr bwMode="auto">
          <a:xfrm>
            <a:off x="0" y="1884363"/>
            <a:ext cx="3033713" cy="1747838"/>
          </a:xfrm>
          <a:custGeom>
            <a:avLst/>
            <a:gdLst>
              <a:gd name="T0" fmla="*/ 784 w 1911"/>
              <a:gd name="T1" fmla="*/ 0 h 1101"/>
              <a:gd name="T2" fmla="*/ 0 w 1911"/>
              <a:gd name="T3" fmla="*/ 819 h 1101"/>
              <a:gd name="T4" fmla="*/ 0 w 1911"/>
              <a:gd name="T5" fmla="*/ 1101 h 1101"/>
              <a:gd name="T6" fmla="*/ 1911 w 1911"/>
              <a:gd name="T7" fmla="*/ 388 h 1101"/>
              <a:gd name="T8" fmla="*/ 784 w 1911"/>
              <a:gd name="T9" fmla="*/ 0 h 1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11" h="1101">
                <a:moveTo>
                  <a:pt x="784" y="0"/>
                </a:moveTo>
                <a:lnTo>
                  <a:pt x="0" y="819"/>
                </a:lnTo>
                <a:lnTo>
                  <a:pt x="0" y="1101"/>
                </a:lnTo>
                <a:lnTo>
                  <a:pt x="1911" y="388"/>
                </a:lnTo>
                <a:lnTo>
                  <a:pt x="784" y="0"/>
                </a:lnTo>
                <a:close/>
              </a:path>
            </a:pathLst>
          </a:custGeom>
          <a:solidFill>
            <a:srgbClr val="CDD0D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78" name="Freeform 74"/>
          <p:cNvSpPr>
            <a:spLocks/>
          </p:cNvSpPr>
          <p:nvPr userDrawn="1"/>
        </p:nvSpPr>
        <p:spPr bwMode="auto">
          <a:xfrm>
            <a:off x="1762125" y="1341438"/>
            <a:ext cx="1271588" cy="1158875"/>
          </a:xfrm>
          <a:custGeom>
            <a:avLst/>
            <a:gdLst>
              <a:gd name="T0" fmla="*/ 801 w 801"/>
              <a:gd name="T1" fmla="*/ 0 h 730"/>
              <a:gd name="T2" fmla="*/ 0 w 801"/>
              <a:gd name="T3" fmla="*/ 0 h 730"/>
              <a:gd name="T4" fmla="*/ 801 w 801"/>
              <a:gd name="T5" fmla="*/ 730 h 730"/>
              <a:gd name="T6" fmla="*/ 801 w 801"/>
              <a:gd name="T7" fmla="*/ 0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1" h="730">
                <a:moveTo>
                  <a:pt x="801" y="0"/>
                </a:moveTo>
                <a:lnTo>
                  <a:pt x="0" y="0"/>
                </a:lnTo>
                <a:lnTo>
                  <a:pt x="801" y="730"/>
                </a:lnTo>
                <a:lnTo>
                  <a:pt x="801" y="0"/>
                </a:lnTo>
                <a:close/>
              </a:path>
            </a:pathLst>
          </a:custGeom>
          <a:solidFill>
            <a:srgbClr val="A3A5B3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80" name="Freeform 76"/>
          <p:cNvSpPr>
            <a:spLocks/>
          </p:cNvSpPr>
          <p:nvPr userDrawn="1"/>
        </p:nvSpPr>
        <p:spPr bwMode="auto">
          <a:xfrm>
            <a:off x="0" y="4156075"/>
            <a:ext cx="1517650" cy="1654175"/>
          </a:xfrm>
          <a:custGeom>
            <a:avLst/>
            <a:gdLst>
              <a:gd name="T0" fmla="*/ 0 w 956"/>
              <a:gd name="T1" fmla="*/ 0 h 1042"/>
              <a:gd name="T2" fmla="*/ 0 w 956"/>
              <a:gd name="T3" fmla="*/ 1042 h 1042"/>
              <a:gd name="T4" fmla="*/ 956 w 956"/>
              <a:gd name="T5" fmla="*/ 1042 h 1042"/>
              <a:gd name="T6" fmla="*/ 0 w 956"/>
              <a:gd name="T7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042">
                <a:moveTo>
                  <a:pt x="0" y="0"/>
                </a:moveTo>
                <a:lnTo>
                  <a:pt x="0" y="1042"/>
                </a:lnTo>
                <a:lnTo>
                  <a:pt x="956" y="1042"/>
                </a:lnTo>
                <a:lnTo>
                  <a:pt x="0" y="0"/>
                </a:lnTo>
                <a:close/>
              </a:path>
            </a:pathLst>
          </a:custGeom>
          <a:solidFill>
            <a:srgbClr val="B0B3BE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82" name="Freeform 78"/>
          <p:cNvSpPr>
            <a:spLocks/>
          </p:cNvSpPr>
          <p:nvPr userDrawn="1"/>
        </p:nvSpPr>
        <p:spPr bwMode="auto">
          <a:xfrm>
            <a:off x="2020888" y="5148263"/>
            <a:ext cx="1012825" cy="661988"/>
          </a:xfrm>
          <a:custGeom>
            <a:avLst/>
            <a:gdLst>
              <a:gd name="T0" fmla="*/ 387 w 638"/>
              <a:gd name="T1" fmla="*/ 0 h 417"/>
              <a:gd name="T2" fmla="*/ 0 w 638"/>
              <a:gd name="T3" fmla="*/ 417 h 417"/>
              <a:gd name="T4" fmla="*/ 638 w 638"/>
              <a:gd name="T5" fmla="*/ 417 h 417"/>
              <a:gd name="T6" fmla="*/ 638 w 638"/>
              <a:gd name="T7" fmla="*/ 94 h 417"/>
              <a:gd name="T8" fmla="*/ 387 w 638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8" h="417">
                <a:moveTo>
                  <a:pt x="387" y="0"/>
                </a:moveTo>
                <a:lnTo>
                  <a:pt x="0" y="417"/>
                </a:lnTo>
                <a:lnTo>
                  <a:pt x="638" y="417"/>
                </a:lnTo>
                <a:lnTo>
                  <a:pt x="638" y="94"/>
                </a:lnTo>
                <a:lnTo>
                  <a:pt x="387" y="0"/>
                </a:lnTo>
                <a:close/>
              </a:path>
            </a:pathLst>
          </a:custGeom>
          <a:solidFill>
            <a:srgbClr val="B0B3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84" name="Freeform 80"/>
          <p:cNvSpPr>
            <a:spLocks/>
          </p:cNvSpPr>
          <p:nvPr userDrawn="1"/>
        </p:nvSpPr>
        <p:spPr bwMode="auto">
          <a:xfrm>
            <a:off x="3033713" y="5297488"/>
            <a:ext cx="1349375" cy="512763"/>
          </a:xfrm>
          <a:custGeom>
            <a:avLst/>
            <a:gdLst>
              <a:gd name="T0" fmla="*/ 0 w 850"/>
              <a:gd name="T1" fmla="*/ 0 h 323"/>
              <a:gd name="T2" fmla="*/ 0 w 850"/>
              <a:gd name="T3" fmla="*/ 323 h 323"/>
              <a:gd name="T4" fmla="*/ 850 w 850"/>
              <a:gd name="T5" fmla="*/ 323 h 323"/>
              <a:gd name="T6" fmla="*/ 0 w 850"/>
              <a:gd name="T7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50" h="323">
                <a:moveTo>
                  <a:pt x="0" y="0"/>
                </a:moveTo>
                <a:lnTo>
                  <a:pt x="0" y="323"/>
                </a:lnTo>
                <a:lnTo>
                  <a:pt x="850" y="323"/>
                </a:lnTo>
                <a:lnTo>
                  <a:pt x="0" y="0"/>
                </a:lnTo>
                <a:close/>
              </a:path>
            </a:pathLst>
          </a:custGeom>
          <a:solidFill>
            <a:srgbClr val="A6AAB5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86" name="Freeform 82"/>
          <p:cNvSpPr>
            <a:spLocks/>
          </p:cNvSpPr>
          <p:nvPr userDrawn="1"/>
        </p:nvSpPr>
        <p:spPr bwMode="auto">
          <a:xfrm>
            <a:off x="0" y="4156075"/>
            <a:ext cx="2635250" cy="1654175"/>
          </a:xfrm>
          <a:custGeom>
            <a:avLst/>
            <a:gdLst>
              <a:gd name="T0" fmla="*/ 0 w 1660"/>
              <a:gd name="T1" fmla="*/ 0 h 1042"/>
              <a:gd name="T2" fmla="*/ 0 w 1660"/>
              <a:gd name="T3" fmla="*/ 0 h 1042"/>
              <a:gd name="T4" fmla="*/ 956 w 1660"/>
              <a:gd name="T5" fmla="*/ 1042 h 1042"/>
              <a:gd name="T6" fmla="*/ 1273 w 1660"/>
              <a:gd name="T7" fmla="*/ 1042 h 1042"/>
              <a:gd name="T8" fmla="*/ 1660 w 1660"/>
              <a:gd name="T9" fmla="*/ 625 h 1042"/>
              <a:gd name="T10" fmla="*/ 0 w 1660"/>
              <a:gd name="T11" fmla="*/ 0 h 1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60" h="1042">
                <a:moveTo>
                  <a:pt x="0" y="0"/>
                </a:moveTo>
                <a:lnTo>
                  <a:pt x="0" y="0"/>
                </a:lnTo>
                <a:lnTo>
                  <a:pt x="956" y="1042"/>
                </a:lnTo>
                <a:lnTo>
                  <a:pt x="1273" y="1042"/>
                </a:lnTo>
                <a:lnTo>
                  <a:pt x="1660" y="625"/>
                </a:lnTo>
                <a:lnTo>
                  <a:pt x="0" y="0"/>
                </a:lnTo>
                <a:close/>
              </a:path>
            </a:pathLst>
          </a:custGeom>
          <a:solidFill>
            <a:srgbClr val="9296A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88" name="Freeform 84"/>
          <p:cNvSpPr>
            <a:spLocks/>
          </p:cNvSpPr>
          <p:nvPr userDrawn="1"/>
        </p:nvSpPr>
        <p:spPr bwMode="auto">
          <a:xfrm>
            <a:off x="3033713" y="2500313"/>
            <a:ext cx="1543050" cy="1131888"/>
          </a:xfrm>
          <a:custGeom>
            <a:avLst/>
            <a:gdLst>
              <a:gd name="T0" fmla="*/ 0 w 972"/>
              <a:gd name="T1" fmla="*/ 0 h 713"/>
              <a:gd name="T2" fmla="*/ 634 w 972"/>
              <a:gd name="T3" fmla="*/ 713 h 713"/>
              <a:gd name="T4" fmla="*/ 972 w 972"/>
              <a:gd name="T5" fmla="*/ 357 h 713"/>
              <a:gd name="T6" fmla="*/ 0 w 972"/>
              <a:gd name="T7" fmla="*/ 0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2" h="713">
                <a:moveTo>
                  <a:pt x="0" y="0"/>
                </a:moveTo>
                <a:lnTo>
                  <a:pt x="634" y="713"/>
                </a:lnTo>
                <a:lnTo>
                  <a:pt x="972" y="357"/>
                </a:lnTo>
                <a:lnTo>
                  <a:pt x="0" y="0"/>
                </a:lnTo>
                <a:close/>
              </a:path>
            </a:pathLst>
          </a:custGeom>
          <a:solidFill>
            <a:srgbClr val="BAC0C4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90" name="Freeform 86"/>
          <p:cNvSpPr>
            <a:spLocks/>
          </p:cNvSpPr>
          <p:nvPr userDrawn="1"/>
        </p:nvSpPr>
        <p:spPr bwMode="auto">
          <a:xfrm>
            <a:off x="4040188" y="3067050"/>
            <a:ext cx="2078038" cy="565150"/>
          </a:xfrm>
          <a:custGeom>
            <a:avLst/>
            <a:gdLst>
              <a:gd name="T0" fmla="*/ 338 w 1309"/>
              <a:gd name="T1" fmla="*/ 0 h 356"/>
              <a:gd name="T2" fmla="*/ 338 w 1309"/>
              <a:gd name="T3" fmla="*/ 0 h 356"/>
              <a:gd name="T4" fmla="*/ 0 w 1309"/>
              <a:gd name="T5" fmla="*/ 356 h 356"/>
              <a:gd name="T6" fmla="*/ 0 w 1309"/>
              <a:gd name="T7" fmla="*/ 356 h 356"/>
              <a:gd name="T8" fmla="*/ 1309 w 1309"/>
              <a:gd name="T9" fmla="*/ 356 h 356"/>
              <a:gd name="T10" fmla="*/ 338 w 1309"/>
              <a:gd name="T11" fmla="*/ 0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9" h="356">
                <a:moveTo>
                  <a:pt x="338" y="0"/>
                </a:moveTo>
                <a:lnTo>
                  <a:pt x="338" y="0"/>
                </a:lnTo>
                <a:lnTo>
                  <a:pt x="0" y="356"/>
                </a:lnTo>
                <a:lnTo>
                  <a:pt x="0" y="356"/>
                </a:lnTo>
                <a:lnTo>
                  <a:pt x="1309" y="356"/>
                </a:lnTo>
                <a:lnTo>
                  <a:pt x="338" y="0"/>
                </a:lnTo>
                <a:close/>
              </a:path>
            </a:pathLst>
          </a:custGeom>
          <a:solidFill>
            <a:srgbClr val="A2A8B2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94" name="Freeform 90"/>
          <p:cNvSpPr>
            <a:spLocks/>
          </p:cNvSpPr>
          <p:nvPr userDrawn="1"/>
        </p:nvSpPr>
        <p:spPr bwMode="auto">
          <a:xfrm>
            <a:off x="4040188" y="3632200"/>
            <a:ext cx="2774950" cy="968375"/>
          </a:xfrm>
          <a:custGeom>
            <a:avLst/>
            <a:gdLst>
              <a:gd name="T0" fmla="*/ 1309 w 1748"/>
              <a:gd name="T1" fmla="*/ 0 h 610"/>
              <a:gd name="T2" fmla="*/ 0 w 1748"/>
              <a:gd name="T3" fmla="*/ 0 h 610"/>
              <a:gd name="T4" fmla="*/ 545 w 1748"/>
              <a:gd name="T5" fmla="*/ 610 h 610"/>
              <a:gd name="T6" fmla="*/ 1748 w 1748"/>
              <a:gd name="T7" fmla="*/ 161 h 610"/>
              <a:gd name="T8" fmla="*/ 1309 w 1748"/>
              <a:gd name="T9" fmla="*/ 0 h 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8" h="610">
                <a:moveTo>
                  <a:pt x="1309" y="0"/>
                </a:moveTo>
                <a:lnTo>
                  <a:pt x="0" y="0"/>
                </a:lnTo>
                <a:lnTo>
                  <a:pt x="545" y="610"/>
                </a:lnTo>
                <a:lnTo>
                  <a:pt x="1748" y="161"/>
                </a:lnTo>
                <a:lnTo>
                  <a:pt x="1309" y="0"/>
                </a:lnTo>
                <a:close/>
              </a:path>
            </a:pathLst>
          </a:custGeom>
          <a:solidFill>
            <a:srgbClr val="8FBBC6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04" name="Freeform 100"/>
          <p:cNvSpPr>
            <a:spLocks/>
          </p:cNvSpPr>
          <p:nvPr userDrawn="1"/>
        </p:nvSpPr>
        <p:spPr bwMode="auto">
          <a:xfrm>
            <a:off x="4576762" y="1341438"/>
            <a:ext cx="2238377" cy="2297113"/>
          </a:xfrm>
          <a:custGeom>
            <a:avLst/>
            <a:gdLst>
              <a:gd name="T0" fmla="*/ 1032 w 1410"/>
              <a:gd name="T1" fmla="*/ 0 h 1443"/>
              <a:gd name="T2" fmla="*/ 0 w 1410"/>
              <a:gd name="T3" fmla="*/ 1087 h 1443"/>
              <a:gd name="T4" fmla="*/ 971 w 1410"/>
              <a:gd name="T5" fmla="*/ 1443 h 1443"/>
              <a:gd name="T6" fmla="*/ 1410 w 1410"/>
              <a:gd name="T7" fmla="*/ 1443 h 1443"/>
              <a:gd name="T8" fmla="*/ 1408 w 1410"/>
              <a:gd name="T9" fmla="*/ 399 h 1443"/>
              <a:gd name="T10" fmla="*/ 1032 w 1410"/>
              <a:gd name="T11" fmla="*/ 0 h 1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10" h="1443">
                <a:moveTo>
                  <a:pt x="1032" y="0"/>
                </a:moveTo>
                <a:lnTo>
                  <a:pt x="0" y="1087"/>
                </a:lnTo>
                <a:lnTo>
                  <a:pt x="971" y="1443"/>
                </a:lnTo>
                <a:lnTo>
                  <a:pt x="1410" y="1443"/>
                </a:lnTo>
                <a:lnTo>
                  <a:pt x="1408" y="399"/>
                </a:lnTo>
                <a:lnTo>
                  <a:pt x="1032" y="0"/>
                </a:lnTo>
                <a:close/>
              </a:path>
            </a:pathLst>
          </a:custGeom>
          <a:solidFill>
            <a:srgbClr val="6FA8BE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06" name="Freeform 102"/>
          <p:cNvSpPr>
            <a:spLocks/>
          </p:cNvSpPr>
          <p:nvPr userDrawn="1"/>
        </p:nvSpPr>
        <p:spPr bwMode="auto">
          <a:xfrm>
            <a:off x="6118225" y="3632200"/>
            <a:ext cx="696913" cy="255588"/>
          </a:xfrm>
          <a:custGeom>
            <a:avLst/>
            <a:gdLst>
              <a:gd name="T0" fmla="*/ 439 w 439"/>
              <a:gd name="T1" fmla="*/ 0 h 161"/>
              <a:gd name="T2" fmla="*/ 0 w 439"/>
              <a:gd name="T3" fmla="*/ 0 h 161"/>
              <a:gd name="T4" fmla="*/ 439 w 439"/>
              <a:gd name="T5" fmla="*/ 161 h 161"/>
              <a:gd name="T6" fmla="*/ 439 w 439"/>
              <a:gd name="T7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39" h="161">
                <a:moveTo>
                  <a:pt x="439" y="0"/>
                </a:moveTo>
                <a:lnTo>
                  <a:pt x="0" y="0"/>
                </a:lnTo>
                <a:lnTo>
                  <a:pt x="439" y="161"/>
                </a:lnTo>
                <a:lnTo>
                  <a:pt x="439" y="0"/>
                </a:lnTo>
                <a:close/>
              </a:path>
            </a:pathLst>
          </a:custGeom>
          <a:solidFill>
            <a:srgbClr val="57BCD5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10" name="Freeform 106"/>
          <p:cNvSpPr>
            <a:spLocks/>
          </p:cNvSpPr>
          <p:nvPr userDrawn="1"/>
        </p:nvSpPr>
        <p:spPr bwMode="auto">
          <a:xfrm>
            <a:off x="6215062" y="1120688"/>
            <a:ext cx="600077" cy="855663"/>
          </a:xfrm>
          <a:custGeom>
            <a:avLst/>
            <a:gdLst>
              <a:gd name="T0" fmla="*/ 376 w 376"/>
              <a:gd name="T1" fmla="*/ 0 h 532"/>
              <a:gd name="T2" fmla="*/ 0 w 376"/>
              <a:gd name="T3" fmla="*/ 136 h 532"/>
              <a:gd name="T4" fmla="*/ 0 w 376"/>
              <a:gd name="T5" fmla="*/ 136 h 532"/>
              <a:gd name="T6" fmla="*/ 1 w 376"/>
              <a:gd name="T7" fmla="*/ 136 h 532"/>
              <a:gd name="T8" fmla="*/ 376 w 376"/>
              <a:gd name="T9" fmla="*/ 532 h 532"/>
              <a:gd name="T10" fmla="*/ 376 w 376"/>
              <a:gd name="T11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6" h="532">
                <a:moveTo>
                  <a:pt x="376" y="0"/>
                </a:moveTo>
                <a:lnTo>
                  <a:pt x="0" y="136"/>
                </a:lnTo>
                <a:lnTo>
                  <a:pt x="0" y="136"/>
                </a:lnTo>
                <a:lnTo>
                  <a:pt x="1" y="136"/>
                </a:lnTo>
                <a:lnTo>
                  <a:pt x="376" y="532"/>
                </a:lnTo>
                <a:lnTo>
                  <a:pt x="376" y="0"/>
                </a:lnTo>
                <a:close/>
              </a:path>
            </a:pathLst>
          </a:custGeom>
          <a:solidFill>
            <a:srgbClr val="81BACC">
              <a:alpha val="6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20" name="Freeform 116"/>
          <p:cNvSpPr>
            <a:spLocks/>
          </p:cNvSpPr>
          <p:nvPr userDrawn="1"/>
        </p:nvSpPr>
        <p:spPr bwMode="auto">
          <a:xfrm>
            <a:off x="3033713" y="1341438"/>
            <a:ext cx="3181350" cy="1725613"/>
          </a:xfrm>
          <a:custGeom>
            <a:avLst/>
            <a:gdLst>
              <a:gd name="T0" fmla="*/ 2004 w 2004"/>
              <a:gd name="T1" fmla="*/ 0 h 1087"/>
              <a:gd name="T2" fmla="*/ 0 w 2004"/>
              <a:gd name="T3" fmla="*/ 730 h 1087"/>
              <a:gd name="T4" fmla="*/ 972 w 2004"/>
              <a:gd name="T5" fmla="*/ 1087 h 1087"/>
              <a:gd name="T6" fmla="*/ 2004 w 2004"/>
              <a:gd name="T7" fmla="*/ 0 h 1087"/>
              <a:gd name="T8" fmla="*/ 2004 w 2004"/>
              <a:gd name="T9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04" h="1087">
                <a:moveTo>
                  <a:pt x="2004" y="0"/>
                </a:moveTo>
                <a:lnTo>
                  <a:pt x="0" y="730"/>
                </a:lnTo>
                <a:lnTo>
                  <a:pt x="972" y="1087"/>
                </a:lnTo>
                <a:lnTo>
                  <a:pt x="2004" y="0"/>
                </a:lnTo>
                <a:lnTo>
                  <a:pt x="2004" y="0"/>
                </a:lnTo>
                <a:close/>
              </a:path>
            </a:pathLst>
          </a:custGeom>
          <a:solidFill>
            <a:srgbClr val="42BBD7">
              <a:alpha val="4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21" name="Freeform 117"/>
          <p:cNvSpPr>
            <a:spLocks/>
          </p:cNvSpPr>
          <p:nvPr userDrawn="1"/>
        </p:nvSpPr>
        <p:spPr bwMode="auto">
          <a:xfrm>
            <a:off x="3033713" y="1341438"/>
            <a:ext cx="3181350" cy="1725613"/>
          </a:xfrm>
          <a:custGeom>
            <a:avLst/>
            <a:gdLst>
              <a:gd name="T0" fmla="*/ 2004 w 2004"/>
              <a:gd name="T1" fmla="*/ 0 h 1087"/>
              <a:gd name="T2" fmla="*/ 0 w 2004"/>
              <a:gd name="T3" fmla="*/ 730 h 1087"/>
              <a:gd name="T4" fmla="*/ 972 w 2004"/>
              <a:gd name="T5" fmla="*/ 1087 h 1087"/>
              <a:gd name="T6" fmla="*/ 2004 w 2004"/>
              <a:gd name="T7" fmla="*/ 0 h 1087"/>
              <a:gd name="T8" fmla="*/ 2004 w 2004"/>
              <a:gd name="T9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04" h="1087">
                <a:moveTo>
                  <a:pt x="2004" y="0"/>
                </a:moveTo>
                <a:lnTo>
                  <a:pt x="0" y="730"/>
                </a:lnTo>
                <a:lnTo>
                  <a:pt x="972" y="1087"/>
                </a:lnTo>
                <a:lnTo>
                  <a:pt x="2004" y="0"/>
                </a:lnTo>
                <a:lnTo>
                  <a:pt x="200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sp>
        <p:nvSpPr>
          <p:cNvPr id="123" name="Freeform 119"/>
          <p:cNvSpPr>
            <a:spLocks/>
          </p:cNvSpPr>
          <p:nvPr userDrawn="1"/>
        </p:nvSpPr>
        <p:spPr bwMode="auto">
          <a:xfrm>
            <a:off x="4576763" y="1341438"/>
            <a:ext cx="1638300" cy="1725613"/>
          </a:xfrm>
          <a:custGeom>
            <a:avLst/>
            <a:gdLst>
              <a:gd name="T0" fmla="*/ 1032 w 1032"/>
              <a:gd name="T1" fmla="*/ 0 h 1087"/>
              <a:gd name="T2" fmla="*/ 0 w 1032"/>
              <a:gd name="T3" fmla="*/ 1087 h 1087"/>
              <a:gd name="T4" fmla="*/ 0 w 1032"/>
              <a:gd name="T5" fmla="*/ 1087 h 1087"/>
              <a:gd name="T6" fmla="*/ 1032 w 1032"/>
              <a:gd name="T7" fmla="*/ 0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32" h="1087">
                <a:moveTo>
                  <a:pt x="1032" y="0"/>
                </a:moveTo>
                <a:lnTo>
                  <a:pt x="0" y="1087"/>
                </a:lnTo>
                <a:lnTo>
                  <a:pt x="0" y="1087"/>
                </a:lnTo>
                <a:lnTo>
                  <a:pt x="10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latin typeface="Segoe UI" panose="020B0502040204020203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027" y="3536124"/>
            <a:ext cx="2358092" cy="41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47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7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6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8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09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13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17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23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26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129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13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4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16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153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15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134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 nodePh="1">
                                  <p:stCondLst>
                                    <p:cond delay="1590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 nodePh="1">
                                  <p:stCondLst>
                                    <p:cond delay="1500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5" grpId="0" animBg="1"/>
      <p:bldP spid="18" grpId="0" animBg="1"/>
      <p:bldP spid="22" grpId="0" animBg="1"/>
      <p:bldP spid="28" grpId="0" animBg="1"/>
      <p:bldP spid="30" grpId="0" animBg="1"/>
      <p:bldP spid="34" grpId="0" animBg="1"/>
      <p:bldP spid="40" grpId="0" animBg="1"/>
      <p:bldP spid="42" grpId="0" animBg="1"/>
      <p:bldP spid="44" grpId="0" animBg="1"/>
      <p:bldP spid="46" grpId="0" animBg="1"/>
      <p:bldP spid="54" grpId="0" animBg="1"/>
      <p:bldP spid="56" grpId="0" animBg="1"/>
      <p:bldP spid="70" grpId="0" animBg="1"/>
      <p:bldP spid="72" grpId="0" animBg="1"/>
      <p:bldP spid="74" grpId="0" animBg="1"/>
      <p:bldP spid="76" grpId="0" animBg="1"/>
      <p:bldP spid="78" grpId="0" animBg="1"/>
      <p:bldP spid="80" grpId="0" animBg="1"/>
      <p:bldP spid="82" grpId="0" animBg="1"/>
      <p:bldP spid="84" grpId="0" animBg="1"/>
      <p:bldP spid="86" grpId="0" animBg="1"/>
      <p:bldP spid="88" grpId="0" animBg="1"/>
      <p:bldP spid="90" grpId="0" animBg="1"/>
      <p:bldP spid="94" grpId="0" animBg="1"/>
      <p:bldP spid="104" grpId="0" animBg="1"/>
      <p:bldP spid="106" grpId="0" animBg="1"/>
      <p:bldP spid="110" grpId="0" animBg="1"/>
      <p:bldP spid="120" grpId="0" animBg="1"/>
      <p:bldP spid="121" grpId="0"/>
      <p:bldP spid="123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image" Target="../media/image16.pn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Notesstyle</a:t>
            </a:r>
            <a:r>
              <a:rPr lang="en-US" dirty="0" smtClean="0"/>
              <a:t>-Medium, 24, Title</a:t>
            </a:r>
          </a:p>
          <a:p>
            <a:pPr lvl="1"/>
            <a:r>
              <a:rPr lang="en-US" dirty="0" err="1" smtClean="0"/>
              <a:t>Notesstyle</a:t>
            </a:r>
            <a:r>
              <a:rPr lang="en-US" dirty="0" smtClean="0"/>
              <a:t>-Regular, 16, Subtitle</a:t>
            </a:r>
          </a:p>
          <a:p>
            <a:pPr lvl="2"/>
            <a:r>
              <a:rPr lang="en-US" dirty="0" err="1" smtClean="0"/>
              <a:t>Notesstyle</a:t>
            </a:r>
            <a:r>
              <a:rPr lang="en-US" dirty="0" smtClean="0"/>
              <a:t>-Regular, 12, Bullet</a:t>
            </a:r>
          </a:p>
          <a:p>
            <a:pPr lvl="3"/>
            <a:r>
              <a:rPr lang="en-US" dirty="0" smtClean="0"/>
              <a:t>Segoe UI, 11, Text</a:t>
            </a:r>
          </a:p>
          <a:p>
            <a:pPr lvl="4"/>
            <a:r>
              <a:rPr lang="en-US" dirty="0" smtClean="0"/>
              <a:t>Segoe UI Light, 11, Subtext</a:t>
            </a:r>
            <a:endParaRPr lang="nl-NL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8851" y="0"/>
            <a:ext cx="2197037" cy="3158490"/>
          </a:xfrm>
          <a:prstGeom prst="rect">
            <a:avLst/>
          </a:prstGeom>
        </p:spPr>
      </p:pic>
      <p:sp>
        <p:nvSpPr>
          <p:cNvPr id="4" name="Isosceles Triangle 3"/>
          <p:cNvSpPr/>
          <p:nvPr userDrawn="1"/>
        </p:nvSpPr>
        <p:spPr>
          <a:xfrm rot="16200000">
            <a:off x="12970473" y="-212994"/>
            <a:ext cx="256884" cy="1691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8553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4" r:id="rId2"/>
    <p:sldLayoutId id="2147483686" r:id="rId3"/>
    <p:sldLayoutId id="2147483687" r:id="rId4"/>
    <p:sldLayoutId id="2147483688" r:id="rId5"/>
    <p:sldLayoutId id="2147483689" r:id="rId6"/>
    <p:sldLayoutId id="2147483696" r:id="rId7"/>
    <p:sldLayoutId id="2147483697" r:id="rId8"/>
    <p:sldLayoutId id="2147483692" r:id="rId9"/>
    <p:sldLayoutId id="2147483693" r:id="rId10"/>
  </p:sldLayoutIdLst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2400" kern="1200" baseline="0">
          <a:solidFill>
            <a:schemeClr val="tx1"/>
          </a:solidFill>
          <a:latin typeface="NotesStyle-Medium" pitchFamily="50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Tx/>
        <a:buNone/>
        <a:defRPr sz="1600" kern="1200" baseline="0">
          <a:solidFill>
            <a:schemeClr val="tx1"/>
          </a:solidFill>
          <a:latin typeface="NotesStyle-Regular" pitchFamily="50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Tx/>
        <a:buBlip>
          <a:blip r:embed="rId13"/>
        </a:buBlip>
        <a:defRPr sz="1200" kern="1200" baseline="0">
          <a:solidFill>
            <a:schemeClr val="tx1"/>
          </a:solidFill>
          <a:latin typeface="NotesStyle-Regular" pitchFamily="50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Tx/>
        <a:buBlip>
          <a:blip r:embed="rId13"/>
        </a:buBlip>
        <a:defRPr sz="1100" kern="1200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Tx/>
        <a:buBlip>
          <a:blip r:embed="rId13"/>
        </a:buBlip>
        <a:defRPr sz="1100" kern="1200" baseline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Notesstyle</a:t>
            </a:r>
            <a:r>
              <a:rPr lang="en-US" dirty="0" smtClean="0"/>
              <a:t>-Medium, 24, Title</a:t>
            </a:r>
          </a:p>
          <a:p>
            <a:pPr lvl="1"/>
            <a:r>
              <a:rPr lang="en-US" dirty="0" err="1" smtClean="0"/>
              <a:t>Notesstyle</a:t>
            </a:r>
            <a:r>
              <a:rPr lang="en-US" dirty="0" smtClean="0"/>
              <a:t>-Regular, 16, Subtitle</a:t>
            </a:r>
          </a:p>
          <a:p>
            <a:pPr lvl="2"/>
            <a:r>
              <a:rPr lang="en-US" dirty="0" err="1" smtClean="0"/>
              <a:t>Notesstyle</a:t>
            </a:r>
            <a:r>
              <a:rPr lang="en-US" dirty="0" smtClean="0"/>
              <a:t>-Regular, 12, Bullet</a:t>
            </a:r>
          </a:p>
          <a:p>
            <a:pPr lvl="3"/>
            <a:r>
              <a:rPr lang="en-US" dirty="0" smtClean="0"/>
              <a:t>Segoe UI, 11, Text</a:t>
            </a:r>
          </a:p>
          <a:p>
            <a:pPr lvl="4"/>
            <a:r>
              <a:rPr lang="en-US" dirty="0" smtClean="0"/>
              <a:t>Segoe UI Light, 11, Subtext</a:t>
            </a:r>
            <a:endParaRPr lang="nl-NL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5201" y="0"/>
            <a:ext cx="2197037" cy="3158490"/>
          </a:xfrm>
          <a:prstGeom prst="rect">
            <a:avLst/>
          </a:prstGeom>
        </p:spPr>
      </p:pic>
      <p:sp>
        <p:nvSpPr>
          <p:cNvPr id="7" name="Isosceles Triangle 6"/>
          <p:cNvSpPr/>
          <p:nvPr userDrawn="1"/>
        </p:nvSpPr>
        <p:spPr>
          <a:xfrm rot="16200000">
            <a:off x="12970473" y="-212994"/>
            <a:ext cx="256884" cy="16910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3789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8" r:id="rId2"/>
    <p:sldLayoutId id="2147483716" r:id="rId3"/>
    <p:sldLayoutId id="2147483717" r:id="rId4"/>
    <p:sldLayoutId id="2147483690" r:id="rId5"/>
    <p:sldLayoutId id="2147483698" r:id="rId6"/>
    <p:sldLayoutId id="2147483699" r:id="rId7"/>
    <p:sldLayoutId id="2147483700" r:id="rId8"/>
    <p:sldLayoutId id="2147483701" r:id="rId9"/>
    <p:sldLayoutId id="2147483706" r:id="rId10"/>
    <p:sldLayoutId id="2147483702" r:id="rId11"/>
    <p:sldLayoutId id="2147483718" r:id="rId12"/>
    <p:sldLayoutId id="2147483704" r:id="rId13"/>
    <p:sldLayoutId id="2147483720" r:id="rId14"/>
    <p:sldLayoutId id="2147483705" r:id="rId15"/>
    <p:sldLayoutId id="2147483719" r:id="rId16"/>
    <p:sldLayoutId id="2147483721" r:id="rId17"/>
    <p:sldLayoutId id="2147483722" r:id="rId18"/>
    <p:sldLayoutId id="2147483713" r:id="rId19"/>
    <p:sldLayoutId id="2147483727" r:id="rId20"/>
    <p:sldLayoutId id="2147483714" r:id="rId21"/>
    <p:sldLayoutId id="2147483715" r:id="rId22"/>
    <p:sldLayoutId id="2147483728" r:id="rId23"/>
    <p:sldLayoutId id="2147483723" r:id="rId24"/>
    <p:sldLayoutId id="2147483724" r:id="rId25"/>
    <p:sldLayoutId id="2147483729" r:id="rId26"/>
    <p:sldLayoutId id="2147483725" r:id="rId27"/>
    <p:sldLayoutId id="2147483726" r:id="rId28"/>
    <p:sldLayoutId id="2147483730" r:id="rId29"/>
  </p:sldLayoutIdLst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NotesStyle-Medium" pitchFamily="50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tx1"/>
          </a:solidFill>
          <a:latin typeface="NotesStyle-Regular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2"/>
        </a:buBlip>
        <a:defRPr sz="1200" kern="1200">
          <a:solidFill>
            <a:schemeClr val="tx1"/>
          </a:solidFill>
          <a:latin typeface="NotesStyle-Regular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2"/>
        </a:buBlip>
        <a:defRPr sz="11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2"/>
        </a:buBlip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3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</p:sldLayoutIdLst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Layout" Target="../slideLayouts/slideLayout40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40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microsoft.com/office/2007/relationships/hdphoto" Target="../media/hdphoto2.wdp"/><Relationship Id="rId39" Type="http://schemas.openxmlformats.org/officeDocument/2006/relationships/image" Target="../media/image72.png"/><Relationship Id="rId21" Type="http://schemas.openxmlformats.org/officeDocument/2006/relationships/image" Target="../media/image55.png"/><Relationship Id="rId34" Type="http://schemas.openxmlformats.org/officeDocument/2006/relationships/image" Target="../media/image67.png"/><Relationship Id="rId7" Type="http://schemas.openxmlformats.org/officeDocument/2006/relationships/image" Target="../media/image42.png"/><Relationship Id="rId2" Type="http://schemas.openxmlformats.org/officeDocument/2006/relationships/tags" Target="../tags/tag2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2.png"/><Relationship Id="rId41" Type="http://schemas.openxmlformats.org/officeDocument/2006/relationships/image" Target="../media/image73.emf"/><Relationship Id="rId1" Type="http://schemas.openxmlformats.org/officeDocument/2006/relationships/tags" Target="../tags/tag1.xml"/><Relationship Id="rId6" Type="http://schemas.openxmlformats.org/officeDocument/2006/relationships/image" Target="../media/image41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32" Type="http://schemas.openxmlformats.org/officeDocument/2006/relationships/image" Target="../media/image65.png"/><Relationship Id="rId37" Type="http://schemas.openxmlformats.org/officeDocument/2006/relationships/image" Target="../media/image70.png"/><Relationship Id="rId40" Type="http://schemas.microsoft.com/office/2007/relationships/hdphoto" Target="../media/hdphoto3.wdp"/><Relationship Id="rId5" Type="http://schemas.openxmlformats.org/officeDocument/2006/relationships/image" Target="../media/image40.png"/><Relationship Id="rId15" Type="http://schemas.openxmlformats.org/officeDocument/2006/relationships/image" Target="../media/image49.png"/><Relationship Id="rId23" Type="http://schemas.openxmlformats.org/officeDocument/2006/relationships/image" Target="../media/image57.png"/><Relationship Id="rId28" Type="http://schemas.openxmlformats.org/officeDocument/2006/relationships/image" Target="../media/image61.png"/><Relationship Id="rId36" Type="http://schemas.openxmlformats.org/officeDocument/2006/relationships/image" Target="../media/image69.wmf"/><Relationship Id="rId10" Type="http://schemas.openxmlformats.org/officeDocument/2006/relationships/image" Target="../media/image44.png"/><Relationship Id="rId19" Type="http://schemas.openxmlformats.org/officeDocument/2006/relationships/image" Target="../media/image53.gif"/><Relationship Id="rId31" Type="http://schemas.openxmlformats.org/officeDocument/2006/relationships/image" Target="../media/image64.png"/><Relationship Id="rId4" Type="http://schemas.openxmlformats.org/officeDocument/2006/relationships/image" Target="../media/image39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35" Type="http://schemas.openxmlformats.org/officeDocument/2006/relationships/image" Target="../media/image68.png"/><Relationship Id="rId8" Type="http://schemas.microsoft.com/office/2007/relationships/hdphoto" Target="../media/hdphoto1.wdp"/><Relationship Id="rId3" Type="http://schemas.openxmlformats.org/officeDocument/2006/relationships/slideLayout" Target="../slideLayouts/slideLayout40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33" Type="http://schemas.openxmlformats.org/officeDocument/2006/relationships/image" Target="../media/image66.png"/><Relationship Id="rId38" Type="http://schemas.openxmlformats.org/officeDocument/2006/relationships/image" Target="../media/image71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7.png"/><Relationship Id="rId18" Type="http://schemas.openxmlformats.org/officeDocument/2006/relationships/image" Target="../media/image82.emf"/><Relationship Id="rId26" Type="http://schemas.microsoft.com/office/2007/relationships/hdphoto" Target="../media/hdphoto4.wdp"/><Relationship Id="rId39" Type="http://schemas.openxmlformats.org/officeDocument/2006/relationships/image" Target="../media/image98.png"/><Relationship Id="rId21" Type="http://schemas.openxmlformats.org/officeDocument/2006/relationships/image" Target="../media/image51.png"/><Relationship Id="rId34" Type="http://schemas.openxmlformats.org/officeDocument/2006/relationships/image" Target="../media/image94.png"/><Relationship Id="rId42" Type="http://schemas.microsoft.com/office/2007/relationships/hdphoto" Target="../media/hdphoto6.wdp"/><Relationship Id="rId47" Type="http://schemas.openxmlformats.org/officeDocument/2006/relationships/image" Target="../media/image103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image" Target="../media/image80.emf"/><Relationship Id="rId29" Type="http://schemas.microsoft.com/office/2007/relationships/hdphoto" Target="../media/hdphoto5.wdp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75.png"/><Relationship Id="rId24" Type="http://schemas.openxmlformats.org/officeDocument/2006/relationships/image" Target="../media/image87.png"/><Relationship Id="rId32" Type="http://schemas.openxmlformats.org/officeDocument/2006/relationships/image" Target="../media/image92.png"/><Relationship Id="rId37" Type="http://schemas.openxmlformats.org/officeDocument/2006/relationships/image" Target="../media/image96.wmf"/><Relationship Id="rId40" Type="http://schemas.openxmlformats.org/officeDocument/2006/relationships/image" Target="../media/image99.gif"/><Relationship Id="rId45" Type="http://schemas.openxmlformats.org/officeDocument/2006/relationships/image" Target="../media/image102.png"/><Relationship Id="rId5" Type="http://schemas.openxmlformats.org/officeDocument/2006/relationships/tags" Target="../tags/tag7.xml"/><Relationship Id="rId15" Type="http://schemas.openxmlformats.org/officeDocument/2006/relationships/image" Target="../media/image79.png"/><Relationship Id="rId23" Type="http://schemas.openxmlformats.org/officeDocument/2006/relationships/image" Target="../media/image86.png"/><Relationship Id="rId28" Type="http://schemas.openxmlformats.org/officeDocument/2006/relationships/image" Target="../media/image90.png"/><Relationship Id="rId36" Type="http://schemas.openxmlformats.org/officeDocument/2006/relationships/image" Target="../media/image63.png"/><Relationship Id="rId10" Type="http://schemas.openxmlformats.org/officeDocument/2006/relationships/image" Target="../media/image74.png"/><Relationship Id="rId19" Type="http://schemas.openxmlformats.org/officeDocument/2006/relationships/image" Target="../media/image83.png"/><Relationship Id="rId31" Type="http://schemas.openxmlformats.org/officeDocument/2006/relationships/image" Target="../media/image47.png"/><Relationship Id="rId44" Type="http://schemas.microsoft.com/office/2007/relationships/hdphoto" Target="../media/hdphoto7.wdp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78.png"/><Relationship Id="rId22" Type="http://schemas.openxmlformats.org/officeDocument/2006/relationships/image" Target="../media/image85.png"/><Relationship Id="rId27" Type="http://schemas.openxmlformats.org/officeDocument/2006/relationships/image" Target="../media/image89.png"/><Relationship Id="rId30" Type="http://schemas.openxmlformats.org/officeDocument/2006/relationships/image" Target="../media/image91.png"/><Relationship Id="rId35" Type="http://schemas.openxmlformats.org/officeDocument/2006/relationships/image" Target="../media/image95.png"/><Relationship Id="rId43" Type="http://schemas.openxmlformats.org/officeDocument/2006/relationships/image" Target="../media/image101.png"/><Relationship Id="rId48" Type="http://schemas.microsoft.com/office/2007/relationships/hdphoto" Target="../media/hdphoto9.wdp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5" Type="http://schemas.openxmlformats.org/officeDocument/2006/relationships/image" Target="../media/image88.png"/><Relationship Id="rId33" Type="http://schemas.openxmlformats.org/officeDocument/2006/relationships/image" Target="../media/image93.png"/><Relationship Id="rId38" Type="http://schemas.openxmlformats.org/officeDocument/2006/relationships/image" Target="../media/image97.emf"/><Relationship Id="rId46" Type="http://schemas.microsoft.com/office/2007/relationships/hdphoto" Target="../media/hdphoto8.wdp"/><Relationship Id="rId20" Type="http://schemas.openxmlformats.org/officeDocument/2006/relationships/image" Target="../media/image84.png"/><Relationship Id="rId41" Type="http://schemas.openxmlformats.org/officeDocument/2006/relationships/image" Target="../media/image10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105.emf"/><Relationship Id="rId7" Type="http://schemas.openxmlformats.org/officeDocument/2006/relationships/image" Target="../media/image109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8.png"/><Relationship Id="rId11" Type="http://schemas.microsoft.com/office/2007/relationships/hdphoto" Target="../media/hdphoto10.wdp"/><Relationship Id="rId5" Type="http://schemas.openxmlformats.org/officeDocument/2006/relationships/image" Target="../media/image107.png"/><Relationship Id="rId10" Type="http://schemas.openxmlformats.org/officeDocument/2006/relationships/image" Target="../media/image110.png"/><Relationship Id="rId4" Type="http://schemas.openxmlformats.org/officeDocument/2006/relationships/image" Target="../media/image106.png"/><Relationship Id="rId9" Type="http://schemas.microsoft.com/office/2007/relationships/hdphoto" Target="../media/hdphoto7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813675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6124" y="30527"/>
            <a:ext cx="8050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General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157122" y="30527"/>
            <a:ext cx="881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Strategy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371710" y="27989"/>
            <a:ext cx="10422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Customers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52321" y="3925"/>
            <a:ext cx="15144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Service /</a:t>
            </a:r>
          </a:p>
          <a:p>
            <a:pPr algn="ctr"/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D</a:t>
            </a:r>
            <a:r>
              <a:rPr lang="en-US" sz="1600" b="1" dirty="0" smtClean="0">
                <a:solidFill>
                  <a:srgbClr val="007ABD"/>
                </a:solidFill>
                <a:latin typeface="NotesStyle-Regular" pitchFamily="50" charset="0"/>
              </a:rPr>
              <a:t>evelopment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894710" y="417286"/>
            <a:ext cx="792000" cy="792000"/>
            <a:chOff x="1741850" y="-1369962"/>
            <a:chExt cx="792000" cy="792000"/>
          </a:xfrm>
        </p:grpSpPr>
        <p:sp>
          <p:nvSpPr>
            <p:cNvPr id="11" name="Freeform 22"/>
            <p:cNvSpPr>
              <a:spLocks noEditPoints="1"/>
            </p:cNvSpPr>
            <p:nvPr/>
          </p:nvSpPr>
          <p:spPr bwMode="black">
            <a:xfrm>
              <a:off x="1833931" y="-1277801"/>
              <a:ext cx="607838" cy="607678"/>
            </a:xfrm>
            <a:custGeom>
              <a:avLst/>
              <a:gdLst>
                <a:gd name="T0" fmla="*/ 300 w 300"/>
                <a:gd name="T1" fmla="*/ 141 h 300"/>
                <a:gd name="T2" fmla="*/ 285 w 300"/>
                <a:gd name="T3" fmla="*/ 141 h 300"/>
                <a:gd name="T4" fmla="*/ 159 w 300"/>
                <a:gd name="T5" fmla="*/ 15 h 300"/>
                <a:gd name="T6" fmla="*/ 159 w 300"/>
                <a:gd name="T7" fmla="*/ 0 h 300"/>
                <a:gd name="T8" fmla="*/ 141 w 300"/>
                <a:gd name="T9" fmla="*/ 0 h 300"/>
                <a:gd name="T10" fmla="*/ 141 w 300"/>
                <a:gd name="T11" fmla="*/ 15 h 300"/>
                <a:gd name="T12" fmla="*/ 15 w 300"/>
                <a:gd name="T13" fmla="*/ 141 h 300"/>
                <a:gd name="T14" fmla="*/ 0 w 300"/>
                <a:gd name="T15" fmla="*/ 141 h 300"/>
                <a:gd name="T16" fmla="*/ 0 w 300"/>
                <a:gd name="T17" fmla="*/ 159 h 300"/>
                <a:gd name="T18" fmla="*/ 15 w 300"/>
                <a:gd name="T19" fmla="*/ 159 h 300"/>
                <a:gd name="T20" fmla="*/ 141 w 300"/>
                <a:gd name="T21" fmla="*/ 285 h 300"/>
                <a:gd name="T22" fmla="*/ 141 w 300"/>
                <a:gd name="T23" fmla="*/ 300 h 300"/>
                <a:gd name="T24" fmla="*/ 159 w 300"/>
                <a:gd name="T25" fmla="*/ 300 h 300"/>
                <a:gd name="T26" fmla="*/ 159 w 300"/>
                <a:gd name="T27" fmla="*/ 285 h 300"/>
                <a:gd name="T28" fmla="*/ 285 w 300"/>
                <a:gd name="T29" fmla="*/ 159 h 300"/>
                <a:gd name="T30" fmla="*/ 300 w 300"/>
                <a:gd name="T31" fmla="*/ 159 h 300"/>
                <a:gd name="T32" fmla="*/ 300 w 300"/>
                <a:gd name="T33" fmla="*/ 141 h 300"/>
                <a:gd name="T34" fmla="*/ 258 w 300"/>
                <a:gd name="T35" fmla="*/ 141 h 300"/>
                <a:gd name="T36" fmla="*/ 230 w 300"/>
                <a:gd name="T37" fmla="*/ 141 h 300"/>
                <a:gd name="T38" fmla="*/ 159 w 300"/>
                <a:gd name="T39" fmla="*/ 70 h 300"/>
                <a:gd name="T40" fmla="*/ 159 w 300"/>
                <a:gd name="T41" fmla="*/ 42 h 300"/>
                <a:gd name="T42" fmla="*/ 258 w 300"/>
                <a:gd name="T43" fmla="*/ 141 h 300"/>
                <a:gd name="T44" fmla="*/ 141 w 300"/>
                <a:gd name="T45" fmla="*/ 125 h 300"/>
                <a:gd name="T46" fmla="*/ 125 w 300"/>
                <a:gd name="T47" fmla="*/ 141 h 300"/>
                <a:gd name="T48" fmla="*/ 97 w 300"/>
                <a:gd name="T49" fmla="*/ 141 h 300"/>
                <a:gd name="T50" fmla="*/ 141 w 300"/>
                <a:gd name="T51" fmla="*/ 97 h 300"/>
                <a:gd name="T52" fmla="*/ 141 w 300"/>
                <a:gd name="T53" fmla="*/ 125 h 300"/>
                <a:gd name="T54" fmla="*/ 125 w 300"/>
                <a:gd name="T55" fmla="*/ 159 h 300"/>
                <a:gd name="T56" fmla="*/ 141 w 300"/>
                <a:gd name="T57" fmla="*/ 175 h 300"/>
                <a:gd name="T58" fmla="*/ 141 w 300"/>
                <a:gd name="T59" fmla="*/ 203 h 300"/>
                <a:gd name="T60" fmla="*/ 97 w 300"/>
                <a:gd name="T61" fmla="*/ 159 h 300"/>
                <a:gd name="T62" fmla="*/ 125 w 300"/>
                <a:gd name="T63" fmla="*/ 159 h 300"/>
                <a:gd name="T64" fmla="*/ 159 w 300"/>
                <a:gd name="T65" fmla="*/ 175 h 300"/>
                <a:gd name="T66" fmla="*/ 175 w 300"/>
                <a:gd name="T67" fmla="*/ 159 h 300"/>
                <a:gd name="T68" fmla="*/ 203 w 300"/>
                <a:gd name="T69" fmla="*/ 159 h 300"/>
                <a:gd name="T70" fmla="*/ 159 w 300"/>
                <a:gd name="T71" fmla="*/ 203 h 300"/>
                <a:gd name="T72" fmla="*/ 159 w 300"/>
                <a:gd name="T73" fmla="*/ 175 h 300"/>
                <a:gd name="T74" fmla="*/ 175 w 300"/>
                <a:gd name="T75" fmla="*/ 141 h 300"/>
                <a:gd name="T76" fmla="*/ 159 w 300"/>
                <a:gd name="T77" fmla="*/ 125 h 300"/>
                <a:gd name="T78" fmla="*/ 159 w 300"/>
                <a:gd name="T79" fmla="*/ 97 h 300"/>
                <a:gd name="T80" fmla="*/ 203 w 300"/>
                <a:gd name="T81" fmla="*/ 141 h 300"/>
                <a:gd name="T82" fmla="*/ 175 w 300"/>
                <a:gd name="T83" fmla="*/ 141 h 300"/>
                <a:gd name="T84" fmla="*/ 141 w 300"/>
                <a:gd name="T85" fmla="*/ 42 h 300"/>
                <a:gd name="T86" fmla="*/ 141 w 300"/>
                <a:gd name="T87" fmla="*/ 70 h 300"/>
                <a:gd name="T88" fmla="*/ 70 w 300"/>
                <a:gd name="T89" fmla="*/ 141 h 300"/>
                <a:gd name="T90" fmla="*/ 42 w 300"/>
                <a:gd name="T91" fmla="*/ 141 h 300"/>
                <a:gd name="T92" fmla="*/ 141 w 300"/>
                <a:gd name="T93" fmla="*/ 42 h 300"/>
                <a:gd name="T94" fmla="*/ 42 w 300"/>
                <a:gd name="T95" fmla="*/ 159 h 300"/>
                <a:gd name="T96" fmla="*/ 70 w 300"/>
                <a:gd name="T97" fmla="*/ 159 h 300"/>
                <a:gd name="T98" fmla="*/ 141 w 300"/>
                <a:gd name="T99" fmla="*/ 230 h 300"/>
                <a:gd name="T100" fmla="*/ 141 w 300"/>
                <a:gd name="T101" fmla="*/ 258 h 300"/>
                <a:gd name="T102" fmla="*/ 42 w 300"/>
                <a:gd name="T103" fmla="*/ 159 h 300"/>
                <a:gd name="T104" fmla="*/ 159 w 300"/>
                <a:gd name="T105" fmla="*/ 258 h 300"/>
                <a:gd name="T106" fmla="*/ 159 w 300"/>
                <a:gd name="T107" fmla="*/ 230 h 300"/>
                <a:gd name="T108" fmla="*/ 230 w 300"/>
                <a:gd name="T109" fmla="*/ 159 h 300"/>
                <a:gd name="T110" fmla="*/ 258 w 300"/>
                <a:gd name="T111" fmla="*/ 159 h 300"/>
                <a:gd name="T112" fmla="*/ 159 w 300"/>
                <a:gd name="T113" fmla="*/ 2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0" h="300">
                  <a:moveTo>
                    <a:pt x="300" y="141"/>
                  </a:moveTo>
                  <a:cubicBezTo>
                    <a:pt x="285" y="141"/>
                    <a:pt x="285" y="141"/>
                    <a:pt x="285" y="141"/>
                  </a:cubicBezTo>
                  <a:cubicBezTo>
                    <a:pt x="280" y="74"/>
                    <a:pt x="226" y="20"/>
                    <a:pt x="159" y="15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74" y="20"/>
                    <a:pt x="20" y="74"/>
                    <a:pt x="15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5" y="159"/>
                    <a:pt x="15" y="159"/>
                    <a:pt x="15" y="159"/>
                  </a:cubicBezTo>
                  <a:cubicBezTo>
                    <a:pt x="20" y="226"/>
                    <a:pt x="74" y="280"/>
                    <a:pt x="141" y="285"/>
                  </a:cubicBezTo>
                  <a:cubicBezTo>
                    <a:pt x="141" y="300"/>
                    <a:pt x="141" y="300"/>
                    <a:pt x="141" y="300"/>
                  </a:cubicBezTo>
                  <a:cubicBezTo>
                    <a:pt x="159" y="300"/>
                    <a:pt x="159" y="300"/>
                    <a:pt x="159" y="300"/>
                  </a:cubicBezTo>
                  <a:cubicBezTo>
                    <a:pt x="159" y="285"/>
                    <a:pt x="159" y="285"/>
                    <a:pt x="159" y="285"/>
                  </a:cubicBezTo>
                  <a:cubicBezTo>
                    <a:pt x="226" y="280"/>
                    <a:pt x="280" y="226"/>
                    <a:pt x="285" y="159"/>
                  </a:cubicBezTo>
                  <a:cubicBezTo>
                    <a:pt x="300" y="159"/>
                    <a:pt x="300" y="159"/>
                    <a:pt x="300" y="159"/>
                  </a:cubicBezTo>
                  <a:lnTo>
                    <a:pt x="300" y="141"/>
                  </a:lnTo>
                  <a:close/>
                  <a:moveTo>
                    <a:pt x="258" y="141"/>
                  </a:moveTo>
                  <a:cubicBezTo>
                    <a:pt x="230" y="141"/>
                    <a:pt x="230" y="141"/>
                    <a:pt x="230" y="141"/>
                  </a:cubicBezTo>
                  <a:cubicBezTo>
                    <a:pt x="226" y="103"/>
                    <a:pt x="197" y="74"/>
                    <a:pt x="159" y="70"/>
                  </a:cubicBezTo>
                  <a:cubicBezTo>
                    <a:pt x="159" y="42"/>
                    <a:pt x="159" y="42"/>
                    <a:pt x="159" y="42"/>
                  </a:cubicBezTo>
                  <a:cubicBezTo>
                    <a:pt x="211" y="47"/>
                    <a:pt x="253" y="89"/>
                    <a:pt x="258" y="141"/>
                  </a:cubicBezTo>
                  <a:close/>
                  <a:moveTo>
                    <a:pt x="141" y="125"/>
                  </a:moveTo>
                  <a:cubicBezTo>
                    <a:pt x="133" y="127"/>
                    <a:pt x="127" y="133"/>
                    <a:pt x="125" y="141"/>
                  </a:cubicBezTo>
                  <a:cubicBezTo>
                    <a:pt x="97" y="141"/>
                    <a:pt x="97" y="141"/>
                    <a:pt x="97" y="141"/>
                  </a:cubicBezTo>
                  <a:cubicBezTo>
                    <a:pt x="101" y="118"/>
                    <a:pt x="118" y="101"/>
                    <a:pt x="141" y="97"/>
                  </a:cubicBezTo>
                  <a:lnTo>
                    <a:pt x="141" y="125"/>
                  </a:lnTo>
                  <a:close/>
                  <a:moveTo>
                    <a:pt x="125" y="159"/>
                  </a:moveTo>
                  <a:cubicBezTo>
                    <a:pt x="127" y="167"/>
                    <a:pt x="133" y="173"/>
                    <a:pt x="141" y="175"/>
                  </a:cubicBezTo>
                  <a:cubicBezTo>
                    <a:pt x="141" y="203"/>
                    <a:pt x="141" y="203"/>
                    <a:pt x="141" y="203"/>
                  </a:cubicBezTo>
                  <a:cubicBezTo>
                    <a:pt x="118" y="199"/>
                    <a:pt x="101" y="182"/>
                    <a:pt x="97" y="159"/>
                  </a:cubicBezTo>
                  <a:lnTo>
                    <a:pt x="125" y="159"/>
                  </a:lnTo>
                  <a:close/>
                  <a:moveTo>
                    <a:pt x="159" y="175"/>
                  </a:moveTo>
                  <a:cubicBezTo>
                    <a:pt x="167" y="173"/>
                    <a:pt x="173" y="167"/>
                    <a:pt x="175" y="159"/>
                  </a:cubicBezTo>
                  <a:cubicBezTo>
                    <a:pt x="203" y="159"/>
                    <a:pt x="203" y="159"/>
                    <a:pt x="203" y="159"/>
                  </a:cubicBezTo>
                  <a:cubicBezTo>
                    <a:pt x="199" y="182"/>
                    <a:pt x="182" y="199"/>
                    <a:pt x="159" y="203"/>
                  </a:cubicBezTo>
                  <a:lnTo>
                    <a:pt x="159" y="175"/>
                  </a:lnTo>
                  <a:close/>
                  <a:moveTo>
                    <a:pt x="175" y="141"/>
                  </a:moveTo>
                  <a:cubicBezTo>
                    <a:pt x="173" y="133"/>
                    <a:pt x="167" y="127"/>
                    <a:pt x="159" y="125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82" y="101"/>
                    <a:pt x="199" y="118"/>
                    <a:pt x="203" y="141"/>
                  </a:cubicBezTo>
                  <a:lnTo>
                    <a:pt x="175" y="141"/>
                  </a:lnTo>
                  <a:close/>
                  <a:moveTo>
                    <a:pt x="141" y="42"/>
                  </a:moveTo>
                  <a:cubicBezTo>
                    <a:pt x="141" y="70"/>
                    <a:pt x="141" y="70"/>
                    <a:pt x="141" y="70"/>
                  </a:cubicBezTo>
                  <a:cubicBezTo>
                    <a:pt x="103" y="74"/>
                    <a:pt x="74" y="103"/>
                    <a:pt x="70" y="141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47" y="89"/>
                    <a:pt x="89" y="47"/>
                    <a:pt x="141" y="42"/>
                  </a:cubicBezTo>
                  <a:close/>
                  <a:moveTo>
                    <a:pt x="42" y="159"/>
                  </a:moveTo>
                  <a:cubicBezTo>
                    <a:pt x="70" y="159"/>
                    <a:pt x="70" y="159"/>
                    <a:pt x="70" y="159"/>
                  </a:cubicBezTo>
                  <a:cubicBezTo>
                    <a:pt x="74" y="197"/>
                    <a:pt x="103" y="226"/>
                    <a:pt x="141" y="230"/>
                  </a:cubicBezTo>
                  <a:cubicBezTo>
                    <a:pt x="141" y="258"/>
                    <a:pt x="141" y="258"/>
                    <a:pt x="141" y="258"/>
                  </a:cubicBezTo>
                  <a:cubicBezTo>
                    <a:pt x="89" y="253"/>
                    <a:pt x="47" y="211"/>
                    <a:pt x="42" y="159"/>
                  </a:cubicBezTo>
                  <a:close/>
                  <a:moveTo>
                    <a:pt x="159" y="258"/>
                  </a:moveTo>
                  <a:cubicBezTo>
                    <a:pt x="159" y="230"/>
                    <a:pt x="159" y="230"/>
                    <a:pt x="159" y="230"/>
                  </a:cubicBezTo>
                  <a:cubicBezTo>
                    <a:pt x="197" y="226"/>
                    <a:pt x="226" y="197"/>
                    <a:pt x="230" y="159"/>
                  </a:cubicBezTo>
                  <a:cubicBezTo>
                    <a:pt x="258" y="159"/>
                    <a:pt x="258" y="159"/>
                    <a:pt x="258" y="159"/>
                  </a:cubicBezTo>
                  <a:cubicBezTo>
                    <a:pt x="253" y="211"/>
                    <a:pt x="211" y="253"/>
                    <a:pt x="159" y="258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41850" y="-136996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217717" y="417286"/>
            <a:ext cx="792000" cy="792000"/>
            <a:chOff x="4052479" y="-1812551"/>
            <a:chExt cx="792000" cy="792000"/>
          </a:xfrm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4097290" y="-1711662"/>
              <a:ext cx="702379" cy="590223"/>
            </a:xfrm>
            <a:custGeom>
              <a:avLst/>
              <a:gdLst>
                <a:gd name="T0" fmla="*/ 142 w 142"/>
                <a:gd name="T1" fmla="*/ 60 h 119"/>
                <a:gd name="T2" fmla="*/ 82 w 142"/>
                <a:gd name="T3" fmla="*/ 119 h 119"/>
                <a:gd name="T4" fmla="*/ 23 w 142"/>
                <a:gd name="T5" fmla="*/ 60 h 119"/>
                <a:gd name="T6" fmla="*/ 23 w 142"/>
                <a:gd name="T7" fmla="*/ 58 h 119"/>
                <a:gd name="T8" fmla="*/ 33 w 142"/>
                <a:gd name="T9" fmla="*/ 58 h 119"/>
                <a:gd name="T10" fmla="*/ 33 w 142"/>
                <a:gd name="T11" fmla="*/ 60 h 119"/>
                <a:gd name="T12" fmla="*/ 82 w 142"/>
                <a:gd name="T13" fmla="*/ 109 h 119"/>
                <a:gd name="T14" fmla="*/ 131 w 142"/>
                <a:gd name="T15" fmla="*/ 60 h 119"/>
                <a:gd name="T16" fmla="*/ 82 w 142"/>
                <a:gd name="T17" fmla="*/ 10 h 119"/>
                <a:gd name="T18" fmla="*/ 57 w 142"/>
                <a:gd name="T19" fmla="*/ 18 h 119"/>
                <a:gd name="T20" fmla="*/ 51 w 142"/>
                <a:gd name="T21" fmla="*/ 9 h 119"/>
                <a:gd name="T22" fmla="*/ 82 w 142"/>
                <a:gd name="T23" fmla="*/ 0 h 119"/>
                <a:gd name="T24" fmla="*/ 142 w 142"/>
                <a:gd name="T25" fmla="*/ 60 h 119"/>
                <a:gd name="T26" fmla="*/ 46 w 142"/>
                <a:gd name="T27" fmla="*/ 59 h 119"/>
                <a:gd name="T28" fmla="*/ 46 w 142"/>
                <a:gd name="T29" fmla="*/ 60 h 119"/>
                <a:gd name="T30" fmla="*/ 82 w 142"/>
                <a:gd name="T31" fmla="*/ 96 h 119"/>
                <a:gd name="T32" fmla="*/ 119 w 142"/>
                <a:gd name="T33" fmla="*/ 60 h 119"/>
                <a:gd name="T34" fmla="*/ 82 w 142"/>
                <a:gd name="T35" fmla="*/ 23 h 119"/>
                <a:gd name="T36" fmla="*/ 63 w 142"/>
                <a:gd name="T37" fmla="*/ 29 h 119"/>
                <a:gd name="T38" fmla="*/ 68 w 142"/>
                <a:gd name="T39" fmla="*/ 38 h 119"/>
                <a:gd name="T40" fmla="*/ 82 w 142"/>
                <a:gd name="T41" fmla="*/ 34 h 119"/>
                <a:gd name="T42" fmla="*/ 108 w 142"/>
                <a:gd name="T43" fmla="*/ 60 h 119"/>
                <a:gd name="T44" fmla="*/ 82 w 142"/>
                <a:gd name="T45" fmla="*/ 85 h 119"/>
                <a:gd name="T46" fmla="*/ 57 w 142"/>
                <a:gd name="T47" fmla="*/ 60 h 119"/>
                <a:gd name="T48" fmla="*/ 57 w 142"/>
                <a:gd name="T49" fmla="*/ 59 h 119"/>
                <a:gd name="T50" fmla="*/ 46 w 142"/>
                <a:gd name="T51" fmla="*/ 59 h 119"/>
                <a:gd name="T52" fmla="*/ 23 w 142"/>
                <a:gd name="T53" fmla="*/ 38 h 119"/>
                <a:gd name="T54" fmla="*/ 30 w 142"/>
                <a:gd name="T55" fmla="*/ 35 h 119"/>
                <a:gd name="T56" fmla="*/ 70 w 142"/>
                <a:gd name="T57" fmla="*/ 58 h 119"/>
                <a:gd name="T58" fmla="*/ 70 w 142"/>
                <a:gd name="T59" fmla="*/ 60 h 119"/>
                <a:gd name="T60" fmla="*/ 82 w 142"/>
                <a:gd name="T61" fmla="*/ 72 h 119"/>
                <a:gd name="T62" fmla="*/ 95 w 142"/>
                <a:gd name="T63" fmla="*/ 60 h 119"/>
                <a:gd name="T64" fmla="*/ 82 w 142"/>
                <a:gd name="T65" fmla="*/ 47 h 119"/>
                <a:gd name="T66" fmla="*/ 76 w 142"/>
                <a:gd name="T67" fmla="*/ 49 h 119"/>
                <a:gd name="T68" fmla="*/ 35 w 142"/>
                <a:gd name="T69" fmla="*/ 26 h 119"/>
                <a:gd name="T70" fmla="*/ 36 w 142"/>
                <a:gd name="T71" fmla="*/ 18 h 119"/>
                <a:gd name="T72" fmla="*/ 16 w 142"/>
                <a:gd name="T73" fmla="*/ 3 h 119"/>
                <a:gd name="T74" fmla="*/ 20 w 142"/>
                <a:gd name="T75" fmla="*/ 22 h 119"/>
                <a:gd name="T76" fmla="*/ 0 w 142"/>
                <a:gd name="T77" fmla="*/ 25 h 119"/>
                <a:gd name="T78" fmla="*/ 23 w 142"/>
                <a:gd name="T79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2" h="119">
                  <a:moveTo>
                    <a:pt x="142" y="60"/>
                  </a:moveTo>
                  <a:cubicBezTo>
                    <a:pt x="142" y="93"/>
                    <a:pt x="115" y="119"/>
                    <a:pt x="82" y="119"/>
                  </a:cubicBezTo>
                  <a:cubicBezTo>
                    <a:pt x="49" y="119"/>
                    <a:pt x="23" y="93"/>
                    <a:pt x="23" y="60"/>
                  </a:cubicBezTo>
                  <a:cubicBezTo>
                    <a:pt x="23" y="59"/>
                    <a:pt x="23" y="58"/>
                    <a:pt x="2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9"/>
                    <a:pt x="33" y="60"/>
                  </a:cubicBezTo>
                  <a:cubicBezTo>
                    <a:pt x="33" y="87"/>
                    <a:pt x="55" y="109"/>
                    <a:pt x="82" y="109"/>
                  </a:cubicBezTo>
                  <a:cubicBezTo>
                    <a:pt x="109" y="109"/>
                    <a:pt x="131" y="87"/>
                    <a:pt x="131" y="60"/>
                  </a:cubicBezTo>
                  <a:cubicBezTo>
                    <a:pt x="131" y="33"/>
                    <a:pt x="109" y="10"/>
                    <a:pt x="82" y="10"/>
                  </a:cubicBezTo>
                  <a:cubicBezTo>
                    <a:pt x="73" y="10"/>
                    <a:pt x="64" y="13"/>
                    <a:pt x="57" y="18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60" y="3"/>
                    <a:pt x="71" y="0"/>
                    <a:pt x="82" y="0"/>
                  </a:cubicBezTo>
                  <a:cubicBezTo>
                    <a:pt x="115" y="0"/>
                    <a:pt x="142" y="27"/>
                    <a:pt x="142" y="60"/>
                  </a:cubicBezTo>
                  <a:close/>
                  <a:moveTo>
                    <a:pt x="46" y="59"/>
                  </a:moveTo>
                  <a:cubicBezTo>
                    <a:pt x="46" y="60"/>
                    <a:pt x="46" y="60"/>
                    <a:pt x="46" y="60"/>
                  </a:cubicBezTo>
                  <a:cubicBezTo>
                    <a:pt x="46" y="80"/>
                    <a:pt x="62" y="96"/>
                    <a:pt x="82" y="96"/>
                  </a:cubicBezTo>
                  <a:cubicBezTo>
                    <a:pt x="102" y="96"/>
                    <a:pt x="119" y="80"/>
                    <a:pt x="119" y="60"/>
                  </a:cubicBezTo>
                  <a:cubicBezTo>
                    <a:pt x="119" y="40"/>
                    <a:pt x="102" y="23"/>
                    <a:pt x="82" y="23"/>
                  </a:cubicBezTo>
                  <a:cubicBezTo>
                    <a:pt x="75" y="23"/>
                    <a:pt x="69" y="25"/>
                    <a:pt x="63" y="2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73" y="35"/>
                    <a:pt x="77" y="34"/>
                    <a:pt x="82" y="34"/>
                  </a:cubicBezTo>
                  <a:cubicBezTo>
                    <a:pt x="96" y="34"/>
                    <a:pt x="108" y="45"/>
                    <a:pt x="108" y="60"/>
                  </a:cubicBezTo>
                  <a:cubicBezTo>
                    <a:pt x="108" y="74"/>
                    <a:pt x="96" y="85"/>
                    <a:pt x="82" y="85"/>
                  </a:cubicBezTo>
                  <a:cubicBezTo>
                    <a:pt x="68" y="85"/>
                    <a:pt x="57" y="74"/>
                    <a:pt x="57" y="60"/>
                  </a:cubicBezTo>
                  <a:cubicBezTo>
                    <a:pt x="57" y="59"/>
                    <a:pt x="57" y="59"/>
                    <a:pt x="57" y="59"/>
                  </a:cubicBezTo>
                  <a:lnTo>
                    <a:pt x="46" y="59"/>
                  </a:lnTo>
                  <a:close/>
                  <a:moveTo>
                    <a:pt x="23" y="38"/>
                  </a:moveTo>
                  <a:cubicBezTo>
                    <a:pt x="30" y="35"/>
                    <a:pt x="30" y="35"/>
                    <a:pt x="30" y="35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9"/>
                    <a:pt x="70" y="59"/>
                    <a:pt x="70" y="60"/>
                  </a:cubicBezTo>
                  <a:cubicBezTo>
                    <a:pt x="70" y="67"/>
                    <a:pt x="75" y="72"/>
                    <a:pt x="82" y="72"/>
                  </a:cubicBezTo>
                  <a:cubicBezTo>
                    <a:pt x="89" y="72"/>
                    <a:pt x="95" y="67"/>
                    <a:pt x="95" y="60"/>
                  </a:cubicBezTo>
                  <a:cubicBezTo>
                    <a:pt x="95" y="53"/>
                    <a:pt x="89" y="47"/>
                    <a:pt x="82" y="47"/>
                  </a:cubicBezTo>
                  <a:cubicBezTo>
                    <a:pt x="80" y="47"/>
                    <a:pt x="77" y="48"/>
                    <a:pt x="76" y="49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0" y="25"/>
                    <a:pt x="0" y="25"/>
                    <a:pt x="0" y="25"/>
                  </a:cubicBezTo>
                  <a:lnTo>
                    <a:pt x="23" y="38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defTabSz="932574"/>
              <a:endParaRPr lang="en-US" sz="1600">
                <a:solidFill>
                  <a:srgbClr val="505050"/>
                </a:solidFill>
                <a:latin typeface="Calibri" panose="020F0502020204030204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052479" y="-181255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372288" y="417286"/>
            <a:ext cx="792000" cy="792000"/>
            <a:chOff x="3165405" y="-1657493"/>
            <a:chExt cx="792000" cy="792000"/>
          </a:xfrm>
        </p:grpSpPr>
        <p:sp>
          <p:nvSpPr>
            <p:cNvPr id="17" name="Freeform 76"/>
            <p:cNvSpPr>
              <a:spLocks noChangeAspect="1" noEditPoints="1"/>
            </p:cNvSpPr>
            <p:nvPr/>
          </p:nvSpPr>
          <p:spPr bwMode="auto">
            <a:xfrm>
              <a:off x="3209260" y="-1614531"/>
              <a:ext cx="704291" cy="706076"/>
            </a:xfrm>
            <a:custGeom>
              <a:avLst/>
              <a:gdLst>
                <a:gd name="T0" fmla="*/ 0 w 1088"/>
                <a:gd name="T1" fmla="*/ 313961 h 1088"/>
                <a:gd name="T2" fmla="*/ 626946 w 1088"/>
                <a:gd name="T3" fmla="*/ 313961 h 1088"/>
                <a:gd name="T4" fmla="*/ 313473 w 1088"/>
                <a:gd name="T5" fmla="*/ 581750 h 1088"/>
                <a:gd name="T6" fmla="*/ 103723 w 1088"/>
                <a:gd name="T7" fmla="*/ 369942 h 1088"/>
                <a:gd name="T8" fmla="*/ 87012 w 1088"/>
                <a:gd name="T9" fmla="*/ 171986 h 1088"/>
                <a:gd name="T10" fmla="*/ 552035 w 1088"/>
                <a:gd name="T11" fmla="*/ 192762 h 1088"/>
                <a:gd name="T12" fmla="*/ 529562 w 1088"/>
                <a:gd name="T13" fmla="*/ 369942 h 1088"/>
                <a:gd name="T14" fmla="*/ 313473 w 1088"/>
                <a:gd name="T15" fmla="*/ 581750 h 1088"/>
                <a:gd name="T16" fmla="*/ 464447 w 1088"/>
                <a:gd name="T17" fmla="*/ 417267 h 1088"/>
                <a:gd name="T18" fmla="*/ 384926 w 1088"/>
                <a:gd name="T19" fmla="*/ 365325 h 1088"/>
                <a:gd name="T20" fmla="*/ 446584 w 1088"/>
                <a:gd name="T21" fmla="*/ 413227 h 1088"/>
                <a:gd name="T22" fmla="*/ 424687 w 1088"/>
                <a:gd name="T23" fmla="*/ 440930 h 1088"/>
                <a:gd name="T24" fmla="*/ 347471 w 1088"/>
                <a:gd name="T25" fmla="*/ 389565 h 1088"/>
                <a:gd name="T26" fmla="*/ 406823 w 1088"/>
                <a:gd name="T27" fmla="*/ 436890 h 1088"/>
                <a:gd name="T28" fmla="*/ 384926 w 1088"/>
                <a:gd name="T29" fmla="*/ 462861 h 1088"/>
                <a:gd name="T30" fmla="*/ 327303 w 1088"/>
                <a:gd name="T31" fmla="*/ 427079 h 1088"/>
                <a:gd name="T32" fmla="*/ 361301 w 1088"/>
                <a:gd name="T33" fmla="*/ 457089 h 1088"/>
                <a:gd name="T34" fmla="*/ 341709 w 1088"/>
                <a:gd name="T35" fmla="*/ 482483 h 1088"/>
                <a:gd name="T36" fmla="*/ 311744 w 1088"/>
                <a:gd name="T37" fmla="*/ 429387 h 1088"/>
                <a:gd name="T38" fmla="*/ 284085 w 1088"/>
                <a:gd name="T39" fmla="*/ 387256 h 1088"/>
                <a:gd name="T40" fmla="*/ 273713 w 1088"/>
                <a:gd name="T41" fmla="*/ 385525 h 1088"/>
                <a:gd name="T42" fmla="*/ 244325 w 1088"/>
                <a:gd name="T43" fmla="*/ 357823 h 1088"/>
                <a:gd name="T44" fmla="*/ 202259 w 1088"/>
                <a:gd name="T45" fmla="*/ 353783 h 1088"/>
                <a:gd name="T46" fmla="*/ 178634 w 1088"/>
                <a:gd name="T47" fmla="*/ 357823 h 1088"/>
                <a:gd name="T48" fmla="*/ 146940 w 1088"/>
                <a:gd name="T49" fmla="*/ 349743 h 1088"/>
                <a:gd name="T50" fmla="*/ 116976 w 1088"/>
                <a:gd name="T51" fmla="*/ 367634 h 1088"/>
                <a:gd name="T52" fmla="*/ 176329 w 1088"/>
                <a:gd name="T53" fmla="*/ 210654 h 1088"/>
                <a:gd name="T54" fmla="*/ 166533 w 1088"/>
                <a:gd name="T55" fmla="*/ 264327 h 1088"/>
                <a:gd name="T56" fmla="*/ 226461 w 1088"/>
                <a:gd name="T57" fmla="*/ 282218 h 1088"/>
                <a:gd name="T58" fmla="*/ 285814 w 1088"/>
                <a:gd name="T59" fmla="*/ 248167 h 1088"/>
                <a:gd name="T60" fmla="*/ 478277 w 1088"/>
                <a:gd name="T61" fmla="*/ 377445 h 1088"/>
                <a:gd name="T62" fmla="*/ 478277 w 1088"/>
                <a:gd name="T63" fmla="*/ 226236 h 1088"/>
                <a:gd name="T64" fmla="*/ 488073 w 1088"/>
                <a:gd name="T65" fmla="*/ 367634 h 1088"/>
                <a:gd name="T66" fmla="*/ 388960 w 1088"/>
                <a:gd name="T67" fmla="*/ 295492 h 1088"/>
                <a:gd name="T68" fmla="*/ 286390 w 1088"/>
                <a:gd name="T69" fmla="*/ 232008 h 1088"/>
                <a:gd name="T70" fmla="*/ 202835 w 1088"/>
                <a:gd name="T71" fmla="*/ 271830 h 1088"/>
                <a:gd name="T72" fmla="*/ 191311 w 1088"/>
                <a:gd name="T73" fmla="*/ 218156 h 1088"/>
                <a:gd name="T74" fmla="*/ 270255 w 1088"/>
                <a:gd name="T75" fmla="*/ 174294 h 1088"/>
                <a:gd name="T76" fmla="*/ 409128 w 1088"/>
                <a:gd name="T77" fmla="*/ 223928 h 1088"/>
                <a:gd name="T78" fmla="*/ 478277 w 1088"/>
                <a:gd name="T79" fmla="*/ 226236 h 1088"/>
                <a:gd name="T80" fmla="*/ 289271 w 1088"/>
                <a:gd name="T81" fmla="*/ 461129 h 1088"/>
                <a:gd name="T82" fmla="*/ 263917 w 1088"/>
                <a:gd name="T83" fmla="*/ 479021 h 1088"/>
                <a:gd name="T84" fmla="*/ 225885 w 1088"/>
                <a:gd name="T85" fmla="*/ 465169 h 1088"/>
                <a:gd name="T86" fmla="*/ 206293 w 1088"/>
                <a:gd name="T87" fmla="*/ 439198 h 1088"/>
                <a:gd name="T88" fmla="*/ 186125 w 1088"/>
                <a:gd name="T89" fmla="*/ 447278 h 1088"/>
                <a:gd name="T90" fmla="*/ 168261 w 1088"/>
                <a:gd name="T91" fmla="*/ 431119 h 1088"/>
                <a:gd name="T92" fmla="*/ 158465 w 1088"/>
                <a:gd name="T93" fmla="*/ 433427 h 1088"/>
                <a:gd name="T94" fmla="*/ 132535 w 1088"/>
                <a:gd name="T95" fmla="*/ 388988 h 1088"/>
                <a:gd name="T96" fmla="*/ 176329 w 1088"/>
                <a:gd name="T97" fmla="*/ 381485 h 1088"/>
                <a:gd name="T98" fmla="*/ 217818 w 1088"/>
                <a:gd name="T99" fmla="*/ 388988 h 1088"/>
                <a:gd name="T100" fmla="*/ 243748 w 1088"/>
                <a:gd name="T101" fmla="*/ 371097 h 1088"/>
                <a:gd name="T102" fmla="*/ 257578 w 1088"/>
                <a:gd name="T103" fmla="*/ 411496 h 1088"/>
                <a:gd name="T104" fmla="*/ 297338 w 1088"/>
                <a:gd name="T105" fmla="*/ 427079 h 108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88"/>
                <a:gd name="T160" fmla="*/ 0 h 1088"/>
                <a:gd name="T161" fmla="*/ 1088 w 1088"/>
                <a:gd name="T162" fmla="*/ 1088 h 108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88" h="1088">
                  <a:moveTo>
                    <a:pt x="544" y="0"/>
                  </a:moveTo>
                  <a:cubicBezTo>
                    <a:pt x="244" y="0"/>
                    <a:pt x="0" y="244"/>
                    <a:pt x="0" y="544"/>
                  </a:cubicBezTo>
                  <a:cubicBezTo>
                    <a:pt x="0" y="844"/>
                    <a:pt x="244" y="1088"/>
                    <a:pt x="544" y="1088"/>
                  </a:cubicBezTo>
                  <a:cubicBezTo>
                    <a:pt x="844" y="1088"/>
                    <a:pt x="1088" y="844"/>
                    <a:pt x="1088" y="544"/>
                  </a:cubicBezTo>
                  <a:cubicBezTo>
                    <a:pt x="1088" y="244"/>
                    <a:pt x="844" y="0"/>
                    <a:pt x="544" y="0"/>
                  </a:cubicBezTo>
                  <a:close/>
                  <a:moveTo>
                    <a:pt x="544" y="1008"/>
                  </a:moveTo>
                  <a:cubicBezTo>
                    <a:pt x="315" y="1008"/>
                    <a:pt x="125" y="843"/>
                    <a:pt x="87" y="625"/>
                  </a:cubicBezTo>
                  <a:cubicBezTo>
                    <a:pt x="136" y="634"/>
                    <a:pt x="180" y="641"/>
                    <a:pt x="180" y="641"/>
                  </a:cubicBezTo>
                  <a:cubicBezTo>
                    <a:pt x="173" y="496"/>
                    <a:pt x="252" y="348"/>
                    <a:pt x="252" y="348"/>
                  </a:cubicBezTo>
                  <a:cubicBezTo>
                    <a:pt x="224" y="332"/>
                    <a:pt x="178" y="310"/>
                    <a:pt x="151" y="298"/>
                  </a:cubicBezTo>
                  <a:cubicBezTo>
                    <a:pt x="233" y="167"/>
                    <a:pt x="378" y="80"/>
                    <a:pt x="544" y="80"/>
                  </a:cubicBezTo>
                  <a:cubicBezTo>
                    <a:pt x="725" y="80"/>
                    <a:pt x="881" y="183"/>
                    <a:pt x="958" y="334"/>
                  </a:cubicBezTo>
                  <a:cubicBezTo>
                    <a:pt x="893" y="353"/>
                    <a:pt x="844" y="372"/>
                    <a:pt x="844" y="372"/>
                  </a:cubicBezTo>
                  <a:cubicBezTo>
                    <a:pt x="844" y="372"/>
                    <a:pt x="929" y="458"/>
                    <a:pt x="919" y="641"/>
                  </a:cubicBezTo>
                  <a:cubicBezTo>
                    <a:pt x="939" y="641"/>
                    <a:pt x="972" y="637"/>
                    <a:pt x="999" y="634"/>
                  </a:cubicBezTo>
                  <a:cubicBezTo>
                    <a:pt x="957" y="847"/>
                    <a:pt x="770" y="1008"/>
                    <a:pt x="544" y="1008"/>
                  </a:cubicBezTo>
                  <a:close/>
                  <a:moveTo>
                    <a:pt x="837" y="706"/>
                  </a:moveTo>
                  <a:cubicBezTo>
                    <a:pt x="830" y="716"/>
                    <a:pt x="820" y="723"/>
                    <a:pt x="806" y="723"/>
                  </a:cubicBezTo>
                  <a:cubicBezTo>
                    <a:pt x="806" y="723"/>
                    <a:pt x="806" y="723"/>
                    <a:pt x="679" y="630"/>
                  </a:cubicBezTo>
                  <a:cubicBezTo>
                    <a:pt x="675" y="627"/>
                    <a:pt x="672" y="630"/>
                    <a:pt x="668" y="633"/>
                  </a:cubicBezTo>
                  <a:cubicBezTo>
                    <a:pt x="668" y="637"/>
                    <a:pt x="668" y="640"/>
                    <a:pt x="672" y="644"/>
                  </a:cubicBezTo>
                  <a:cubicBezTo>
                    <a:pt x="672" y="644"/>
                    <a:pt x="672" y="644"/>
                    <a:pt x="775" y="716"/>
                  </a:cubicBezTo>
                  <a:cubicBezTo>
                    <a:pt x="775" y="726"/>
                    <a:pt x="775" y="737"/>
                    <a:pt x="768" y="747"/>
                  </a:cubicBezTo>
                  <a:cubicBezTo>
                    <a:pt x="762" y="757"/>
                    <a:pt x="748" y="764"/>
                    <a:pt x="737" y="764"/>
                  </a:cubicBezTo>
                  <a:cubicBezTo>
                    <a:pt x="737" y="764"/>
                    <a:pt x="737" y="764"/>
                    <a:pt x="613" y="671"/>
                  </a:cubicBezTo>
                  <a:cubicBezTo>
                    <a:pt x="610" y="671"/>
                    <a:pt x="603" y="671"/>
                    <a:pt x="603" y="675"/>
                  </a:cubicBezTo>
                  <a:cubicBezTo>
                    <a:pt x="599" y="678"/>
                    <a:pt x="599" y="682"/>
                    <a:pt x="603" y="685"/>
                  </a:cubicBezTo>
                  <a:cubicBezTo>
                    <a:pt x="603" y="685"/>
                    <a:pt x="603" y="685"/>
                    <a:pt x="706" y="757"/>
                  </a:cubicBezTo>
                  <a:cubicBezTo>
                    <a:pt x="706" y="768"/>
                    <a:pt x="706" y="778"/>
                    <a:pt x="699" y="788"/>
                  </a:cubicBezTo>
                  <a:cubicBezTo>
                    <a:pt x="693" y="799"/>
                    <a:pt x="682" y="802"/>
                    <a:pt x="668" y="802"/>
                  </a:cubicBezTo>
                  <a:cubicBezTo>
                    <a:pt x="668" y="802"/>
                    <a:pt x="668" y="802"/>
                    <a:pt x="579" y="740"/>
                  </a:cubicBezTo>
                  <a:cubicBezTo>
                    <a:pt x="575" y="737"/>
                    <a:pt x="572" y="737"/>
                    <a:pt x="568" y="740"/>
                  </a:cubicBezTo>
                  <a:cubicBezTo>
                    <a:pt x="568" y="744"/>
                    <a:pt x="568" y="747"/>
                    <a:pt x="572" y="750"/>
                  </a:cubicBezTo>
                  <a:cubicBezTo>
                    <a:pt x="572" y="750"/>
                    <a:pt x="572" y="750"/>
                    <a:pt x="627" y="792"/>
                  </a:cubicBezTo>
                  <a:cubicBezTo>
                    <a:pt x="631" y="802"/>
                    <a:pt x="627" y="812"/>
                    <a:pt x="624" y="819"/>
                  </a:cubicBezTo>
                  <a:cubicBezTo>
                    <a:pt x="613" y="830"/>
                    <a:pt x="603" y="836"/>
                    <a:pt x="593" y="836"/>
                  </a:cubicBezTo>
                  <a:cubicBezTo>
                    <a:pt x="593" y="836"/>
                    <a:pt x="593" y="836"/>
                    <a:pt x="531" y="792"/>
                  </a:cubicBezTo>
                  <a:cubicBezTo>
                    <a:pt x="531" y="792"/>
                    <a:pt x="531" y="792"/>
                    <a:pt x="541" y="744"/>
                  </a:cubicBezTo>
                  <a:cubicBezTo>
                    <a:pt x="541" y="744"/>
                    <a:pt x="541" y="740"/>
                    <a:pt x="541" y="737"/>
                  </a:cubicBezTo>
                  <a:cubicBezTo>
                    <a:pt x="544" y="706"/>
                    <a:pt x="524" y="678"/>
                    <a:pt x="493" y="671"/>
                  </a:cubicBezTo>
                  <a:cubicBezTo>
                    <a:pt x="489" y="668"/>
                    <a:pt x="489" y="668"/>
                    <a:pt x="486" y="668"/>
                  </a:cubicBezTo>
                  <a:cubicBezTo>
                    <a:pt x="482" y="668"/>
                    <a:pt x="479" y="668"/>
                    <a:pt x="475" y="668"/>
                  </a:cubicBezTo>
                  <a:cubicBezTo>
                    <a:pt x="472" y="644"/>
                    <a:pt x="455" y="627"/>
                    <a:pt x="431" y="620"/>
                  </a:cubicBezTo>
                  <a:cubicBezTo>
                    <a:pt x="427" y="620"/>
                    <a:pt x="424" y="620"/>
                    <a:pt x="424" y="620"/>
                  </a:cubicBezTo>
                  <a:cubicBezTo>
                    <a:pt x="406" y="616"/>
                    <a:pt x="393" y="620"/>
                    <a:pt x="382" y="627"/>
                  </a:cubicBezTo>
                  <a:cubicBezTo>
                    <a:pt x="375" y="620"/>
                    <a:pt x="365" y="613"/>
                    <a:pt x="351" y="613"/>
                  </a:cubicBezTo>
                  <a:cubicBezTo>
                    <a:pt x="348" y="613"/>
                    <a:pt x="348" y="613"/>
                    <a:pt x="348" y="613"/>
                  </a:cubicBezTo>
                  <a:cubicBezTo>
                    <a:pt x="334" y="609"/>
                    <a:pt x="320" y="613"/>
                    <a:pt x="310" y="620"/>
                  </a:cubicBezTo>
                  <a:cubicBezTo>
                    <a:pt x="300" y="613"/>
                    <a:pt x="286" y="606"/>
                    <a:pt x="275" y="606"/>
                  </a:cubicBezTo>
                  <a:cubicBezTo>
                    <a:pt x="269" y="606"/>
                    <a:pt x="262" y="606"/>
                    <a:pt x="255" y="606"/>
                  </a:cubicBezTo>
                  <a:cubicBezTo>
                    <a:pt x="234" y="613"/>
                    <a:pt x="220" y="623"/>
                    <a:pt x="213" y="640"/>
                  </a:cubicBezTo>
                  <a:cubicBezTo>
                    <a:pt x="213" y="640"/>
                    <a:pt x="213" y="640"/>
                    <a:pt x="203" y="637"/>
                  </a:cubicBezTo>
                  <a:cubicBezTo>
                    <a:pt x="200" y="503"/>
                    <a:pt x="272" y="365"/>
                    <a:pt x="272" y="365"/>
                  </a:cubicBezTo>
                  <a:cubicBezTo>
                    <a:pt x="272" y="365"/>
                    <a:pt x="286" y="365"/>
                    <a:pt x="306" y="365"/>
                  </a:cubicBezTo>
                  <a:cubicBezTo>
                    <a:pt x="293" y="379"/>
                    <a:pt x="282" y="396"/>
                    <a:pt x="282" y="413"/>
                  </a:cubicBezTo>
                  <a:cubicBezTo>
                    <a:pt x="279" y="430"/>
                    <a:pt x="282" y="444"/>
                    <a:pt x="289" y="458"/>
                  </a:cubicBezTo>
                  <a:cubicBezTo>
                    <a:pt x="303" y="482"/>
                    <a:pt x="324" y="496"/>
                    <a:pt x="348" y="496"/>
                  </a:cubicBezTo>
                  <a:cubicBezTo>
                    <a:pt x="362" y="499"/>
                    <a:pt x="379" y="496"/>
                    <a:pt x="393" y="489"/>
                  </a:cubicBezTo>
                  <a:cubicBezTo>
                    <a:pt x="393" y="489"/>
                    <a:pt x="393" y="489"/>
                    <a:pt x="403" y="482"/>
                  </a:cubicBezTo>
                  <a:cubicBezTo>
                    <a:pt x="403" y="482"/>
                    <a:pt x="403" y="482"/>
                    <a:pt x="496" y="430"/>
                  </a:cubicBezTo>
                  <a:cubicBezTo>
                    <a:pt x="496" y="430"/>
                    <a:pt x="496" y="430"/>
                    <a:pt x="558" y="458"/>
                  </a:cubicBezTo>
                  <a:cubicBezTo>
                    <a:pt x="558" y="458"/>
                    <a:pt x="558" y="458"/>
                    <a:pt x="830" y="654"/>
                  </a:cubicBezTo>
                  <a:cubicBezTo>
                    <a:pt x="844" y="664"/>
                    <a:pt x="848" y="689"/>
                    <a:pt x="837" y="706"/>
                  </a:cubicBezTo>
                  <a:close/>
                  <a:moveTo>
                    <a:pt x="830" y="392"/>
                  </a:moveTo>
                  <a:cubicBezTo>
                    <a:pt x="830" y="392"/>
                    <a:pt x="902" y="467"/>
                    <a:pt x="896" y="626"/>
                  </a:cubicBezTo>
                  <a:cubicBezTo>
                    <a:pt x="896" y="626"/>
                    <a:pt x="896" y="626"/>
                    <a:pt x="847" y="637"/>
                  </a:cubicBezTo>
                  <a:cubicBezTo>
                    <a:pt x="844" y="633"/>
                    <a:pt x="844" y="633"/>
                    <a:pt x="844" y="633"/>
                  </a:cubicBezTo>
                  <a:cubicBezTo>
                    <a:pt x="844" y="633"/>
                    <a:pt x="844" y="633"/>
                    <a:pt x="675" y="512"/>
                  </a:cubicBezTo>
                  <a:cubicBezTo>
                    <a:pt x="675" y="512"/>
                    <a:pt x="675" y="512"/>
                    <a:pt x="572" y="436"/>
                  </a:cubicBezTo>
                  <a:cubicBezTo>
                    <a:pt x="572" y="436"/>
                    <a:pt x="572" y="436"/>
                    <a:pt x="497" y="402"/>
                  </a:cubicBezTo>
                  <a:cubicBezTo>
                    <a:pt x="497" y="402"/>
                    <a:pt x="497" y="402"/>
                    <a:pt x="380" y="464"/>
                  </a:cubicBezTo>
                  <a:cubicBezTo>
                    <a:pt x="373" y="471"/>
                    <a:pt x="362" y="471"/>
                    <a:pt x="352" y="471"/>
                  </a:cubicBezTo>
                  <a:cubicBezTo>
                    <a:pt x="335" y="471"/>
                    <a:pt x="321" y="461"/>
                    <a:pt x="314" y="447"/>
                  </a:cubicBezTo>
                  <a:cubicBezTo>
                    <a:pt x="301" y="423"/>
                    <a:pt x="307" y="392"/>
                    <a:pt x="332" y="378"/>
                  </a:cubicBezTo>
                  <a:cubicBezTo>
                    <a:pt x="332" y="378"/>
                    <a:pt x="332" y="378"/>
                    <a:pt x="390" y="347"/>
                  </a:cubicBezTo>
                  <a:cubicBezTo>
                    <a:pt x="390" y="347"/>
                    <a:pt x="390" y="347"/>
                    <a:pt x="469" y="302"/>
                  </a:cubicBezTo>
                  <a:cubicBezTo>
                    <a:pt x="483" y="295"/>
                    <a:pt x="500" y="291"/>
                    <a:pt x="514" y="298"/>
                  </a:cubicBezTo>
                  <a:cubicBezTo>
                    <a:pt x="514" y="298"/>
                    <a:pt x="514" y="298"/>
                    <a:pt x="710" y="388"/>
                  </a:cubicBezTo>
                  <a:cubicBezTo>
                    <a:pt x="720" y="395"/>
                    <a:pt x="730" y="398"/>
                    <a:pt x="737" y="398"/>
                  </a:cubicBezTo>
                  <a:cubicBezTo>
                    <a:pt x="758" y="405"/>
                    <a:pt x="830" y="392"/>
                    <a:pt x="830" y="392"/>
                  </a:cubicBezTo>
                  <a:close/>
                  <a:moveTo>
                    <a:pt x="516" y="740"/>
                  </a:moveTo>
                  <a:cubicBezTo>
                    <a:pt x="516" y="740"/>
                    <a:pt x="516" y="740"/>
                    <a:pt x="502" y="799"/>
                  </a:cubicBezTo>
                  <a:cubicBezTo>
                    <a:pt x="495" y="820"/>
                    <a:pt x="478" y="830"/>
                    <a:pt x="461" y="830"/>
                  </a:cubicBezTo>
                  <a:cubicBezTo>
                    <a:pt x="458" y="830"/>
                    <a:pt x="458" y="830"/>
                    <a:pt x="458" y="830"/>
                  </a:cubicBezTo>
                  <a:cubicBezTo>
                    <a:pt x="437" y="823"/>
                    <a:pt x="427" y="806"/>
                    <a:pt x="427" y="789"/>
                  </a:cubicBezTo>
                  <a:cubicBezTo>
                    <a:pt x="420" y="799"/>
                    <a:pt x="406" y="806"/>
                    <a:pt x="392" y="806"/>
                  </a:cubicBezTo>
                  <a:cubicBezTo>
                    <a:pt x="389" y="806"/>
                    <a:pt x="389" y="806"/>
                    <a:pt x="389" y="806"/>
                  </a:cubicBezTo>
                  <a:cubicBezTo>
                    <a:pt x="368" y="799"/>
                    <a:pt x="354" y="778"/>
                    <a:pt x="358" y="761"/>
                  </a:cubicBezTo>
                  <a:cubicBezTo>
                    <a:pt x="358" y="761"/>
                    <a:pt x="358" y="761"/>
                    <a:pt x="361" y="758"/>
                  </a:cubicBezTo>
                  <a:cubicBezTo>
                    <a:pt x="351" y="768"/>
                    <a:pt x="337" y="775"/>
                    <a:pt x="323" y="775"/>
                  </a:cubicBezTo>
                  <a:cubicBezTo>
                    <a:pt x="323" y="775"/>
                    <a:pt x="323" y="775"/>
                    <a:pt x="320" y="775"/>
                  </a:cubicBezTo>
                  <a:cubicBezTo>
                    <a:pt x="306" y="771"/>
                    <a:pt x="296" y="761"/>
                    <a:pt x="292" y="747"/>
                  </a:cubicBezTo>
                  <a:cubicBezTo>
                    <a:pt x="289" y="751"/>
                    <a:pt x="289" y="751"/>
                    <a:pt x="285" y="751"/>
                  </a:cubicBezTo>
                  <a:cubicBezTo>
                    <a:pt x="282" y="751"/>
                    <a:pt x="279" y="751"/>
                    <a:pt x="275" y="751"/>
                  </a:cubicBezTo>
                  <a:cubicBezTo>
                    <a:pt x="258" y="751"/>
                    <a:pt x="244" y="737"/>
                    <a:pt x="241" y="723"/>
                  </a:cubicBezTo>
                  <a:cubicBezTo>
                    <a:pt x="241" y="723"/>
                    <a:pt x="241" y="723"/>
                    <a:pt x="230" y="674"/>
                  </a:cubicBezTo>
                  <a:cubicBezTo>
                    <a:pt x="227" y="654"/>
                    <a:pt x="241" y="636"/>
                    <a:pt x="261" y="629"/>
                  </a:cubicBezTo>
                  <a:cubicBezTo>
                    <a:pt x="279" y="626"/>
                    <a:pt x="299" y="640"/>
                    <a:pt x="306" y="661"/>
                  </a:cubicBezTo>
                  <a:cubicBezTo>
                    <a:pt x="310" y="643"/>
                    <a:pt x="330" y="633"/>
                    <a:pt x="347" y="636"/>
                  </a:cubicBezTo>
                  <a:cubicBezTo>
                    <a:pt x="365" y="640"/>
                    <a:pt x="378" y="657"/>
                    <a:pt x="378" y="674"/>
                  </a:cubicBezTo>
                  <a:cubicBezTo>
                    <a:pt x="378" y="674"/>
                    <a:pt x="378" y="674"/>
                    <a:pt x="378" y="671"/>
                  </a:cubicBezTo>
                  <a:cubicBezTo>
                    <a:pt x="382" y="650"/>
                    <a:pt x="402" y="640"/>
                    <a:pt x="423" y="643"/>
                  </a:cubicBezTo>
                  <a:cubicBezTo>
                    <a:pt x="444" y="647"/>
                    <a:pt x="458" y="668"/>
                    <a:pt x="451" y="688"/>
                  </a:cubicBezTo>
                  <a:cubicBezTo>
                    <a:pt x="451" y="688"/>
                    <a:pt x="451" y="688"/>
                    <a:pt x="447" y="713"/>
                  </a:cubicBezTo>
                  <a:cubicBezTo>
                    <a:pt x="454" y="699"/>
                    <a:pt x="471" y="692"/>
                    <a:pt x="488" y="695"/>
                  </a:cubicBezTo>
                  <a:cubicBezTo>
                    <a:pt x="506" y="699"/>
                    <a:pt x="519" y="719"/>
                    <a:pt x="516" y="74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32349"/>
              <a:endParaRPr lang="en-US" sz="1600">
                <a:solidFill>
                  <a:srgbClr val="282828"/>
                </a:solidFill>
                <a:latin typeface="Calibri" panose="020F0502020204030204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5405" y="-165749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788024" y="402151"/>
            <a:ext cx="792000" cy="792000"/>
            <a:chOff x="3316563" y="-1784345"/>
            <a:chExt cx="792000" cy="792000"/>
          </a:xfrm>
        </p:grpSpPr>
        <p:sp>
          <p:nvSpPr>
            <p:cNvPr id="20" name="Freeform 5"/>
            <p:cNvSpPr>
              <a:spLocks noEditPoints="1"/>
            </p:cNvSpPr>
            <p:nvPr/>
          </p:nvSpPr>
          <p:spPr bwMode="auto">
            <a:xfrm>
              <a:off x="3363980" y="-1668771"/>
              <a:ext cx="697167" cy="560852"/>
            </a:xfrm>
            <a:custGeom>
              <a:avLst/>
              <a:gdLst>
                <a:gd name="T0" fmla="*/ 211 w 1246"/>
                <a:gd name="T1" fmla="*/ 331 h 1002"/>
                <a:gd name="T2" fmla="*/ 342 w 1246"/>
                <a:gd name="T3" fmla="*/ 354 h 1002"/>
                <a:gd name="T4" fmla="*/ 307 w 1246"/>
                <a:gd name="T5" fmla="*/ 738 h 1002"/>
                <a:gd name="T6" fmla="*/ 255 w 1246"/>
                <a:gd name="T7" fmla="*/ 738 h 1002"/>
                <a:gd name="T8" fmla="*/ 232 w 1246"/>
                <a:gd name="T9" fmla="*/ 1002 h 1002"/>
                <a:gd name="T10" fmla="*/ 110 w 1246"/>
                <a:gd name="T11" fmla="*/ 1002 h 1002"/>
                <a:gd name="T12" fmla="*/ 87 w 1246"/>
                <a:gd name="T13" fmla="*/ 738 h 1002"/>
                <a:gd name="T14" fmla="*/ 34 w 1246"/>
                <a:gd name="T15" fmla="*/ 738 h 1002"/>
                <a:gd name="T16" fmla="*/ 0 w 1246"/>
                <a:gd name="T17" fmla="*/ 354 h 1002"/>
                <a:gd name="T18" fmla="*/ 131 w 1246"/>
                <a:gd name="T19" fmla="*/ 331 h 1002"/>
                <a:gd name="T20" fmla="*/ 170 w 1246"/>
                <a:gd name="T21" fmla="*/ 399 h 1002"/>
                <a:gd name="T22" fmla="*/ 211 w 1246"/>
                <a:gd name="T23" fmla="*/ 331 h 1002"/>
                <a:gd name="T24" fmla="*/ 623 w 1246"/>
                <a:gd name="T25" fmla="*/ 287 h 1002"/>
                <a:gd name="T26" fmla="*/ 719 w 1246"/>
                <a:gd name="T27" fmla="*/ 191 h 1002"/>
                <a:gd name="T28" fmla="*/ 623 w 1246"/>
                <a:gd name="T29" fmla="*/ 95 h 1002"/>
                <a:gd name="T30" fmla="*/ 527 w 1246"/>
                <a:gd name="T31" fmla="*/ 191 h 1002"/>
                <a:gd name="T32" fmla="*/ 623 w 1246"/>
                <a:gd name="T33" fmla="*/ 287 h 1002"/>
                <a:gd name="T34" fmla="*/ 171 w 1246"/>
                <a:gd name="T35" fmla="*/ 287 h 1002"/>
                <a:gd name="T36" fmla="*/ 267 w 1246"/>
                <a:gd name="T37" fmla="*/ 191 h 1002"/>
                <a:gd name="T38" fmla="*/ 171 w 1246"/>
                <a:gd name="T39" fmla="*/ 95 h 1002"/>
                <a:gd name="T40" fmla="*/ 75 w 1246"/>
                <a:gd name="T41" fmla="*/ 191 h 1002"/>
                <a:gd name="T42" fmla="*/ 171 w 1246"/>
                <a:gd name="T43" fmla="*/ 287 h 1002"/>
                <a:gd name="T44" fmla="*/ 1075 w 1246"/>
                <a:gd name="T45" fmla="*/ 287 h 1002"/>
                <a:gd name="T46" fmla="*/ 1171 w 1246"/>
                <a:gd name="T47" fmla="*/ 191 h 1002"/>
                <a:gd name="T48" fmla="*/ 1075 w 1246"/>
                <a:gd name="T49" fmla="*/ 95 h 1002"/>
                <a:gd name="T50" fmla="*/ 979 w 1246"/>
                <a:gd name="T51" fmla="*/ 191 h 1002"/>
                <a:gd name="T52" fmla="*/ 1075 w 1246"/>
                <a:gd name="T53" fmla="*/ 287 h 1002"/>
                <a:gd name="T54" fmla="*/ 945 w 1246"/>
                <a:gd name="T55" fmla="*/ 95 h 1002"/>
                <a:gd name="T56" fmla="*/ 849 w 1246"/>
                <a:gd name="T57" fmla="*/ 0 h 1002"/>
                <a:gd name="T58" fmla="*/ 753 w 1246"/>
                <a:gd name="T59" fmla="*/ 95 h 1002"/>
                <a:gd name="T60" fmla="*/ 849 w 1246"/>
                <a:gd name="T61" fmla="*/ 191 h 1002"/>
                <a:gd name="T62" fmla="*/ 945 w 1246"/>
                <a:gd name="T63" fmla="*/ 95 h 1002"/>
                <a:gd name="T64" fmla="*/ 1115 w 1246"/>
                <a:gd name="T65" fmla="*/ 331 h 1002"/>
                <a:gd name="T66" fmla="*/ 1074 w 1246"/>
                <a:gd name="T67" fmla="*/ 399 h 1002"/>
                <a:gd name="T68" fmla="*/ 1035 w 1246"/>
                <a:gd name="T69" fmla="*/ 331 h 1002"/>
                <a:gd name="T70" fmla="*/ 904 w 1246"/>
                <a:gd name="T71" fmla="*/ 354 h 1002"/>
                <a:gd name="T72" fmla="*/ 938 w 1246"/>
                <a:gd name="T73" fmla="*/ 738 h 1002"/>
                <a:gd name="T74" fmla="*/ 991 w 1246"/>
                <a:gd name="T75" fmla="*/ 738 h 1002"/>
                <a:gd name="T76" fmla="*/ 1014 w 1246"/>
                <a:gd name="T77" fmla="*/ 1002 h 1002"/>
                <a:gd name="T78" fmla="*/ 1136 w 1246"/>
                <a:gd name="T79" fmla="*/ 1002 h 1002"/>
                <a:gd name="T80" fmla="*/ 1159 w 1246"/>
                <a:gd name="T81" fmla="*/ 738 h 1002"/>
                <a:gd name="T82" fmla="*/ 1211 w 1246"/>
                <a:gd name="T83" fmla="*/ 738 h 1002"/>
                <a:gd name="T84" fmla="*/ 1246 w 1246"/>
                <a:gd name="T85" fmla="*/ 354 h 1002"/>
                <a:gd name="T86" fmla="*/ 1115 w 1246"/>
                <a:gd name="T87" fmla="*/ 331 h 1002"/>
                <a:gd name="T88" fmla="*/ 493 w 1246"/>
                <a:gd name="T89" fmla="*/ 95 h 1002"/>
                <a:gd name="T90" fmla="*/ 397 w 1246"/>
                <a:gd name="T91" fmla="*/ 0 h 1002"/>
                <a:gd name="T92" fmla="*/ 301 w 1246"/>
                <a:gd name="T93" fmla="*/ 95 h 1002"/>
                <a:gd name="T94" fmla="*/ 397 w 1246"/>
                <a:gd name="T95" fmla="*/ 191 h 1002"/>
                <a:gd name="T96" fmla="*/ 493 w 1246"/>
                <a:gd name="T97" fmla="*/ 95 h 1002"/>
                <a:gd name="T98" fmla="*/ 622 w 1246"/>
                <a:gd name="T99" fmla="*/ 399 h 1002"/>
                <a:gd name="T100" fmla="*/ 583 w 1246"/>
                <a:gd name="T101" fmla="*/ 331 h 1002"/>
                <a:gd name="T102" fmla="*/ 452 w 1246"/>
                <a:gd name="T103" fmla="*/ 354 h 1002"/>
                <a:gd name="T104" fmla="*/ 486 w 1246"/>
                <a:gd name="T105" fmla="*/ 738 h 1002"/>
                <a:gd name="T106" fmla="*/ 539 w 1246"/>
                <a:gd name="T107" fmla="*/ 738 h 1002"/>
                <a:gd name="T108" fmla="*/ 562 w 1246"/>
                <a:gd name="T109" fmla="*/ 1002 h 1002"/>
                <a:gd name="T110" fmla="*/ 684 w 1246"/>
                <a:gd name="T111" fmla="*/ 1002 h 1002"/>
                <a:gd name="T112" fmla="*/ 707 w 1246"/>
                <a:gd name="T113" fmla="*/ 738 h 1002"/>
                <a:gd name="T114" fmla="*/ 759 w 1246"/>
                <a:gd name="T115" fmla="*/ 738 h 1002"/>
                <a:gd name="T116" fmla="*/ 794 w 1246"/>
                <a:gd name="T117" fmla="*/ 354 h 1002"/>
                <a:gd name="T118" fmla="*/ 663 w 1246"/>
                <a:gd name="T119" fmla="*/ 331 h 1002"/>
                <a:gd name="T120" fmla="*/ 622 w 1246"/>
                <a:gd name="T121" fmla="*/ 399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46" h="1002">
                  <a:moveTo>
                    <a:pt x="211" y="331"/>
                  </a:moveTo>
                  <a:cubicBezTo>
                    <a:pt x="342" y="354"/>
                    <a:pt x="342" y="354"/>
                    <a:pt x="342" y="354"/>
                  </a:cubicBezTo>
                  <a:cubicBezTo>
                    <a:pt x="307" y="738"/>
                    <a:pt x="307" y="738"/>
                    <a:pt x="307" y="738"/>
                  </a:cubicBezTo>
                  <a:cubicBezTo>
                    <a:pt x="255" y="738"/>
                    <a:pt x="255" y="738"/>
                    <a:pt x="255" y="738"/>
                  </a:cubicBezTo>
                  <a:cubicBezTo>
                    <a:pt x="232" y="1002"/>
                    <a:pt x="232" y="1002"/>
                    <a:pt x="232" y="1002"/>
                  </a:cubicBezTo>
                  <a:cubicBezTo>
                    <a:pt x="110" y="1002"/>
                    <a:pt x="110" y="1002"/>
                    <a:pt x="110" y="1002"/>
                  </a:cubicBezTo>
                  <a:cubicBezTo>
                    <a:pt x="87" y="738"/>
                    <a:pt x="87" y="738"/>
                    <a:pt x="87" y="738"/>
                  </a:cubicBezTo>
                  <a:cubicBezTo>
                    <a:pt x="34" y="738"/>
                    <a:pt x="34" y="738"/>
                    <a:pt x="34" y="73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70" y="399"/>
                    <a:pt x="170" y="399"/>
                    <a:pt x="170" y="399"/>
                  </a:cubicBezTo>
                  <a:lnTo>
                    <a:pt x="211" y="331"/>
                  </a:lnTo>
                  <a:close/>
                  <a:moveTo>
                    <a:pt x="623" y="287"/>
                  </a:moveTo>
                  <a:cubicBezTo>
                    <a:pt x="676" y="287"/>
                    <a:pt x="719" y="244"/>
                    <a:pt x="719" y="191"/>
                  </a:cubicBezTo>
                  <a:cubicBezTo>
                    <a:pt x="719" y="138"/>
                    <a:pt x="676" y="95"/>
                    <a:pt x="623" y="95"/>
                  </a:cubicBezTo>
                  <a:cubicBezTo>
                    <a:pt x="570" y="95"/>
                    <a:pt x="527" y="138"/>
                    <a:pt x="527" y="191"/>
                  </a:cubicBezTo>
                  <a:cubicBezTo>
                    <a:pt x="527" y="244"/>
                    <a:pt x="570" y="287"/>
                    <a:pt x="623" y="287"/>
                  </a:cubicBezTo>
                  <a:close/>
                  <a:moveTo>
                    <a:pt x="171" y="287"/>
                  </a:moveTo>
                  <a:cubicBezTo>
                    <a:pt x="224" y="287"/>
                    <a:pt x="267" y="244"/>
                    <a:pt x="267" y="191"/>
                  </a:cubicBezTo>
                  <a:cubicBezTo>
                    <a:pt x="267" y="138"/>
                    <a:pt x="224" y="95"/>
                    <a:pt x="171" y="95"/>
                  </a:cubicBezTo>
                  <a:cubicBezTo>
                    <a:pt x="118" y="95"/>
                    <a:pt x="75" y="138"/>
                    <a:pt x="75" y="191"/>
                  </a:cubicBezTo>
                  <a:cubicBezTo>
                    <a:pt x="75" y="244"/>
                    <a:pt x="118" y="287"/>
                    <a:pt x="171" y="287"/>
                  </a:cubicBezTo>
                  <a:close/>
                  <a:moveTo>
                    <a:pt x="1075" y="287"/>
                  </a:moveTo>
                  <a:cubicBezTo>
                    <a:pt x="1128" y="287"/>
                    <a:pt x="1171" y="244"/>
                    <a:pt x="1171" y="191"/>
                  </a:cubicBezTo>
                  <a:cubicBezTo>
                    <a:pt x="1171" y="138"/>
                    <a:pt x="1128" y="95"/>
                    <a:pt x="1075" y="95"/>
                  </a:cubicBezTo>
                  <a:cubicBezTo>
                    <a:pt x="1022" y="95"/>
                    <a:pt x="979" y="138"/>
                    <a:pt x="979" y="191"/>
                  </a:cubicBezTo>
                  <a:cubicBezTo>
                    <a:pt x="979" y="244"/>
                    <a:pt x="1022" y="287"/>
                    <a:pt x="1075" y="287"/>
                  </a:cubicBezTo>
                  <a:close/>
                  <a:moveTo>
                    <a:pt x="945" y="95"/>
                  </a:moveTo>
                  <a:cubicBezTo>
                    <a:pt x="945" y="42"/>
                    <a:pt x="902" y="0"/>
                    <a:pt x="849" y="0"/>
                  </a:cubicBezTo>
                  <a:cubicBezTo>
                    <a:pt x="796" y="0"/>
                    <a:pt x="753" y="42"/>
                    <a:pt x="753" y="95"/>
                  </a:cubicBezTo>
                  <a:cubicBezTo>
                    <a:pt x="753" y="148"/>
                    <a:pt x="796" y="191"/>
                    <a:pt x="849" y="191"/>
                  </a:cubicBezTo>
                  <a:cubicBezTo>
                    <a:pt x="902" y="191"/>
                    <a:pt x="945" y="148"/>
                    <a:pt x="945" y="95"/>
                  </a:cubicBezTo>
                  <a:close/>
                  <a:moveTo>
                    <a:pt x="1115" y="331"/>
                  </a:moveTo>
                  <a:cubicBezTo>
                    <a:pt x="1074" y="399"/>
                    <a:pt x="1074" y="399"/>
                    <a:pt x="1074" y="399"/>
                  </a:cubicBezTo>
                  <a:cubicBezTo>
                    <a:pt x="1035" y="331"/>
                    <a:pt x="1035" y="331"/>
                    <a:pt x="1035" y="331"/>
                  </a:cubicBezTo>
                  <a:cubicBezTo>
                    <a:pt x="904" y="354"/>
                    <a:pt x="904" y="354"/>
                    <a:pt x="904" y="354"/>
                  </a:cubicBezTo>
                  <a:cubicBezTo>
                    <a:pt x="938" y="738"/>
                    <a:pt x="938" y="738"/>
                    <a:pt x="938" y="738"/>
                  </a:cubicBezTo>
                  <a:cubicBezTo>
                    <a:pt x="991" y="738"/>
                    <a:pt x="991" y="738"/>
                    <a:pt x="991" y="738"/>
                  </a:cubicBezTo>
                  <a:cubicBezTo>
                    <a:pt x="1014" y="1002"/>
                    <a:pt x="1014" y="1002"/>
                    <a:pt x="1014" y="1002"/>
                  </a:cubicBezTo>
                  <a:cubicBezTo>
                    <a:pt x="1136" y="1002"/>
                    <a:pt x="1136" y="1002"/>
                    <a:pt x="1136" y="1002"/>
                  </a:cubicBezTo>
                  <a:cubicBezTo>
                    <a:pt x="1159" y="738"/>
                    <a:pt x="1159" y="738"/>
                    <a:pt x="1159" y="738"/>
                  </a:cubicBezTo>
                  <a:cubicBezTo>
                    <a:pt x="1211" y="738"/>
                    <a:pt x="1211" y="738"/>
                    <a:pt x="1211" y="738"/>
                  </a:cubicBezTo>
                  <a:cubicBezTo>
                    <a:pt x="1246" y="354"/>
                    <a:pt x="1246" y="354"/>
                    <a:pt x="1246" y="354"/>
                  </a:cubicBezTo>
                  <a:lnTo>
                    <a:pt x="1115" y="331"/>
                  </a:lnTo>
                  <a:close/>
                  <a:moveTo>
                    <a:pt x="493" y="95"/>
                  </a:moveTo>
                  <a:cubicBezTo>
                    <a:pt x="493" y="42"/>
                    <a:pt x="450" y="0"/>
                    <a:pt x="397" y="0"/>
                  </a:cubicBezTo>
                  <a:cubicBezTo>
                    <a:pt x="344" y="0"/>
                    <a:pt x="301" y="42"/>
                    <a:pt x="301" y="95"/>
                  </a:cubicBezTo>
                  <a:cubicBezTo>
                    <a:pt x="301" y="148"/>
                    <a:pt x="344" y="191"/>
                    <a:pt x="397" y="191"/>
                  </a:cubicBezTo>
                  <a:cubicBezTo>
                    <a:pt x="450" y="191"/>
                    <a:pt x="493" y="148"/>
                    <a:pt x="493" y="95"/>
                  </a:cubicBezTo>
                  <a:close/>
                  <a:moveTo>
                    <a:pt x="622" y="399"/>
                  </a:moveTo>
                  <a:cubicBezTo>
                    <a:pt x="583" y="331"/>
                    <a:pt x="583" y="331"/>
                    <a:pt x="583" y="331"/>
                  </a:cubicBezTo>
                  <a:cubicBezTo>
                    <a:pt x="452" y="354"/>
                    <a:pt x="452" y="354"/>
                    <a:pt x="452" y="354"/>
                  </a:cubicBezTo>
                  <a:cubicBezTo>
                    <a:pt x="486" y="738"/>
                    <a:pt x="486" y="738"/>
                    <a:pt x="486" y="738"/>
                  </a:cubicBezTo>
                  <a:cubicBezTo>
                    <a:pt x="539" y="738"/>
                    <a:pt x="539" y="738"/>
                    <a:pt x="539" y="738"/>
                  </a:cubicBezTo>
                  <a:cubicBezTo>
                    <a:pt x="562" y="1002"/>
                    <a:pt x="562" y="1002"/>
                    <a:pt x="562" y="1002"/>
                  </a:cubicBezTo>
                  <a:cubicBezTo>
                    <a:pt x="684" y="1002"/>
                    <a:pt x="684" y="1002"/>
                    <a:pt x="684" y="1002"/>
                  </a:cubicBezTo>
                  <a:cubicBezTo>
                    <a:pt x="707" y="738"/>
                    <a:pt x="707" y="738"/>
                    <a:pt x="707" y="738"/>
                  </a:cubicBezTo>
                  <a:cubicBezTo>
                    <a:pt x="759" y="738"/>
                    <a:pt x="759" y="738"/>
                    <a:pt x="759" y="738"/>
                  </a:cubicBezTo>
                  <a:cubicBezTo>
                    <a:pt x="794" y="354"/>
                    <a:pt x="794" y="354"/>
                    <a:pt x="794" y="354"/>
                  </a:cubicBezTo>
                  <a:cubicBezTo>
                    <a:pt x="663" y="331"/>
                    <a:pt x="663" y="331"/>
                    <a:pt x="663" y="331"/>
                  </a:cubicBezTo>
                  <a:lnTo>
                    <a:pt x="622" y="399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403" tIns="45702" rIns="91403" bIns="45702" numCol="1" anchor="t" anchorCtr="0" compatLnSpc="1">
              <a:prstTxWarp prst="textNoShape">
                <a:avLst/>
              </a:prstTxWarp>
            </a:bodyPr>
            <a:lstStyle/>
            <a:p>
              <a:pPr defTabSz="932349"/>
              <a:endParaRPr lang="en-US" sz="1600" dirty="0">
                <a:solidFill>
                  <a:srgbClr val="505050"/>
                </a:solidFill>
                <a:latin typeface="Calibri" panose="020F0502020204030204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16563" y="-178434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2" name="Freeform 30"/>
          <p:cNvSpPr>
            <a:spLocks noEditPoints="1"/>
          </p:cNvSpPr>
          <p:nvPr/>
        </p:nvSpPr>
        <p:spPr bwMode="black">
          <a:xfrm>
            <a:off x="3953191" y="1313199"/>
            <a:ext cx="720000" cy="720000"/>
          </a:xfrm>
          <a:custGeom>
            <a:avLst/>
            <a:gdLst>
              <a:gd name="T0" fmla="*/ 0 w 300"/>
              <a:gd name="T1" fmla="*/ 150 h 300"/>
              <a:gd name="T2" fmla="*/ 300 w 300"/>
              <a:gd name="T3" fmla="*/ 150 h 300"/>
              <a:gd name="T4" fmla="*/ 217 w 300"/>
              <a:gd name="T5" fmla="*/ 258 h 300"/>
              <a:gd name="T6" fmla="*/ 207 w 300"/>
              <a:gd name="T7" fmla="*/ 256 h 300"/>
              <a:gd name="T8" fmla="*/ 154 w 300"/>
              <a:gd name="T9" fmla="*/ 277 h 300"/>
              <a:gd name="T10" fmla="*/ 146 w 300"/>
              <a:gd name="T11" fmla="*/ 255 h 300"/>
              <a:gd name="T12" fmla="*/ 89 w 300"/>
              <a:gd name="T13" fmla="*/ 262 h 300"/>
              <a:gd name="T14" fmla="*/ 87 w 300"/>
              <a:gd name="T15" fmla="*/ 252 h 300"/>
              <a:gd name="T16" fmla="*/ 41 w 300"/>
              <a:gd name="T17" fmla="*/ 217 h 300"/>
              <a:gd name="T18" fmla="*/ 44 w 300"/>
              <a:gd name="T19" fmla="*/ 206 h 300"/>
              <a:gd name="T20" fmla="*/ 22 w 300"/>
              <a:gd name="T21" fmla="*/ 153 h 300"/>
              <a:gd name="T22" fmla="*/ 51 w 300"/>
              <a:gd name="T23" fmla="*/ 146 h 300"/>
              <a:gd name="T24" fmla="*/ 38 w 300"/>
              <a:gd name="T25" fmla="*/ 89 h 300"/>
              <a:gd name="T26" fmla="*/ 48 w 300"/>
              <a:gd name="T27" fmla="*/ 86 h 300"/>
              <a:gd name="T28" fmla="*/ 83 w 300"/>
              <a:gd name="T29" fmla="*/ 41 h 300"/>
              <a:gd name="T30" fmla="*/ 93 w 300"/>
              <a:gd name="T31" fmla="*/ 44 h 300"/>
              <a:gd name="T32" fmla="*/ 146 w 300"/>
              <a:gd name="T33" fmla="*/ 22 h 300"/>
              <a:gd name="T34" fmla="*/ 154 w 300"/>
              <a:gd name="T35" fmla="*/ 45 h 300"/>
              <a:gd name="T36" fmla="*/ 210 w 300"/>
              <a:gd name="T37" fmla="*/ 37 h 300"/>
              <a:gd name="T38" fmla="*/ 213 w 300"/>
              <a:gd name="T39" fmla="*/ 48 h 300"/>
              <a:gd name="T40" fmla="*/ 258 w 300"/>
              <a:gd name="T41" fmla="*/ 83 h 300"/>
              <a:gd name="T42" fmla="*/ 256 w 300"/>
              <a:gd name="T43" fmla="*/ 93 h 300"/>
              <a:gd name="T44" fmla="*/ 277 w 300"/>
              <a:gd name="T45" fmla="*/ 146 h 300"/>
              <a:gd name="T46" fmla="*/ 255 w 300"/>
              <a:gd name="T47" fmla="*/ 153 h 300"/>
              <a:gd name="T48" fmla="*/ 262 w 300"/>
              <a:gd name="T49" fmla="*/ 210 h 300"/>
              <a:gd name="T50" fmla="*/ 252 w 300"/>
              <a:gd name="T51" fmla="*/ 213 h 300"/>
              <a:gd name="T52" fmla="*/ 217 w 300"/>
              <a:gd name="T53" fmla="*/ 258 h 300"/>
              <a:gd name="T54" fmla="*/ 141 w 300"/>
              <a:gd name="T55" fmla="*/ 158 h 300"/>
              <a:gd name="T56" fmla="*/ 158 w 300"/>
              <a:gd name="T57" fmla="*/ 141 h 300"/>
              <a:gd name="T58" fmla="*/ 211 w 300"/>
              <a:gd name="T59" fmla="*/ 88 h 300"/>
              <a:gd name="T60" fmla="*/ 125 w 300"/>
              <a:gd name="T61" fmla="*/ 132 h 300"/>
              <a:gd name="T62" fmla="*/ 168 w 300"/>
              <a:gd name="T63" fmla="*/ 174 h 300"/>
              <a:gd name="T64" fmla="*/ 211 w 300"/>
              <a:gd name="T65" fmla="*/ 88 h 300"/>
              <a:gd name="T66" fmla="*/ 135 w 300"/>
              <a:gd name="T67" fmla="*/ 135 h 300"/>
              <a:gd name="T68" fmla="*/ 165 w 300"/>
              <a:gd name="T69" fmla="*/ 165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50" y="0"/>
                </a:moveTo>
                <a:cubicBezTo>
                  <a:pt x="67" y="0"/>
                  <a:pt x="0" y="67"/>
                  <a:pt x="0" y="150"/>
                </a:cubicBezTo>
                <a:cubicBezTo>
                  <a:pt x="0" y="233"/>
                  <a:pt x="67" y="300"/>
                  <a:pt x="150" y="300"/>
                </a:cubicBezTo>
                <a:cubicBezTo>
                  <a:pt x="233" y="300"/>
                  <a:pt x="300" y="233"/>
                  <a:pt x="300" y="150"/>
                </a:cubicBezTo>
                <a:cubicBezTo>
                  <a:pt x="300" y="67"/>
                  <a:pt x="233" y="0"/>
                  <a:pt x="150" y="0"/>
                </a:cubicBezTo>
                <a:close/>
                <a:moveTo>
                  <a:pt x="217" y="258"/>
                </a:moveTo>
                <a:cubicBezTo>
                  <a:pt x="213" y="252"/>
                  <a:pt x="213" y="252"/>
                  <a:pt x="213" y="252"/>
                </a:cubicBezTo>
                <a:cubicBezTo>
                  <a:pt x="207" y="256"/>
                  <a:pt x="207" y="256"/>
                  <a:pt x="207" y="256"/>
                </a:cubicBezTo>
                <a:cubicBezTo>
                  <a:pt x="210" y="262"/>
                  <a:pt x="210" y="262"/>
                  <a:pt x="210" y="262"/>
                </a:cubicBezTo>
                <a:cubicBezTo>
                  <a:pt x="193" y="271"/>
                  <a:pt x="174" y="276"/>
                  <a:pt x="154" y="277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46" y="255"/>
                  <a:pt x="146" y="255"/>
                  <a:pt x="146" y="255"/>
                </a:cubicBezTo>
                <a:cubicBezTo>
                  <a:pt x="146" y="277"/>
                  <a:pt x="146" y="277"/>
                  <a:pt x="146" y="277"/>
                </a:cubicBezTo>
                <a:cubicBezTo>
                  <a:pt x="126" y="276"/>
                  <a:pt x="106" y="271"/>
                  <a:pt x="89" y="262"/>
                </a:cubicBezTo>
                <a:cubicBezTo>
                  <a:pt x="93" y="256"/>
                  <a:pt x="93" y="256"/>
                  <a:pt x="93" y="256"/>
                </a:cubicBezTo>
                <a:cubicBezTo>
                  <a:pt x="87" y="252"/>
                  <a:pt x="87" y="252"/>
                  <a:pt x="87" y="252"/>
                </a:cubicBezTo>
                <a:cubicBezTo>
                  <a:pt x="83" y="258"/>
                  <a:pt x="83" y="258"/>
                  <a:pt x="83" y="258"/>
                </a:cubicBezTo>
                <a:cubicBezTo>
                  <a:pt x="66" y="248"/>
                  <a:pt x="52" y="233"/>
                  <a:pt x="41" y="217"/>
                </a:cubicBezTo>
                <a:cubicBezTo>
                  <a:pt x="48" y="213"/>
                  <a:pt x="48" y="213"/>
                  <a:pt x="48" y="213"/>
                </a:cubicBezTo>
                <a:cubicBezTo>
                  <a:pt x="44" y="206"/>
                  <a:pt x="44" y="206"/>
                  <a:pt x="44" y="206"/>
                </a:cubicBezTo>
                <a:cubicBezTo>
                  <a:pt x="38" y="210"/>
                  <a:pt x="38" y="210"/>
                  <a:pt x="38" y="210"/>
                </a:cubicBezTo>
                <a:cubicBezTo>
                  <a:pt x="28" y="193"/>
                  <a:pt x="23" y="174"/>
                  <a:pt x="2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46"/>
                  <a:pt x="51" y="146"/>
                  <a:pt x="51" y="146"/>
                </a:cubicBezTo>
                <a:cubicBezTo>
                  <a:pt x="22" y="146"/>
                  <a:pt x="22" y="146"/>
                  <a:pt x="22" y="146"/>
                </a:cubicBezTo>
                <a:cubicBezTo>
                  <a:pt x="23" y="125"/>
                  <a:pt x="28" y="106"/>
                  <a:pt x="38" y="89"/>
                </a:cubicBezTo>
                <a:cubicBezTo>
                  <a:pt x="44" y="93"/>
                  <a:pt x="44" y="93"/>
                  <a:pt x="44" y="93"/>
                </a:cubicBezTo>
                <a:cubicBezTo>
                  <a:pt x="48" y="86"/>
                  <a:pt x="48" y="86"/>
                  <a:pt x="48" y="86"/>
                </a:cubicBezTo>
                <a:cubicBezTo>
                  <a:pt x="41" y="83"/>
                  <a:pt x="41" y="83"/>
                  <a:pt x="41" y="83"/>
                </a:cubicBezTo>
                <a:cubicBezTo>
                  <a:pt x="52" y="66"/>
                  <a:pt x="66" y="52"/>
                  <a:pt x="83" y="41"/>
                </a:cubicBezTo>
                <a:cubicBezTo>
                  <a:pt x="87" y="48"/>
                  <a:pt x="87" y="48"/>
                  <a:pt x="87" y="48"/>
                </a:cubicBezTo>
                <a:cubicBezTo>
                  <a:pt x="93" y="44"/>
                  <a:pt x="93" y="44"/>
                  <a:pt x="93" y="44"/>
                </a:cubicBezTo>
                <a:cubicBezTo>
                  <a:pt x="89" y="37"/>
                  <a:pt x="89" y="37"/>
                  <a:pt x="89" y="37"/>
                </a:cubicBezTo>
                <a:cubicBezTo>
                  <a:pt x="106" y="28"/>
                  <a:pt x="126" y="23"/>
                  <a:pt x="146" y="22"/>
                </a:cubicBezTo>
                <a:cubicBezTo>
                  <a:pt x="146" y="45"/>
                  <a:pt x="146" y="45"/>
                  <a:pt x="146" y="45"/>
                </a:cubicBezTo>
                <a:cubicBezTo>
                  <a:pt x="154" y="45"/>
                  <a:pt x="154" y="45"/>
                  <a:pt x="154" y="45"/>
                </a:cubicBezTo>
                <a:cubicBezTo>
                  <a:pt x="154" y="22"/>
                  <a:pt x="154" y="22"/>
                  <a:pt x="154" y="22"/>
                </a:cubicBezTo>
                <a:cubicBezTo>
                  <a:pt x="174" y="23"/>
                  <a:pt x="193" y="28"/>
                  <a:pt x="210" y="37"/>
                </a:cubicBezTo>
                <a:cubicBezTo>
                  <a:pt x="207" y="44"/>
                  <a:pt x="207" y="44"/>
                  <a:pt x="207" y="44"/>
                </a:cubicBezTo>
                <a:cubicBezTo>
                  <a:pt x="213" y="48"/>
                  <a:pt x="213" y="48"/>
                  <a:pt x="213" y="48"/>
                </a:cubicBezTo>
                <a:cubicBezTo>
                  <a:pt x="217" y="41"/>
                  <a:pt x="217" y="41"/>
                  <a:pt x="217" y="41"/>
                </a:cubicBezTo>
                <a:cubicBezTo>
                  <a:pt x="234" y="52"/>
                  <a:pt x="248" y="66"/>
                  <a:pt x="258" y="83"/>
                </a:cubicBezTo>
                <a:cubicBezTo>
                  <a:pt x="252" y="86"/>
                  <a:pt x="252" y="86"/>
                  <a:pt x="252" y="86"/>
                </a:cubicBezTo>
                <a:cubicBezTo>
                  <a:pt x="256" y="93"/>
                  <a:pt x="256" y="93"/>
                  <a:pt x="256" y="93"/>
                </a:cubicBezTo>
                <a:cubicBezTo>
                  <a:pt x="262" y="89"/>
                  <a:pt x="262" y="89"/>
                  <a:pt x="262" y="89"/>
                </a:cubicBezTo>
                <a:cubicBezTo>
                  <a:pt x="271" y="106"/>
                  <a:pt x="277" y="125"/>
                  <a:pt x="277" y="146"/>
                </a:cubicBezTo>
                <a:cubicBezTo>
                  <a:pt x="255" y="146"/>
                  <a:pt x="255" y="146"/>
                  <a:pt x="255" y="146"/>
                </a:cubicBezTo>
                <a:cubicBezTo>
                  <a:pt x="255" y="153"/>
                  <a:pt x="255" y="153"/>
                  <a:pt x="255" y="153"/>
                </a:cubicBezTo>
                <a:cubicBezTo>
                  <a:pt x="277" y="153"/>
                  <a:pt x="277" y="153"/>
                  <a:pt x="277" y="153"/>
                </a:cubicBezTo>
                <a:cubicBezTo>
                  <a:pt x="276" y="174"/>
                  <a:pt x="271" y="193"/>
                  <a:pt x="262" y="210"/>
                </a:cubicBezTo>
                <a:cubicBezTo>
                  <a:pt x="256" y="206"/>
                  <a:pt x="256" y="206"/>
                  <a:pt x="256" y="206"/>
                </a:cubicBezTo>
                <a:cubicBezTo>
                  <a:pt x="252" y="213"/>
                  <a:pt x="252" y="213"/>
                  <a:pt x="252" y="213"/>
                </a:cubicBezTo>
                <a:cubicBezTo>
                  <a:pt x="258" y="217"/>
                  <a:pt x="258" y="217"/>
                  <a:pt x="258" y="217"/>
                </a:cubicBezTo>
                <a:cubicBezTo>
                  <a:pt x="248" y="233"/>
                  <a:pt x="234" y="248"/>
                  <a:pt x="217" y="258"/>
                </a:cubicBezTo>
                <a:close/>
                <a:moveTo>
                  <a:pt x="158" y="158"/>
                </a:moveTo>
                <a:cubicBezTo>
                  <a:pt x="154" y="163"/>
                  <a:pt x="146" y="163"/>
                  <a:pt x="141" y="158"/>
                </a:cubicBezTo>
                <a:cubicBezTo>
                  <a:pt x="137" y="154"/>
                  <a:pt x="137" y="146"/>
                  <a:pt x="141" y="141"/>
                </a:cubicBezTo>
                <a:cubicBezTo>
                  <a:pt x="146" y="137"/>
                  <a:pt x="154" y="137"/>
                  <a:pt x="158" y="141"/>
                </a:cubicBezTo>
                <a:cubicBezTo>
                  <a:pt x="163" y="146"/>
                  <a:pt x="163" y="154"/>
                  <a:pt x="158" y="158"/>
                </a:cubicBezTo>
                <a:close/>
                <a:moveTo>
                  <a:pt x="211" y="88"/>
                </a:moveTo>
                <a:cubicBezTo>
                  <a:pt x="134" y="123"/>
                  <a:pt x="134" y="123"/>
                  <a:pt x="134" y="123"/>
                </a:cubicBezTo>
                <a:cubicBezTo>
                  <a:pt x="125" y="132"/>
                  <a:pt x="125" y="132"/>
                  <a:pt x="125" y="132"/>
                </a:cubicBezTo>
                <a:cubicBezTo>
                  <a:pt x="88" y="211"/>
                  <a:pt x="88" y="211"/>
                  <a:pt x="88" y="211"/>
                </a:cubicBezTo>
                <a:cubicBezTo>
                  <a:pt x="168" y="174"/>
                  <a:pt x="168" y="174"/>
                  <a:pt x="168" y="174"/>
                </a:cubicBezTo>
                <a:cubicBezTo>
                  <a:pt x="176" y="166"/>
                  <a:pt x="176" y="166"/>
                  <a:pt x="176" y="166"/>
                </a:cubicBezTo>
                <a:lnTo>
                  <a:pt x="211" y="88"/>
                </a:lnTo>
                <a:close/>
                <a:moveTo>
                  <a:pt x="135" y="165"/>
                </a:moveTo>
                <a:cubicBezTo>
                  <a:pt x="127" y="156"/>
                  <a:pt x="127" y="143"/>
                  <a:pt x="135" y="135"/>
                </a:cubicBezTo>
                <a:cubicBezTo>
                  <a:pt x="143" y="127"/>
                  <a:pt x="156" y="127"/>
                  <a:pt x="165" y="135"/>
                </a:cubicBezTo>
                <a:cubicBezTo>
                  <a:pt x="173" y="143"/>
                  <a:pt x="173" y="156"/>
                  <a:pt x="165" y="165"/>
                </a:cubicBezTo>
                <a:cubicBezTo>
                  <a:pt x="156" y="173"/>
                  <a:pt x="143" y="173"/>
                  <a:pt x="135" y="165"/>
                </a:cubicBezTo>
                <a:close/>
              </a:path>
            </a:pathLst>
          </a:custGeom>
          <a:solidFill>
            <a:srgbClr val="007ABD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368892" y="1228841"/>
            <a:ext cx="792000" cy="792000"/>
            <a:chOff x="1546327" y="3752830"/>
            <a:chExt cx="883027" cy="949342"/>
          </a:xfrm>
        </p:grpSpPr>
        <p:sp>
          <p:nvSpPr>
            <p:cNvPr id="24" name="Freeform 6"/>
            <p:cNvSpPr>
              <a:spLocks/>
            </p:cNvSpPr>
            <p:nvPr/>
          </p:nvSpPr>
          <p:spPr bwMode="black">
            <a:xfrm>
              <a:off x="1546327" y="4124229"/>
              <a:ext cx="126959" cy="126958"/>
            </a:xfrm>
            <a:custGeom>
              <a:avLst/>
              <a:gdLst>
                <a:gd name="T0" fmla="*/ 15 w 67"/>
                <a:gd name="T1" fmla="*/ 67 h 67"/>
                <a:gd name="T2" fmla="*/ 15 w 67"/>
                <a:gd name="T3" fmla="*/ 66 h 67"/>
                <a:gd name="T4" fmla="*/ 33 w 67"/>
                <a:gd name="T5" fmla="*/ 48 h 67"/>
                <a:gd name="T6" fmla="*/ 52 w 67"/>
                <a:gd name="T7" fmla="*/ 67 h 67"/>
                <a:gd name="T8" fmla="*/ 67 w 67"/>
                <a:gd name="T9" fmla="*/ 52 h 67"/>
                <a:gd name="T10" fmla="*/ 66 w 67"/>
                <a:gd name="T11" fmla="*/ 51 h 67"/>
                <a:gd name="T12" fmla="*/ 48 w 67"/>
                <a:gd name="T13" fmla="*/ 33 h 67"/>
                <a:gd name="T14" fmla="*/ 67 w 67"/>
                <a:gd name="T15" fmla="*/ 15 h 67"/>
                <a:gd name="T16" fmla="*/ 52 w 67"/>
                <a:gd name="T17" fmla="*/ 0 h 67"/>
                <a:gd name="T18" fmla="*/ 33 w 67"/>
                <a:gd name="T19" fmla="*/ 19 h 67"/>
                <a:gd name="T20" fmla="*/ 15 w 67"/>
                <a:gd name="T21" fmla="*/ 0 h 67"/>
                <a:gd name="T22" fmla="*/ 0 w 67"/>
                <a:gd name="T23" fmla="*/ 15 h 67"/>
                <a:gd name="T24" fmla="*/ 19 w 67"/>
                <a:gd name="T25" fmla="*/ 33 h 67"/>
                <a:gd name="T26" fmla="*/ 0 w 67"/>
                <a:gd name="T27" fmla="*/ 52 h 67"/>
                <a:gd name="T28" fmla="*/ 15 w 67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7">
                  <a:moveTo>
                    <a:pt x="15" y="67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7"/>
                  </a:lnTo>
                  <a:lnTo>
                    <a:pt x="67" y="52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7" y="15"/>
                  </a:lnTo>
                  <a:lnTo>
                    <a:pt x="52" y="0"/>
                  </a:lnTo>
                  <a:lnTo>
                    <a:pt x="33" y="19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9" y="33"/>
                  </a:lnTo>
                  <a:lnTo>
                    <a:pt x="0" y="52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black">
            <a:xfrm>
              <a:off x="1768032" y="4145075"/>
              <a:ext cx="126959" cy="125063"/>
            </a:xfrm>
            <a:custGeom>
              <a:avLst/>
              <a:gdLst>
                <a:gd name="T0" fmla="*/ 66 w 67"/>
                <a:gd name="T1" fmla="*/ 51 h 66"/>
                <a:gd name="T2" fmla="*/ 48 w 67"/>
                <a:gd name="T3" fmla="*/ 33 h 66"/>
                <a:gd name="T4" fmla="*/ 67 w 67"/>
                <a:gd name="T5" fmla="*/ 14 h 66"/>
                <a:gd name="T6" fmla="*/ 52 w 67"/>
                <a:gd name="T7" fmla="*/ 0 h 66"/>
                <a:gd name="T8" fmla="*/ 33 w 67"/>
                <a:gd name="T9" fmla="*/ 18 h 66"/>
                <a:gd name="T10" fmla="*/ 15 w 67"/>
                <a:gd name="T11" fmla="*/ 0 h 66"/>
                <a:gd name="T12" fmla="*/ 0 w 67"/>
                <a:gd name="T13" fmla="*/ 14 h 66"/>
                <a:gd name="T14" fmla="*/ 19 w 67"/>
                <a:gd name="T15" fmla="*/ 33 h 66"/>
                <a:gd name="T16" fmla="*/ 0 w 67"/>
                <a:gd name="T17" fmla="*/ 51 h 66"/>
                <a:gd name="T18" fmla="*/ 15 w 67"/>
                <a:gd name="T19" fmla="*/ 66 h 66"/>
                <a:gd name="T20" fmla="*/ 15 w 67"/>
                <a:gd name="T21" fmla="*/ 66 h 66"/>
                <a:gd name="T22" fmla="*/ 33 w 67"/>
                <a:gd name="T23" fmla="*/ 48 h 66"/>
                <a:gd name="T24" fmla="*/ 52 w 67"/>
                <a:gd name="T25" fmla="*/ 66 h 66"/>
                <a:gd name="T26" fmla="*/ 67 w 67"/>
                <a:gd name="T27" fmla="*/ 51 h 66"/>
                <a:gd name="T28" fmla="*/ 66 w 67"/>
                <a:gd name="T29" fmla="*/ 5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6">
                  <a:moveTo>
                    <a:pt x="66" y="51"/>
                  </a:moveTo>
                  <a:lnTo>
                    <a:pt x="48" y="33"/>
                  </a:lnTo>
                  <a:lnTo>
                    <a:pt x="67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5" y="0"/>
                  </a:lnTo>
                  <a:lnTo>
                    <a:pt x="0" y="14"/>
                  </a:lnTo>
                  <a:lnTo>
                    <a:pt x="19" y="33"/>
                  </a:lnTo>
                  <a:lnTo>
                    <a:pt x="0" y="51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7" y="51"/>
                  </a:lnTo>
                  <a:lnTo>
                    <a:pt x="66" y="51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black">
            <a:xfrm>
              <a:off x="2073111" y="4116651"/>
              <a:ext cx="125064" cy="125063"/>
            </a:xfrm>
            <a:custGeom>
              <a:avLst/>
              <a:gdLst>
                <a:gd name="T0" fmla="*/ 14 w 66"/>
                <a:gd name="T1" fmla="*/ 66 h 66"/>
                <a:gd name="T2" fmla="*/ 15 w 66"/>
                <a:gd name="T3" fmla="*/ 66 h 66"/>
                <a:gd name="T4" fmla="*/ 33 w 66"/>
                <a:gd name="T5" fmla="*/ 48 h 66"/>
                <a:gd name="T6" fmla="*/ 52 w 66"/>
                <a:gd name="T7" fmla="*/ 66 h 66"/>
                <a:gd name="T8" fmla="*/ 66 w 66"/>
                <a:gd name="T9" fmla="*/ 51 h 66"/>
                <a:gd name="T10" fmla="*/ 66 w 66"/>
                <a:gd name="T11" fmla="*/ 51 h 66"/>
                <a:gd name="T12" fmla="*/ 48 w 66"/>
                <a:gd name="T13" fmla="*/ 33 h 66"/>
                <a:gd name="T14" fmla="*/ 66 w 66"/>
                <a:gd name="T15" fmla="*/ 14 h 66"/>
                <a:gd name="T16" fmla="*/ 52 w 66"/>
                <a:gd name="T17" fmla="*/ 0 h 66"/>
                <a:gd name="T18" fmla="*/ 33 w 66"/>
                <a:gd name="T19" fmla="*/ 18 h 66"/>
                <a:gd name="T20" fmla="*/ 14 w 66"/>
                <a:gd name="T21" fmla="*/ 0 h 66"/>
                <a:gd name="T22" fmla="*/ 0 w 66"/>
                <a:gd name="T23" fmla="*/ 14 h 66"/>
                <a:gd name="T24" fmla="*/ 18 w 66"/>
                <a:gd name="T25" fmla="*/ 33 h 66"/>
                <a:gd name="T26" fmla="*/ 0 w 66"/>
                <a:gd name="T27" fmla="*/ 51 h 66"/>
                <a:gd name="T28" fmla="*/ 14 w 66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14" y="66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6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8" y="33"/>
                  </a:lnTo>
                  <a:lnTo>
                    <a:pt x="0" y="51"/>
                  </a:lnTo>
                  <a:lnTo>
                    <a:pt x="14" y="66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black">
            <a:xfrm>
              <a:off x="1622123" y="3752830"/>
              <a:ext cx="401721" cy="949342"/>
            </a:xfrm>
            <a:custGeom>
              <a:avLst/>
              <a:gdLst>
                <a:gd name="T0" fmla="*/ 938 w 1156"/>
                <a:gd name="T1" fmla="*/ 2724 h 2724"/>
                <a:gd name="T2" fmla="*/ 1139 w 1156"/>
                <a:gd name="T3" fmla="*/ 2523 h 2724"/>
                <a:gd name="T4" fmla="*/ 1036 w 1156"/>
                <a:gd name="T5" fmla="*/ 2347 h 2724"/>
                <a:gd name="T6" fmla="*/ 1156 w 1156"/>
                <a:gd name="T7" fmla="*/ 1686 h 2724"/>
                <a:gd name="T8" fmla="*/ 953 w 1156"/>
                <a:gd name="T9" fmla="*/ 884 h 2724"/>
                <a:gd name="T10" fmla="*/ 188 w 1156"/>
                <a:gd name="T11" fmla="*/ 128 h 2724"/>
                <a:gd name="T12" fmla="*/ 327 w 1156"/>
                <a:gd name="T13" fmla="*/ 90 h 2724"/>
                <a:gd name="T14" fmla="*/ 302 w 1156"/>
                <a:gd name="T15" fmla="*/ 0 h 2724"/>
                <a:gd name="T16" fmla="*/ 0 w 1156"/>
                <a:gd name="T17" fmla="*/ 82 h 2724"/>
                <a:gd name="T18" fmla="*/ 83 w 1156"/>
                <a:gd name="T19" fmla="*/ 385 h 2724"/>
                <a:gd name="T20" fmla="*/ 173 w 1156"/>
                <a:gd name="T21" fmla="*/ 360 h 2724"/>
                <a:gd name="T22" fmla="*/ 135 w 1156"/>
                <a:gd name="T23" fmla="*/ 223 h 2724"/>
                <a:gd name="T24" fmla="*/ 858 w 1156"/>
                <a:gd name="T25" fmla="*/ 937 h 2724"/>
                <a:gd name="T26" fmla="*/ 1047 w 1156"/>
                <a:gd name="T27" fmla="*/ 1686 h 2724"/>
                <a:gd name="T28" fmla="*/ 979 w 1156"/>
                <a:gd name="T29" fmla="*/ 2171 h 2724"/>
                <a:gd name="T30" fmla="*/ 933 w 1156"/>
                <a:gd name="T31" fmla="*/ 2312 h 2724"/>
                <a:gd name="T32" fmla="*/ 929 w 1156"/>
                <a:gd name="T33" fmla="*/ 2321 h 2724"/>
                <a:gd name="T34" fmla="*/ 736 w 1156"/>
                <a:gd name="T35" fmla="*/ 2523 h 2724"/>
                <a:gd name="T36" fmla="*/ 938 w 1156"/>
                <a:gd name="T37" fmla="*/ 2724 h 2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6" h="2724">
                  <a:moveTo>
                    <a:pt x="938" y="2724"/>
                  </a:moveTo>
                  <a:cubicBezTo>
                    <a:pt x="1049" y="2724"/>
                    <a:pt x="1139" y="2634"/>
                    <a:pt x="1139" y="2523"/>
                  </a:cubicBezTo>
                  <a:cubicBezTo>
                    <a:pt x="1139" y="2447"/>
                    <a:pt x="1098" y="2382"/>
                    <a:pt x="1036" y="2347"/>
                  </a:cubicBezTo>
                  <a:cubicBezTo>
                    <a:pt x="1078" y="2239"/>
                    <a:pt x="1156" y="1994"/>
                    <a:pt x="1156" y="1686"/>
                  </a:cubicBezTo>
                  <a:cubicBezTo>
                    <a:pt x="1156" y="1444"/>
                    <a:pt x="1108" y="1164"/>
                    <a:pt x="953" y="884"/>
                  </a:cubicBezTo>
                  <a:cubicBezTo>
                    <a:pt x="807" y="619"/>
                    <a:pt x="566" y="356"/>
                    <a:pt x="188" y="128"/>
                  </a:cubicBezTo>
                  <a:cubicBezTo>
                    <a:pt x="327" y="90"/>
                    <a:pt x="327" y="90"/>
                    <a:pt x="327" y="9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3" y="385"/>
                    <a:pt x="83" y="385"/>
                    <a:pt x="83" y="385"/>
                  </a:cubicBezTo>
                  <a:cubicBezTo>
                    <a:pt x="173" y="360"/>
                    <a:pt x="173" y="360"/>
                    <a:pt x="173" y="360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497" y="443"/>
                    <a:pt x="721" y="690"/>
                    <a:pt x="858" y="937"/>
                  </a:cubicBezTo>
                  <a:cubicBezTo>
                    <a:pt x="1002" y="1198"/>
                    <a:pt x="1047" y="1459"/>
                    <a:pt x="1047" y="1686"/>
                  </a:cubicBezTo>
                  <a:cubicBezTo>
                    <a:pt x="1047" y="1881"/>
                    <a:pt x="1013" y="2051"/>
                    <a:pt x="979" y="2171"/>
                  </a:cubicBezTo>
                  <a:cubicBezTo>
                    <a:pt x="963" y="2231"/>
                    <a:pt x="946" y="2279"/>
                    <a:pt x="933" y="2312"/>
                  </a:cubicBezTo>
                  <a:cubicBezTo>
                    <a:pt x="932" y="2315"/>
                    <a:pt x="931" y="2318"/>
                    <a:pt x="929" y="2321"/>
                  </a:cubicBezTo>
                  <a:cubicBezTo>
                    <a:pt x="822" y="2326"/>
                    <a:pt x="736" y="2414"/>
                    <a:pt x="736" y="2523"/>
                  </a:cubicBezTo>
                  <a:cubicBezTo>
                    <a:pt x="736" y="2634"/>
                    <a:pt x="826" y="2724"/>
                    <a:pt x="938" y="2724"/>
                  </a:cubicBezTo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black">
            <a:xfrm>
              <a:off x="2054162" y="4165917"/>
              <a:ext cx="375192" cy="418772"/>
            </a:xfrm>
            <a:custGeom>
              <a:avLst/>
              <a:gdLst>
                <a:gd name="T0" fmla="*/ 695 w 1079"/>
                <a:gd name="T1" fmla="*/ 124 h 1206"/>
                <a:gd name="T2" fmla="*/ 834 w 1079"/>
                <a:gd name="T3" fmla="*/ 90 h 1206"/>
                <a:gd name="T4" fmla="*/ 812 w 1079"/>
                <a:gd name="T5" fmla="*/ 0 h 1206"/>
                <a:gd name="T6" fmla="*/ 507 w 1079"/>
                <a:gd name="T7" fmla="*/ 73 h 1206"/>
                <a:gd name="T8" fmla="*/ 580 w 1079"/>
                <a:gd name="T9" fmla="*/ 378 h 1206"/>
                <a:gd name="T10" fmla="*/ 671 w 1079"/>
                <a:gd name="T11" fmla="*/ 356 h 1206"/>
                <a:gd name="T12" fmla="*/ 638 w 1079"/>
                <a:gd name="T13" fmla="*/ 217 h 1206"/>
                <a:gd name="T14" fmla="*/ 924 w 1079"/>
                <a:gd name="T15" fmla="*/ 392 h 1206"/>
                <a:gd name="T16" fmla="*/ 528 w 1079"/>
                <a:gd name="T17" fmla="*/ 753 h 1206"/>
                <a:gd name="T18" fmla="*/ 362 w 1079"/>
                <a:gd name="T19" fmla="*/ 844 h 1206"/>
                <a:gd name="T20" fmla="*/ 337 w 1079"/>
                <a:gd name="T21" fmla="*/ 856 h 1206"/>
                <a:gd name="T22" fmla="*/ 201 w 1079"/>
                <a:gd name="T23" fmla="*/ 803 h 1206"/>
                <a:gd name="T24" fmla="*/ 0 w 1079"/>
                <a:gd name="T25" fmla="*/ 1005 h 1206"/>
                <a:gd name="T26" fmla="*/ 201 w 1079"/>
                <a:gd name="T27" fmla="*/ 1206 h 1206"/>
                <a:gd name="T28" fmla="*/ 403 w 1079"/>
                <a:gd name="T29" fmla="*/ 1005 h 1206"/>
                <a:gd name="T30" fmla="*/ 395 w 1079"/>
                <a:gd name="T31" fmla="*/ 949 h 1206"/>
                <a:gd name="T32" fmla="*/ 1047 w 1079"/>
                <a:gd name="T33" fmla="*/ 406 h 1206"/>
                <a:gd name="T34" fmla="*/ 1079 w 1079"/>
                <a:gd name="T35" fmla="*/ 359 h 1206"/>
                <a:gd name="T36" fmla="*/ 695 w 1079"/>
                <a:gd name="T37" fmla="*/ 124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1206">
                  <a:moveTo>
                    <a:pt x="695" y="124"/>
                  </a:moveTo>
                  <a:cubicBezTo>
                    <a:pt x="834" y="90"/>
                    <a:pt x="834" y="90"/>
                    <a:pt x="834" y="9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07" y="73"/>
                    <a:pt x="507" y="73"/>
                    <a:pt x="507" y="73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38" y="217"/>
                    <a:pt x="638" y="217"/>
                    <a:pt x="638" y="217"/>
                  </a:cubicBezTo>
                  <a:cubicBezTo>
                    <a:pt x="924" y="392"/>
                    <a:pt x="924" y="392"/>
                    <a:pt x="924" y="392"/>
                  </a:cubicBezTo>
                  <a:cubicBezTo>
                    <a:pt x="800" y="559"/>
                    <a:pt x="651" y="677"/>
                    <a:pt x="528" y="753"/>
                  </a:cubicBezTo>
                  <a:cubicBezTo>
                    <a:pt x="462" y="795"/>
                    <a:pt x="403" y="825"/>
                    <a:pt x="362" y="844"/>
                  </a:cubicBezTo>
                  <a:cubicBezTo>
                    <a:pt x="353" y="849"/>
                    <a:pt x="344" y="853"/>
                    <a:pt x="337" y="856"/>
                  </a:cubicBezTo>
                  <a:cubicBezTo>
                    <a:pt x="301" y="823"/>
                    <a:pt x="253" y="803"/>
                    <a:pt x="201" y="803"/>
                  </a:cubicBezTo>
                  <a:cubicBezTo>
                    <a:pt x="90" y="803"/>
                    <a:pt x="0" y="894"/>
                    <a:pt x="0" y="1005"/>
                  </a:cubicBezTo>
                  <a:cubicBezTo>
                    <a:pt x="0" y="1116"/>
                    <a:pt x="90" y="1206"/>
                    <a:pt x="201" y="1206"/>
                  </a:cubicBezTo>
                  <a:cubicBezTo>
                    <a:pt x="312" y="1206"/>
                    <a:pt x="403" y="1116"/>
                    <a:pt x="403" y="1005"/>
                  </a:cubicBezTo>
                  <a:cubicBezTo>
                    <a:pt x="403" y="986"/>
                    <a:pt x="400" y="967"/>
                    <a:pt x="395" y="949"/>
                  </a:cubicBezTo>
                  <a:cubicBezTo>
                    <a:pt x="524" y="891"/>
                    <a:pt x="829" y="729"/>
                    <a:pt x="1047" y="406"/>
                  </a:cubicBezTo>
                  <a:cubicBezTo>
                    <a:pt x="1079" y="359"/>
                    <a:pt x="1079" y="359"/>
                    <a:pt x="1079" y="359"/>
                  </a:cubicBezTo>
                  <a:lnTo>
                    <a:pt x="695" y="124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black">
            <a:xfrm>
              <a:off x="1561485" y="4262557"/>
              <a:ext cx="257708" cy="384664"/>
            </a:xfrm>
            <a:custGeom>
              <a:avLst/>
              <a:gdLst>
                <a:gd name="T0" fmla="*/ 537 w 738"/>
                <a:gd name="T1" fmla="*/ 706 h 1109"/>
                <a:gd name="T2" fmla="*/ 506 w 738"/>
                <a:gd name="T3" fmla="*/ 708 h 1109"/>
                <a:gd name="T4" fmla="*/ 273 w 738"/>
                <a:gd name="T5" fmla="*/ 155 h 1109"/>
                <a:gd name="T6" fmla="*/ 408 w 738"/>
                <a:gd name="T7" fmla="*/ 101 h 1109"/>
                <a:gd name="T8" fmla="*/ 368 w 738"/>
                <a:gd name="T9" fmla="*/ 0 h 1109"/>
                <a:gd name="T10" fmla="*/ 0 w 738"/>
                <a:gd name="T11" fmla="*/ 147 h 1109"/>
                <a:gd name="T12" fmla="*/ 41 w 738"/>
                <a:gd name="T13" fmla="*/ 248 h 1109"/>
                <a:gd name="T14" fmla="*/ 172 w 738"/>
                <a:gd name="T15" fmla="*/ 195 h 1109"/>
                <a:gd name="T16" fmla="*/ 407 w 738"/>
                <a:gd name="T17" fmla="*/ 753 h 1109"/>
                <a:gd name="T18" fmla="*/ 335 w 738"/>
                <a:gd name="T19" fmla="*/ 908 h 1109"/>
                <a:gd name="T20" fmla="*/ 537 w 738"/>
                <a:gd name="T21" fmla="*/ 1109 h 1109"/>
                <a:gd name="T22" fmla="*/ 738 w 738"/>
                <a:gd name="T23" fmla="*/ 908 h 1109"/>
                <a:gd name="T24" fmla="*/ 537 w 738"/>
                <a:gd name="T25" fmla="*/ 706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8" h="1109">
                  <a:moveTo>
                    <a:pt x="537" y="706"/>
                  </a:moveTo>
                  <a:cubicBezTo>
                    <a:pt x="526" y="706"/>
                    <a:pt x="516" y="707"/>
                    <a:pt x="506" y="708"/>
                  </a:cubicBezTo>
                  <a:cubicBezTo>
                    <a:pt x="273" y="155"/>
                    <a:pt x="273" y="155"/>
                    <a:pt x="273" y="155"/>
                  </a:cubicBezTo>
                  <a:cubicBezTo>
                    <a:pt x="408" y="101"/>
                    <a:pt x="408" y="101"/>
                    <a:pt x="408" y="101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41" y="248"/>
                    <a:pt x="41" y="248"/>
                    <a:pt x="41" y="248"/>
                  </a:cubicBezTo>
                  <a:cubicBezTo>
                    <a:pt x="172" y="195"/>
                    <a:pt x="172" y="195"/>
                    <a:pt x="172" y="195"/>
                  </a:cubicBezTo>
                  <a:cubicBezTo>
                    <a:pt x="407" y="753"/>
                    <a:pt x="407" y="753"/>
                    <a:pt x="407" y="753"/>
                  </a:cubicBezTo>
                  <a:cubicBezTo>
                    <a:pt x="363" y="790"/>
                    <a:pt x="335" y="846"/>
                    <a:pt x="335" y="908"/>
                  </a:cubicBezTo>
                  <a:cubicBezTo>
                    <a:pt x="335" y="1019"/>
                    <a:pt x="425" y="1109"/>
                    <a:pt x="537" y="1109"/>
                  </a:cubicBezTo>
                  <a:cubicBezTo>
                    <a:pt x="648" y="1109"/>
                    <a:pt x="738" y="1019"/>
                    <a:pt x="738" y="908"/>
                  </a:cubicBezTo>
                  <a:cubicBezTo>
                    <a:pt x="738" y="796"/>
                    <a:pt x="648" y="706"/>
                    <a:pt x="537" y="70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099852" y="427161"/>
            <a:ext cx="792000" cy="792000"/>
            <a:chOff x="10100161" y="593962"/>
            <a:chExt cx="792000" cy="792000"/>
          </a:xfrm>
        </p:grpSpPr>
        <p:grpSp>
          <p:nvGrpSpPr>
            <p:cNvPr id="40" name="Group 39"/>
            <p:cNvGrpSpPr/>
            <p:nvPr/>
          </p:nvGrpSpPr>
          <p:grpSpPr bwMode="black">
            <a:xfrm>
              <a:off x="10106585" y="612729"/>
              <a:ext cx="779152" cy="754467"/>
              <a:chOff x="446088" y="3778250"/>
              <a:chExt cx="920750" cy="920750"/>
            </a:xfrm>
            <a:solidFill>
              <a:srgbClr val="FFFFFF"/>
            </a:solidFill>
          </p:grpSpPr>
          <p:sp>
            <p:nvSpPr>
              <p:cNvPr id="42" name="Freeform 29"/>
              <p:cNvSpPr>
                <a:spLocks noEditPoints="1"/>
              </p:cNvSpPr>
              <p:nvPr/>
            </p:nvSpPr>
            <p:spPr bwMode="black">
              <a:xfrm>
                <a:off x="446088" y="3778250"/>
                <a:ext cx="920750" cy="920750"/>
              </a:xfrm>
              <a:custGeom>
                <a:avLst/>
                <a:gdLst>
                  <a:gd name="T0" fmla="*/ 494 w 518"/>
                  <a:gd name="T1" fmla="*/ 216 h 518"/>
                  <a:gd name="T2" fmla="*/ 302 w 518"/>
                  <a:gd name="T3" fmla="*/ 24 h 518"/>
                  <a:gd name="T4" fmla="*/ 216 w 518"/>
                  <a:gd name="T5" fmla="*/ 24 h 518"/>
                  <a:gd name="T6" fmla="*/ 24 w 518"/>
                  <a:gd name="T7" fmla="*/ 216 h 518"/>
                  <a:gd name="T8" fmla="*/ 24 w 518"/>
                  <a:gd name="T9" fmla="*/ 302 h 518"/>
                  <a:gd name="T10" fmla="*/ 216 w 518"/>
                  <a:gd name="T11" fmla="*/ 494 h 518"/>
                  <a:gd name="T12" fmla="*/ 302 w 518"/>
                  <a:gd name="T13" fmla="*/ 494 h 518"/>
                  <a:gd name="T14" fmla="*/ 494 w 518"/>
                  <a:gd name="T15" fmla="*/ 302 h 518"/>
                  <a:gd name="T16" fmla="*/ 494 w 518"/>
                  <a:gd name="T17" fmla="*/ 216 h 518"/>
                  <a:gd name="T18" fmla="*/ 482 w 518"/>
                  <a:gd name="T19" fmla="*/ 289 h 518"/>
                  <a:gd name="T20" fmla="*/ 289 w 518"/>
                  <a:gd name="T21" fmla="*/ 482 h 518"/>
                  <a:gd name="T22" fmla="*/ 228 w 518"/>
                  <a:gd name="T23" fmla="*/ 482 h 518"/>
                  <a:gd name="T24" fmla="*/ 36 w 518"/>
                  <a:gd name="T25" fmla="*/ 289 h 518"/>
                  <a:gd name="T26" fmla="*/ 36 w 518"/>
                  <a:gd name="T27" fmla="*/ 228 h 518"/>
                  <a:gd name="T28" fmla="*/ 228 w 518"/>
                  <a:gd name="T29" fmla="*/ 36 h 518"/>
                  <a:gd name="T30" fmla="*/ 290 w 518"/>
                  <a:gd name="T31" fmla="*/ 36 h 518"/>
                  <a:gd name="T32" fmla="*/ 482 w 518"/>
                  <a:gd name="T33" fmla="*/ 228 h 518"/>
                  <a:gd name="T34" fmla="*/ 482 w 518"/>
                  <a:gd name="T35" fmla="*/ 289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8" h="518">
                    <a:moveTo>
                      <a:pt x="494" y="216"/>
                    </a:moveTo>
                    <a:cubicBezTo>
                      <a:pt x="302" y="24"/>
                      <a:pt x="302" y="24"/>
                      <a:pt x="302" y="24"/>
                    </a:cubicBezTo>
                    <a:cubicBezTo>
                      <a:pt x="278" y="0"/>
                      <a:pt x="240" y="0"/>
                      <a:pt x="216" y="24"/>
                    </a:cubicBezTo>
                    <a:cubicBezTo>
                      <a:pt x="24" y="216"/>
                      <a:pt x="24" y="216"/>
                      <a:pt x="24" y="216"/>
                    </a:cubicBezTo>
                    <a:cubicBezTo>
                      <a:pt x="0" y="240"/>
                      <a:pt x="0" y="278"/>
                      <a:pt x="24" y="302"/>
                    </a:cubicBezTo>
                    <a:cubicBezTo>
                      <a:pt x="216" y="494"/>
                      <a:pt x="216" y="494"/>
                      <a:pt x="216" y="494"/>
                    </a:cubicBezTo>
                    <a:cubicBezTo>
                      <a:pt x="240" y="518"/>
                      <a:pt x="278" y="518"/>
                      <a:pt x="302" y="494"/>
                    </a:cubicBezTo>
                    <a:cubicBezTo>
                      <a:pt x="494" y="302"/>
                      <a:pt x="494" y="302"/>
                      <a:pt x="494" y="302"/>
                    </a:cubicBezTo>
                    <a:cubicBezTo>
                      <a:pt x="518" y="278"/>
                      <a:pt x="518" y="240"/>
                      <a:pt x="494" y="216"/>
                    </a:cubicBezTo>
                    <a:close/>
                    <a:moveTo>
                      <a:pt x="482" y="289"/>
                    </a:moveTo>
                    <a:cubicBezTo>
                      <a:pt x="289" y="482"/>
                      <a:pt x="289" y="482"/>
                      <a:pt x="289" y="482"/>
                    </a:cubicBezTo>
                    <a:cubicBezTo>
                      <a:pt x="273" y="499"/>
                      <a:pt x="245" y="499"/>
                      <a:pt x="228" y="482"/>
                    </a:cubicBezTo>
                    <a:cubicBezTo>
                      <a:pt x="36" y="289"/>
                      <a:pt x="36" y="289"/>
                      <a:pt x="36" y="289"/>
                    </a:cubicBezTo>
                    <a:cubicBezTo>
                      <a:pt x="19" y="273"/>
                      <a:pt x="19" y="245"/>
                      <a:pt x="36" y="228"/>
                    </a:cubicBezTo>
                    <a:cubicBezTo>
                      <a:pt x="228" y="36"/>
                      <a:pt x="228" y="36"/>
                      <a:pt x="228" y="36"/>
                    </a:cubicBezTo>
                    <a:cubicBezTo>
                      <a:pt x="245" y="19"/>
                      <a:pt x="273" y="19"/>
                      <a:pt x="290" y="36"/>
                    </a:cubicBezTo>
                    <a:cubicBezTo>
                      <a:pt x="482" y="228"/>
                      <a:pt x="482" y="228"/>
                      <a:pt x="482" y="228"/>
                    </a:cubicBezTo>
                    <a:cubicBezTo>
                      <a:pt x="499" y="245"/>
                      <a:pt x="499" y="273"/>
                      <a:pt x="482" y="289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Freeform 30"/>
              <p:cNvSpPr>
                <a:spLocks noEditPoints="1"/>
              </p:cNvSpPr>
              <p:nvPr/>
            </p:nvSpPr>
            <p:spPr bwMode="black">
              <a:xfrm>
                <a:off x="514350" y="3844925"/>
                <a:ext cx="785813" cy="785813"/>
              </a:xfrm>
              <a:custGeom>
                <a:avLst/>
                <a:gdLst>
                  <a:gd name="T0" fmla="*/ 432 w 442"/>
                  <a:gd name="T1" fmla="*/ 203 h 442"/>
                  <a:gd name="T2" fmla="*/ 239 w 442"/>
                  <a:gd name="T3" fmla="*/ 10 h 442"/>
                  <a:gd name="T4" fmla="*/ 203 w 442"/>
                  <a:gd name="T5" fmla="*/ 10 h 442"/>
                  <a:gd name="T6" fmla="*/ 10 w 442"/>
                  <a:gd name="T7" fmla="*/ 203 h 442"/>
                  <a:gd name="T8" fmla="*/ 10 w 442"/>
                  <a:gd name="T9" fmla="*/ 239 h 442"/>
                  <a:gd name="T10" fmla="*/ 203 w 442"/>
                  <a:gd name="T11" fmla="*/ 432 h 442"/>
                  <a:gd name="T12" fmla="*/ 239 w 442"/>
                  <a:gd name="T13" fmla="*/ 432 h 442"/>
                  <a:gd name="T14" fmla="*/ 432 w 442"/>
                  <a:gd name="T15" fmla="*/ 239 h 442"/>
                  <a:gd name="T16" fmla="*/ 432 w 442"/>
                  <a:gd name="T17" fmla="*/ 203 h 442"/>
                  <a:gd name="T18" fmla="*/ 279 w 442"/>
                  <a:gd name="T19" fmla="*/ 255 h 442"/>
                  <a:gd name="T20" fmla="*/ 207 w 442"/>
                  <a:gd name="T21" fmla="*/ 277 h 442"/>
                  <a:gd name="T22" fmla="*/ 184 w 442"/>
                  <a:gd name="T23" fmla="*/ 294 h 442"/>
                  <a:gd name="T24" fmla="*/ 199 w 442"/>
                  <a:gd name="T25" fmla="*/ 311 h 442"/>
                  <a:gd name="T26" fmla="*/ 221 w 442"/>
                  <a:gd name="T27" fmla="*/ 325 h 442"/>
                  <a:gd name="T28" fmla="*/ 241 w 442"/>
                  <a:gd name="T29" fmla="*/ 367 h 442"/>
                  <a:gd name="T30" fmla="*/ 241 w 442"/>
                  <a:gd name="T31" fmla="*/ 371 h 442"/>
                  <a:gd name="T32" fmla="*/ 241 w 442"/>
                  <a:gd name="T33" fmla="*/ 381 h 442"/>
                  <a:gd name="T34" fmla="*/ 199 w 442"/>
                  <a:gd name="T35" fmla="*/ 381 h 442"/>
                  <a:gd name="T36" fmla="*/ 199 w 442"/>
                  <a:gd name="T37" fmla="*/ 369 h 442"/>
                  <a:gd name="T38" fmla="*/ 199 w 442"/>
                  <a:gd name="T39" fmla="*/ 367 h 442"/>
                  <a:gd name="T40" fmla="*/ 200 w 442"/>
                  <a:gd name="T41" fmla="*/ 367 h 442"/>
                  <a:gd name="T42" fmla="*/ 194 w 442"/>
                  <a:gd name="T43" fmla="*/ 358 h 442"/>
                  <a:gd name="T44" fmla="*/ 184 w 442"/>
                  <a:gd name="T45" fmla="*/ 351 h 442"/>
                  <a:gd name="T46" fmla="*/ 156 w 442"/>
                  <a:gd name="T47" fmla="*/ 333 h 442"/>
                  <a:gd name="T48" fmla="*/ 140 w 442"/>
                  <a:gd name="T49" fmla="*/ 296 h 442"/>
                  <a:gd name="T50" fmla="*/ 140 w 442"/>
                  <a:gd name="T51" fmla="*/ 292 h 442"/>
                  <a:gd name="T52" fmla="*/ 156 w 442"/>
                  <a:gd name="T53" fmla="*/ 258 h 442"/>
                  <a:gd name="T54" fmla="*/ 186 w 442"/>
                  <a:gd name="T55" fmla="*/ 242 h 442"/>
                  <a:gd name="T56" fmla="*/ 188 w 442"/>
                  <a:gd name="T57" fmla="*/ 241 h 442"/>
                  <a:gd name="T58" fmla="*/ 231 w 442"/>
                  <a:gd name="T59" fmla="*/ 233 h 442"/>
                  <a:gd name="T60" fmla="*/ 249 w 442"/>
                  <a:gd name="T61" fmla="*/ 221 h 442"/>
                  <a:gd name="T62" fmla="*/ 218 w 442"/>
                  <a:gd name="T63" fmla="*/ 194 h 442"/>
                  <a:gd name="T64" fmla="*/ 198 w 442"/>
                  <a:gd name="T65" fmla="*/ 152 h 442"/>
                  <a:gd name="T66" fmla="*/ 199 w 442"/>
                  <a:gd name="T67" fmla="*/ 145 h 442"/>
                  <a:gd name="T68" fmla="*/ 160 w 442"/>
                  <a:gd name="T69" fmla="*/ 145 h 442"/>
                  <a:gd name="T70" fmla="*/ 160 w 442"/>
                  <a:gd name="T71" fmla="*/ 145 h 442"/>
                  <a:gd name="T72" fmla="*/ 152 w 442"/>
                  <a:gd name="T73" fmla="*/ 138 h 442"/>
                  <a:gd name="T74" fmla="*/ 153 w 442"/>
                  <a:gd name="T75" fmla="*/ 134 h 442"/>
                  <a:gd name="T76" fmla="*/ 221 w 442"/>
                  <a:gd name="T77" fmla="*/ 42 h 442"/>
                  <a:gd name="T78" fmla="*/ 292 w 442"/>
                  <a:gd name="T79" fmla="*/ 133 h 442"/>
                  <a:gd name="T80" fmla="*/ 292 w 442"/>
                  <a:gd name="T81" fmla="*/ 133 h 442"/>
                  <a:gd name="T82" fmla="*/ 294 w 442"/>
                  <a:gd name="T83" fmla="*/ 138 h 442"/>
                  <a:gd name="T84" fmla="*/ 286 w 442"/>
                  <a:gd name="T85" fmla="*/ 145 h 442"/>
                  <a:gd name="T86" fmla="*/ 286 w 442"/>
                  <a:gd name="T87" fmla="*/ 145 h 442"/>
                  <a:gd name="T88" fmla="*/ 241 w 442"/>
                  <a:gd name="T89" fmla="*/ 145 h 442"/>
                  <a:gd name="T90" fmla="*/ 240 w 442"/>
                  <a:gd name="T91" fmla="*/ 152 h 442"/>
                  <a:gd name="T92" fmla="*/ 243 w 442"/>
                  <a:gd name="T93" fmla="*/ 160 h 442"/>
                  <a:gd name="T94" fmla="*/ 248 w 442"/>
                  <a:gd name="T95" fmla="*/ 163 h 442"/>
                  <a:gd name="T96" fmla="*/ 249 w 442"/>
                  <a:gd name="T97" fmla="*/ 163 h 442"/>
                  <a:gd name="T98" fmla="*/ 251 w 442"/>
                  <a:gd name="T99" fmla="*/ 164 h 442"/>
                  <a:gd name="T100" fmla="*/ 278 w 442"/>
                  <a:gd name="T101" fmla="*/ 179 h 442"/>
                  <a:gd name="T102" fmla="*/ 295 w 442"/>
                  <a:gd name="T103" fmla="*/ 211 h 442"/>
                  <a:gd name="T104" fmla="*/ 296 w 442"/>
                  <a:gd name="T105" fmla="*/ 220 h 442"/>
                  <a:gd name="T106" fmla="*/ 279 w 442"/>
                  <a:gd name="T107" fmla="*/ 255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2" h="442">
                    <a:moveTo>
                      <a:pt x="432" y="203"/>
                    </a:moveTo>
                    <a:cubicBezTo>
                      <a:pt x="239" y="10"/>
                      <a:pt x="239" y="10"/>
                      <a:pt x="239" y="10"/>
                    </a:cubicBezTo>
                    <a:cubicBezTo>
                      <a:pt x="229" y="0"/>
                      <a:pt x="213" y="0"/>
                      <a:pt x="203" y="10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0" y="213"/>
                      <a:pt x="0" y="229"/>
                      <a:pt x="10" y="239"/>
                    </a:cubicBezTo>
                    <a:cubicBezTo>
                      <a:pt x="203" y="432"/>
                      <a:pt x="203" y="432"/>
                      <a:pt x="203" y="432"/>
                    </a:cubicBezTo>
                    <a:cubicBezTo>
                      <a:pt x="213" y="442"/>
                      <a:pt x="229" y="442"/>
                      <a:pt x="239" y="432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42" y="229"/>
                      <a:pt x="442" y="213"/>
                      <a:pt x="432" y="203"/>
                    </a:cubicBezTo>
                    <a:close/>
                    <a:moveTo>
                      <a:pt x="279" y="255"/>
                    </a:moveTo>
                    <a:cubicBezTo>
                      <a:pt x="257" y="276"/>
                      <a:pt x="207" y="277"/>
                      <a:pt x="207" y="277"/>
                    </a:cubicBezTo>
                    <a:cubicBezTo>
                      <a:pt x="207" y="277"/>
                      <a:pt x="185" y="277"/>
                      <a:pt x="184" y="294"/>
                    </a:cubicBezTo>
                    <a:cubicBezTo>
                      <a:pt x="183" y="303"/>
                      <a:pt x="193" y="308"/>
                      <a:pt x="199" y="311"/>
                    </a:cubicBezTo>
                    <a:cubicBezTo>
                      <a:pt x="199" y="311"/>
                      <a:pt x="212" y="317"/>
                      <a:pt x="221" y="325"/>
                    </a:cubicBezTo>
                    <a:cubicBezTo>
                      <a:pt x="229" y="333"/>
                      <a:pt x="241" y="346"/>
                      <a:pt x="241" y="367"/>
                    </a:cubicBezTo>
                    <a:cubicBezTo>
                      <a:pt x="241" y="368"/>
                      <a:pt x="241" y="370"/>
                      <a:pt x="241" y="371"/>
                    </a:cubicBezTo>
                    <a:cubicBezTo>
                      <a:pt x="241" y="381"/>
                      <a:pt x="241" y="381"/>
                      <a:pt x="241" y="381"/>
                    </a:cubicBezTo>
                    <a:cubicBezTo>
                      <a:pt x="199" y="381"/>
                      <a:pt x="199" y="381"/>
                      <a:pt x="199" y="381"/>
                    </a:cubicBezTo>
                    <a:cubicBezTo>
                      <a:pt x="199" y="369"/>
                      <a:pt x="199" y="369"/>
                      <a:pt x="199" y="369"/>
                    </a:cubicBezTo>
                    <a:cubicBezTo>
                      <a:pt x="199" y="367"/>
                      <a:pt x="199" y="367"/>
                      <a:pt x="199" y="367"/>
                    </a:cubicBezTo>
                    <a:cubicBezTo>
                      <a:pt x="199" y="367"/>
                      <a:pt x="200" y="367"/>
                      <a:pt x="200" y="367"/>
                    </a:cubicBezTo>
                    <a:cubicBezTo>
                      <a:pt x="200" y="366"/>
                      <a:pt x="198" y="362"/>
                      <a:pt x="194" y="358"/>
                    </a:cubicBezTo>
                    <a:cubicBezTo>
                      <a:pt x="190" y="354"/>
                      <a:pt x="186" y="352"/>
                      <a:pt x="184" y="351"/>
                    </a:cubicBezTo>
                    <a:cubicBezTo>
                      <a:pt x="174" y="347"/>
                      <a:pt x="165" y="341"/>
                      <a:pt x="156" y="333"/>
                    </a:cubicBezTo>
                    <a:cubicBezTo>
                      <a:pt x="147" y="324"/>
                      <a:pt x="140" y="311"/>
                      <a:pt x="140" y="296"/>
                    </a:cubicBezTo>
                    <a:cubicBezTo>
                      <a:pt x="140" y="294"/>
                      <a:pt x="140" y="293"/>
                      <a:pt x="140" y="292"/>
                    </a:cubicBezTo>
                    <a:cubicBezTo>
                      <a:pt x="141" y="279"/>
                      <a:pt x="147" y="266"/>
                      <a:pt x="156" y="258"/>
                    </a:cubicBezTo>
                    <a:cubicBezTo>
                      <a:pt x="165" y="250"/>
                      <a:pt x="176" y="245"/>
                      <a:pt x="186" y="242"/>
                    </a:cubicBezTo>
                    <a:cubicBezTo>
                      <a:pt x="188" y="241"/>
                      <a:pt x="188" y="241"/>
                      <a:pt x="188" y="241"/>
                    </a:cubicBezTo>
                    <a:cubicBezTo>
                      <a:pt x="231" y="233"/>
                      <a:pt x="231" y="233"/>
                      <a:pt x="231" y="233"/>
                    </a:cubicBezTo>
                    <a:cubicBezTo>
                      <a:pt x="231" y="233"/>
                      <a:pt x="245" y="231"/>
                      <a:pt x="249" y="221"/>
                    </a:cubicBezTo>
                    <a:cubicBezTo>
                      <a:pt x="254" y="206"/>
                      <a:pt x="225" y="200"/>
                      <a:pt x="218" y="194"/>
                    </a:cubicBezTo>
                    <a:cubicBezTo>
                      <a:pt x="208" y="187"/>
                      <a:pt x="198" y="171"/>
                      <a:pt x="198" y="152"/>
                    </a:cubicBezTo>
                    <a:cubicBezTo>
                      <a:pt x="198" y="150"/>
                      <a:pt x="198" y="147"/>
                      <a:pt x="199" y="145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56" y="145"/>
                      <a:pt x="152" y="142"/>
                      <a:pt x="152" y="138"/>
                    </a:cubicBezTo>
                    <a:cubicBezTo>
                      <a:pt x="152" y="136"/>
                      <a:pt x="153" y="135"/>
                      <a:pt x="153" y="134"/>
                    </a:cubicBezTo>
                    <a:cubicBezTo>
                      <a:pt x="221" y="42"/>
                      <a:pt x="221" y="42"/>
                      <a:pt x="221" y="42"/>
                    </a:cubicBezTo>
                    <a:cubicBezTo>
                      <a:pt x="292" y="133"/>
                      <a:pt x="292" y="133"/>
                      <a:pt x="292" y="133"/>
                    </a:cubicBezTo>
                    <a:cubicBezTo>
                      <a:pt x="292" y="133"/>
                      <a:pt x="292" y="133"/>
                      <a:pt x="292" y="133"/>
                    </a:cubicBezTo>
                    <a:cubicBezTo>
                      <a:pt x="293" y="134"/>
                      <a:pt x="294" y="136"/>
                      <a:pt x="294" y="138"/>
                    </a:cubicBezTo>
                    <a:cubicBezTo>
                      <a:pt x="294" y="142"/>
                      <a:pt x="290" y="145"/>
                      <a:pt x="286" y="145"/>
                    </a:cubicBezTo>
                    <a:cubicBezTo>
                      <a:pt x="286" y="145"/>
                      <a:pt x="286" y="145"/>
                      <a:pt x="286" y="145"/>
                    </a:cubicBezTo>
                    <a:cubicBezTo>
                      <a:pt x="241" y="145"/>
                      <a:pt x="241" y="145"/>
                      <a:pt x="241" y="145"/>
                    </a:cubicBezTo>
                    <a:cubicBezTo>
                      <a:pt x="240" y="148"/>
                      <a:pt x="240" y="150"/>
                      <a:pt x="240" y="152"/>
                    </a:cubicBezTo>
                    <a:cubicBezTo>
                      <a:pt x="240" y="158"/>
                      <a:pt x="242" y="159"/>
                      <a:pt x="243" y="160"/>
                    </a:cubicBezTo>
                    <a:cubicBezTo>
                      <a:pt x="245" y="162"/>
                      <a:pt x="247" y="163"/>
                      <a:pt x="248" y="163"/>
                    </a:cubicBezTo>
                    <a:cubicBezTo>
                      <a:pt x="249" y="163"/>
                      <a:pt x="249" y="163"/>
                      <a:pt x="249" y="163"/>
                    </a:cubicBezTo>
                    <a:cubicBezTo>
                      <a:pt x="251" y="164"/>
                      <a:pt x="251" y="164"/>
                      <a:pt x="251" y="164"/>
                    </a:cubicBezTo>
                    <a:cubicBezTo>
                      <a:pt x="260" y="168"/>
                      <a:pt x="269" y="171"/>
                      <a:pt x="278" y="179"/>
                    </a:cubicBezTo>
                    <a:cubicBezTo>
                      <a:pt x="286" y="187"/>
                      <a:pt x="293" y="198"/>
                      <a:pt x="295" y="211"/>
                    </a:cubicBezTo>
                    <a:cubicBezTo>
                      <a:pt x="296" y="214"/>
                      <a:pt x="296" y="217"/>
                      <a:pt x="296" y="220"/>
                    </a:cubicBezTo>
                    <a:cubicBezTo>
                      <a:pt x="296" y="236"/>
                      <a:pt x="288" y="247"/>
                      <a:pt x="279" y="255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10100161" y="59396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762403" y="1157719"/>
            <a:ext cx="792000" cy="792000"/>
            <a:chOff x="9325955" y="-652240"/>
            <a:chExt cx="792000" cy="792000"/>
          </a:xfrm>
        </p:grpSpPr>
        <p:grpSp>
          <p:nvGrpSpPr>
            <p:cNvPr id="45" name="Group 22"/>
            <p:cNvGrpSpPr/>
            <p:nvPr/>
          </p:nvGrpSpPr>
          <p:grpSpPr>
            <a:xfrm>
              <a:off x="9535320" y="-616312"/>
              <a:ext cx="373271" cy="720144"/>
              <a:chOff x="3034215" y="2522888"/>
              <a:chExt cx="667560" cy="1287912"/>
            </a:xfrm>
            <a:solidFill>
              <a:schemeClr val="bg1"/>
            </a:solidFill>
          </p:grpSpPr>
          <p:sp>
            <p:nvSpPr>
              <p:cNvPr id="47" name="Freeform 36"/>
              <p:cNvSpPr>
                <a:spLocks/>
              </p:cNvSpPr>
              <p:nvPr/>
            </p:nvSpPr>
            <p:spPr bwMode="black">
              <a:xfrm>
                <a:off x="3034215" y="2761443"/>
                <a:ext cx="470133" cy="1049357"/>
              </a:xfrm>
              <a:custGeom>
                <a:avLst/>
                <a:gdLst>
                  <a:gd name="T0" fmla="*/ 252 w 562"/>
                  <a:gd name="T1" fmla="*/ 272 h 1256"/>
                  <a:gd name="T2" fmla="*/ 234 w 562"/>
                  <a:gd name="T3" fmla="*/ 192 h 1256"/>
                  <a:gd name="T4" fmla="*/ 407 w 562"/>
                  <a:gd name="T5" fmla="*/ 20 h 1256"/>
                  <a:gd name="T6" fmla="*/ 534 w 562"/>
                  <a:gd name="T7" fmla="*/ 76 h 1256"/>
                  <a:gd name="T8" fmla="*/ 562 w 562"/>
                  <a:gd name="T9" fmla="*/ 51 h 1256"/>
                  <a:gd name="T10" fmla="*/ 443 w 562"/>
                  <a:gd name="T11" fmla="*/ 0 h 1256"/>
                  <a:gd name="T12" fmla="*/ 164 w 562"/>
                  <a:gd name="T13" fmla="*/ 0 h 1256"/>
                  <a:gd name="T14" fmla="*/ 0 w 562"/>
                  <a:gd name="T15" fmla="*/ 163 h 1256"/>
                  <a:gd name="T16" fmla="*/ 0 w 562"/>
                  <a:gd name="T17" fmla="*/ 556 h 1256"/>
                  <a:gd name="T18" fmla="*/ 55 w 562"/>
                  <a:gd name="T19" fmla="*/ 612 h 1256"/>
                  <a:gd name="T20" fmla="*/ 110 w 562"/>
                  <a:gd name="T21" fmla="*/ 556 h 1256"/>
                  <a:gd name="T22" fmla="*/ 110 w 562"/>
                  <a:gd name="T23" fmla="*/ 201 h 1256"/>
                  <a:gd name="T24" fmla="*/ 139 w 562"/>
                  <a:gd name="T25" fmla="*/ 201 h 1256"/>
                  <a:gd name="T26" fmla="*/ 139 w 562"/>
                  <a:gd name="T27" fmla="*/ 1182 h 1256"/>
                  <a:gd name="T28" fmla="*/ 214 w 562"/>
                  <a:gd name="T29" fmla="*/ 1256 h 1256"/>
                  <a:gd name="T30" fmla="*/ 288 w 562"/>
                  <a:gd name="T31" fmla="*/ 1182 h 1256"/>
                  <a:gd name="T32" fmla="*/ 288 w 562"/>
                  <a:gd name="T33" fmla="*/ 615 h 1256"/>
                  <a:gd name="T34" fmla="*/ 317 w 562"/>
                  <a:gd name="T35" fmla="*/ 615 h 1256"/>
                  <a:gd name="T36" fmla="*/ 317 w 562"/>
                  <a:gd name="T37" fmla="*/ 1182 h 1256"/>
                  <a:gd name="T38" fmla="*/ 392 w 562"/>
                  <a:gd name="T39" fmla="*/ 1256 h 1256"/>
                  <a:gd name="T40" fmla="*/ 467 w 562"/>
                  <a:gd name="T41" fmla="*/ 1182 h 1256"/>
                  <a:gd name="T42" fmla="*/ 467 w 562"/>
                  <a:gd name="T43" fmla="*/ 516 h 1256"/>
                  <a:gd name="T44" fmla="*/ 252 w 562"/>
                  <a:gd name="T45" fmla="*/ 272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2" h="1256">
                    <a:moveTo>
                      <a:pt x="252" y="272"/>
                    </a:moveTo>
                    <a:cubicBezTo>
                      <a:pt x="248" y="262"/>
                      <a:pt x="234" y="225"/>
                      <a:pt x="234" y="192"/>
                    </a:cubicBezTo>
                    <a:cubicBezTo>
                      <a:pt x="234" y="97"/>
                      <a:pt x="312" y="20"/>
                      <a:pt x="407" y="20"/>
                    </a:cubicBezTo>
                    <a:cubicBezTo>
                      <a:pt x="456" y="20"/>
                      <a:pt x="501" y="41"/>
                      <a:pt x="534" y="76"/>
                    </a:cubicBezTo>
                    <a:cubicBezTo>
                      <a:pt x="542" y="66"/>
                      <a:pt x="551" y="58"/>
                      <a:pt x="562" y="51"/>
                    </a:cubicBezTo>
                    <a:cubicBezTo>
                      <a:pt x="532" y="20"/>
                      <a:pt x="490" y="0"/>
                      <a:pt x="443" y="0"/>
                    </a:cubicBezTo>
                    <a:cubicBezTo>
                      <a:pt x="164" y="0"/>
                      <a:pt x="164" y="0"/>
                      <a:pt x="164" y="0"/>
                    </a:cubicBezTo>
                    <a:cubicBezTo>
                      <a:pt x="73" y="0"/>
                      <a:pt x="0" y="73"/>
                      <a:pt x="0" y="163"/>
                    </a:cubicBezTo>
                    <a:cubicBezTo>
                      <a:pt x="0" y="556"/>
                      <a:pt x="0" y="556"/>
                      <a:pt x="0" y="556"/>
                    </a:cubicBezTo>
                    <a:cubicBezTo>
                      <a:pt x="0" y="587"/>
                      <a:pt x="25" y="612"/>
                      <a:pt x="55" y="612"/>
                    </a:cubicBezTo>
                    <a:cubicBezTo>
                      <a:pt x="86" y="612"/>
                      <a:pt x="110" y="587"/>
                      <a:pt x="110" y="556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39" y="1182"/>
                      <a:pt x="139" y="1182"/>
                      <a:pt x="139" y="1182"/>
                    </a:cubicBezTo>
                    <a:cubicBezTo>
                      <a:pt x="139" y="1223"/>
                      <a:pt x="173" y="1256"/>
                      <a:pt x="214" y="1256"/>
                    </a:cubicBezTo>
                    <a:cubicBezTo>
                      <a:pt x="255" y="1256"/>
                      <a:pt x="288" y="1223"/>
                      <a:pt x="288" y="1182"/>
                    </a:cubicBezTo>
                    <a:cubicBezTo>
                      <a:pt x="288" y="615"/>
                      <a:pt x="288" y="615"/>
                      <a:pt x="288" y="615"/>
                    </a:cubicBezTo>
                    <a:cubicBezTo>
                      <a:pt x="317" y="615"/>
                      <a:pt x="317" y="615"/>
                      <a:pt x="317" y="615"/>
                    </a:cubicBezTo>
                    <a:cubicBezTo>
                      <a:pt x="317" y="1182"/>
                      <a:pt x="317" y="1182"/>
                      <a:pt x="317" y="1182"/>
                    </a:cubicBezTo>
                    <a:cubicBezTo>
                      <a:pt x="317" y="1223"/>
                      <a:pt x="351" y="1256"/>
                      <a:pt x="392" y="1256"/>
                    </a:cubicBezTo>
                    <a:cubicBezTo>
                      <a:pt x="433" y="1256"/>
                      <a:pt x="467" y="1223"/>
                      <a:pt x="467" y="1182"/>
                    </a:cubicBezTo>
                    <a:cubicBezTo>
                      <a:pt x="467" y="516"/>
                      <a:pt x="467" y="516"/>
                      <a:pt x="467" y="516"/>
                    </a:cubicBezTo>
                    <a:cubicBezTo>
                      <a:pt x="398" y="459"/>
                      <a:pt x="284" y="354"/>
                      <a:pt x="252" y="272"/>
                    </a:cubicBezTo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dirty="0">
                  <a:solidFill>
                    <a:srgbClr val="737373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Oval 38"/>
              <p:cNvSpPr>
                <a:spLocks noChangeArrowheads="1"/>
              </p:cNvSpPr>
              <p:nvPr/>
            </p:nvSpPr>
            <p:spPr bwMode="black">
              <a:xfrm>
                <a:off x="3181930" y="2522888"/>
                <a:ext cx="210210" cy="212995"/>
              </a:xfrm>
              <a:prstGeom prst="ellipse">
                <a:avLst/>
              </a:pr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dirty="0">
                  <a:solidFill>
                    <a:srgbClr val="737373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Freeform 39"/>
              <p:cNvSpPr>
                <a:spLocks/>
              </p:cNvSpPr>
              <p:nvPr/>
            </p:nvSpPr>
            <p:spPr bwMode="black">
              <a:xfrm>
                <a:off x="3254367" y="2809960"/>
                <a:ext cx="447408" cy="397591"/>
              </a:xfrm>
              <a:custGeom>
                <a:avLst/>
                <a:gdLst>
                  <a:gd name="T0" fmla="*/ 267 w 535"/>
                  <a:gd name="T1" fmla="*/ 476 h 477"/>
                  <a:gd name="T2" fmla="*/ 15 w 535"/>
                  <a:gd name="T3" fmla="*/ 208 h 477"/>
                  <a:gd name="T4" fmla="*/ 0 w 535"/>
                  <a:gd name="T5" fmla="*/ 140 h 477"/>
                  <a:gd name="T6" fmla="*/ 141 w 535"/>
                  <a:gd name="T7" fmla="*/ 0 h 477"/>
                  <a:gd name="T8" fmla="*/ 268 w 535"/>
                  <a:gd name="T9" fmla="*/ 80 h 477"/>
                  <a:gd name="T10" fmla="*/ 394 w 535"/>
                  <a:gd name="T11" fmla="*/ 0 h 477"/>
                  <a:gd name="T12" fmla="*/ 535 w 535"/>
                  <a:gd name="T13" fmla="*/ 140 h 477"/>
                  <a:gd name="T14" fmla="*/ 520 w 535"/>
                  <a:gd name="T15" fmla="*/ 208 h 477"/>
                  <a:gd name="T16" fmla="*/ 269 w 535"/>
                  <a:gd name="T17" fmla="*/ 476 h 477"/>
                  <a:gd name="T18" fmla="*/ 268 w 535"/>
                  <a:gd name="T19" fmla="*/ 477 h 477"/>
                  <a:gd name="T20" fmla="*/ 267 w 535"/>
                  <a:gd name="T21" fmla="*/ 476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5" h="477">
                    <a:moveTo>
                      <a:pt x="267" y="476"/>
                    </a:moveTo>
                    <a:cubicBezTo>
                      <a:pt x="247" y="461"/>
                      <a:pt x="55" y="310"/>
                      <a:pt x="15" y="208"/>
                    </a:cubicBezTo>
                    <a:cubicBezTo>
                      <a:pt x="8" y="189"/>
                      <a:pt x="0" y="162"/>
                      <a:pt x="0" y="140"/>
                    </a:cubicBezTo>
                    <a:cubicBezTo>
                      <a:pt x="0" y="63"/>
                      <a:pt x="63" y="0"/>
                      <a:pt x="141" y="0"/>
                    </a:cubicBezTo>
                    <a:cubicBezTo>
                      <a:pt x="197" y="0"/>
                      <a:pt x="245" y="33"/>
                      <a:pt x="268" y="80"/>
                    </a:cubicBezTo>
                    <a:cubicBezTo>
                      <a:pt x="290" y="33"/>
                      <a:pt x="339" y="0"/>
                      <a:pt x="394" y="0"/>
                    </a:cubicBezTo>
                    <a:cubicBezTo>
                      <a:pt x="472" y="0"/>
                      <a:pt x="535" y="63"/>
                      <a:pt x="535" y="140"/>
                    </a:cubicBezTo>
                    <a:cubicBezTo>
                      <a:pt x="535" y="162"/>
                      <a:pt x="527" y="189"/>
                      <a:pt x="520" y="208"/>
                    </a:cubicBezTo>
                    <a:cubicBezTo>
                      <a:pt x="480" y="310"/>
                      <a:pt x="288" y="461"/>
                      <a:pt x="269" y="476"/>
                    </a:cubicBezTo>
                    <a:cubicBezTo>
                      <a:pt x="268" y="477"/>
                      <a:pt x="268" y="477"/>
                      <a:pt x="268" y="477"/>
                    </a:cubicBezTo>
                    <a:lnTo>
                      <a:pt x="267" y="476"/>
                    </a:ln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dirty="0">
                  <a:solidFill>
                    <a:srgbClr val="737373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6" name="Rectangle 45"/>
            <p:cNvSpPr/>
            <p:nvPr/>
          </p:nvSpPr>
          <p:spPr>
            <a:xfrm>
              <a:off x="9325955" y="-65224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652208" y="411510"/>
            <a:ext cx="792000" cy="792000"/>
            <a:chOff x="9795897" y="624526"/>
            <a:chExt cx="792000" cy="792000"/>
          </a:xfrm>
        </p:grpSpPr>
        <p:sp>
          <p:nvSpPr>
            <p:cNvPr id="53" name="Freeform 56"/>
            <p:cNvSpPr>
              <a:spLocks noChangeAspect="1" noEditPoints="1"/>
            </p:cNvSpPr>
            <p:nvPr/>
          </p:nvSpPr>
          <p:spPr bwMode="auto">
            <a:xfrm>
              <a:off x="9836199" y="673233"/>
              <a:ext cx="711397" cy="694587"/>
            </a:xfrm>
            <a:custGeom>
              <a:avLst/>
              <a:gdLst>
                <a:gd name="T0" fmla="*/ 696 w 1193"/>
                <a:gd name="T1" fmla="*/ 482 h 1151"/>
                <a:gd name="T2" fmla="*/ 695 w 1193"/>
                <a:gd name="T3" fmla="*/ 292 h 1151"/>
                <a:gd name="T4" fmla="*/ 713 w 1193"/>
                <a:gd name="T5" fmla="*/ 497 h 1151"/>
                <a:gd name="T6" fmla="*/ 712 w 1193"/>
                <a:gd name="T7" fmla="*/ 506 h 1151"/>
                <a:gd name="T8" fmla="*/ 746 w 1193"/>
                <a:gd name="T9" fmla="*/ 539 h 1151"/>
                <a:gd name="T10" fmla="*/ 779 w 1193"/>
                <a:gd name="T11" fmla="*/ 506 h 1151"/>
                <a:gd name="T12" fmla="*/ 779 w 1193"/>
                <a:gd name="T13" fmla="*/ 269 h 1151"/>
                <a:gd name="T14" fmla="*/ 753 w 1193"/>
                <a:gd name="T15" fmla="*/ 202 h 1151"/>
                <a:gd name="T16" fmla="*/ 680 w 1193"/>
                <a:gd name="T17" fmla="*/ 171 h 1151"/>
                <a:gd name="T18" fmla="*/ 512 w 1193"/>
                <a:gd name="T19" fmla="*/ 171 h 1151"/>
                <a:gd name="T20" fmla="*/ 440 w 1193"/>
                <a:gd name="T21" fmla="*/ 202 h 1151"/>
                <a:gd name="T22" fmla="*/ 414 w 1193"/>
                <a:gd name="T23" fmla="*/ 506 h 1151"/>
                <a:gd name="T24" fmla="*/ 480 w 1193"/>
                <a:gd name="T25" fmla="*/ 506 h 1151"/>
                <a:gd name="T26" fmla="*/ 498 w 1193"/>
                <a:gd name="T27" fmla="*/ 292 h 1151"/>
                <a:gd name="T28" fmla="*/ 497 w 1193"/>
                <a:gd name="T29" fmla="*/ 482 h 1151"/>
                <a:gd name="T30" fmla="*/ 0 w 1193"/>
                <a:gd name="T31" fmla="*/ 954 h 1151"/>
                <a:gd name="T32" fmla="*/ 1193 w 1193"/>
                <a:gd name="T33" fmla="*/ 954 h 1151"/>
                <a:gd name="T34" fmla="*/ 588 w 1193"/>
                <a:gd name="T35" fmla="*/ 541 h 1151"/>
                <a:gd name="T36" fmla="*/ 605 w 1193"/>
                <a:gd name="T37" fmla="*/ 757 h 1151"/>
                <a:gd name="T38" fmla="*/ 588 w 1193"/>
                <a:gd name="T39" fmla="*/ 757 h 1151"/>
                <a:gd name="T40" fmla="*/ 367 w 1193"/>
                <a:gd name="T41" fmla="*/ 906 h 1151"/>
                <a:gd name="T42" fmla="*/ 826 w 1193"/>
                <a:gd name="T43" fmla="*/ 906 h 1151"/>
                <a:gd name="T44" fmla="*/ 696 w 1193"/>
                <a:gd name="T45" fmla="*/ 817 h 1151"/>
                <a:gd name="T46" fmla="*/ 596 w 1193"/>
                <a:gd name="T47" fmla="*/ 1024 h 1151"/>
                <a:gd name="T48" fmla="*/ 497 w 1193"/>
                <a:gd name="T49" fmla="*/ 817 h 1151"/>
                <a:gd name="T50" fmla="*/ 367 w 1193"/>
                <a:gd name="T51" fmla="*/ 906 h 1151"/>
                <a:gd name="T52" fmla="*/ 596 w 1193"/>
                <a:gd name="T53" fmla="*/ 830 h 1151"/>
                <a:gd name="T54" fmla="*/ 588 w 1193"/>
                <a:gd name="T55" fmla="*/ 812 h 1151"/>
                <a:gd name="T56" fmla="*/ 605 w 1193"/>
                <a:gd name="T57" fmla="*/ 812 h 1151"/>
                <a:gd name="T58" fmla="*/ 596 w 1193"/>
                <a:gd name="T59" fmla="*/ 793 h 1151"/>
                <a:gd name="T60" fmla="*/ 588 w 1193"/>
                <a:gd name="T61" fmla="*/ 775 h 1151"/>
                <a:gd name="T62" fmla="*/ 605 w 1193"/>
                <a:gd name="T63" fmla="*/ 775 h 1151"/>
                <a:gd name="T64" fmla="*/ 596 w 1193"/>
                <a:gd name="T65" fmla="*/ 793 h 1151"/>
                <a:gd name="T66" fmla="*/ 92 w 1193"/>
                <a:gd name="T67" fmla="*/ 942 h 1151"/>
                <a:gd name="T68" fmla="*/ 497 w 1193"/>
                <a:gd name="T69" fmla="*/ 797 h 1151"/>
                <a:gd name="T70" fmla="*/ 596 w 1193"/>
                <a:gd name="T71" fmla="*/ 1067 h 1151"/>
                <a:gd name="T72" fmla="*/ 696 w 1193"/>
                <a:gd name="T73" fmla="*/ 797 h 1151"/>
                <a:gd name="T74" fmla="*/ 1101 w 1193"/>
                <a:gd name="T75" fmla="*/ 942 h 1151"/>
                <a:gd name="T76" fmla="*/ 520 w 1193"/>
                <a:gd name="T77" fmla="*/ 76 h 1151"/>
                <a:gd name="T78" fmla="*/ 671 w 1193"/>
                <a:gd name="T79" fmla="*/ 76 h 1151"/>
                <a:gd name="T80" fmla="*/ 520 w 1193"/>
                <a:gd name="T81" fmla="*/ 7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3" h="1151">
                  <a:moveTo>
                    <a:pt x="696" y="759"/>
                  </a:moveTo>
                  <a:cubicBezTo>
                    <a:pt x="696" y="482"/>
                    <a:pt x="696" y="482"/>
                    <a:pt x="696" y="482"/>
                  </a:cubicBezTo>
                  <a:cubicBezTo>
                    <a:pt x="696" y="481"/>
                    <a:pt x="695" y="481"/>
                    <a:pt x="695" y="481"/>
                  </a:cubicBezTo>
                  <a:cubicBezTo>
                    <a:pt x="695" y="426"/>
                    <a:pt x="695" y="363"/>
                    <a:pt x="695" y="292"/>
                  </a:cubicBezTo>
                  <a:cubicBezTo>
                    <a:pt x="695" y="292"/>
                    <a:pt x="695" y="292"/>
                    <a:pt x="713" y="292"/>
                  </a:cubicBezTo>
                  <a:cubicBezTo>
                    <a:pt x="713" y="292"/>
                    <a:pt x="713" y="292"/>
                    <a:pt x="713" y="497"/>
                  </a:cubicBezTo>
                  <a:cubicBezTo>
                    <a:pt x="712" y="496"/>
                    <a:pt x="712" y="496"/>
                    <a:pt x="712" y="496"/>
                  </a:cubicBezTo>
                  <a:cubicBezTo>
                    <a:pt x="712" y="506"/>
                    <a:pt x="712" y="506"/>
                    <a:pt x="712" y="506"/>
                  </a:cubicBezTo>
                  <a:cubicBezTo>
                    <a:pt x="712" y="514"/>
                    <a:pt x="715" y="521"/>
                    <a:pt x="720" y="527"/>
                  </a:cubicBezTo>
                  <a:cubicBezTo>
                    <a:pt x="726" y="534"/>
                    <a:pt x="735" y="539"/>
                    <a:pt x="746" y="539"/>
                  </a:cubicBezTo>
                  <a:cubicBezTo>
                    <a:pt x="764" y="539"/>
                    <a:pt x="779" y="524"/>
                    <a:pt x="779" y="506"/>
                  </a:cubicBezTo>
                  <a:cubicBezTo>
                    <a:pt x="779" y="506"/>
                    <a:pt x="779" y="506"/>
                    <a:pt x="779" y="506"/>
                  </a:cubicBezTo>
                  <a:cubicBezTo>
                    <a:pt x="779" y="505"/>
                    <a:pt x="779" y="502"/>
                    <a:pt x="779" y="479"/>
                  </a:cubicBezTo>
                  <a:cubicBezTo>
                    <a:pt x="779" y="450"/>
                    <a:pt x="779" y="392"/>
                    <a:pt x="779" y="269"/>
                  </a:cubicBezTo>
                  <a:cubicBezTo>
                    <a:pt x="779" y="243"/>
                    <a:pt x="769" y="220"/>
                    <a:pt x="752" y="202"/>
                  </a:cubicBezTo>
                  <a:cubicBezTo>
                    <a:pt x="753" y="202"/>
                    <a:pt x="753" y="202"/>
                    <a:pt x="753" y="202"/>
                  </a:cubicBezTo>
                  <a:cubicBezTo>
                    <a:pt x="735" y="183"/>
                    <a:pt x="710" y="171"/>
                    <a:pt x="681" y="171"/>
                  </a:cubicBezTo>
                  <a:cubicBezTo>
                    <a:pt x="681" y="171"/>
                    <a:pt x="680" y="171"/>
                    <a:pt x="680" y="171"/>
                  </a:cubicBezTo>
                  <a:cubicBezTo>
                    <a:pt x="513" y="171"/>
                    <a:pt x="513" y="171"/>
                    <a:pt x="513" y="171"/>
                  </a:cubicBezTo>
                  <a:cubicBezTo>
                    <a:pt x="512" y="171"/>
                    <a:pt x="512" y="171"/>
                    <a:pt x="512" y="171"/>
                  </a:cubicBezTo>
                  <a:cubicBezTo>
                    <a:pt x="483" y="171"/>
                    <a:pt x="458" y="183"/>
                    <a:pt x="440" y="202"/>
                  </a:cubicBezTo>
                  <a:cubicBezTo>
                    <a:pt x="440" y="202"/>
                    <a:pt x="440" y="202"/>
                    <a:pt x="440" y="202"/>
                  </a:cubicBezTo>
                  <a:cubicBezTo>
                    <a:pt x="424" y="220"/>
                    <a:pt x="414" y="243"/>
                    <a:pt x="414" y="269"/>
                  </a:cubicBezTo>
                  <a:cubicBezTo>
                    <a:pt x="414" y="506"/>
                    <a:pt x="414" y="506"/>
                    <a:pt x="414" y="506"/>
                  </a:cubicBezTo>
                  <a:cubicBezTo>
                    <a:pt x="414" y="524"/>
                    <a:pt x="429" y="539"/>
                    <a:pt x="447" y="539"/>
                  </a:cubicBezTo>
                  <a:cubicBezTo>
                    <a:pt x="466" y="539"/>
                    <a:pt x="480" y="524"/>
                    <a:pt x="480" y="506"/>
                  </a:cubicBezTo>
                  <a:cubicBezTo>
                    <a:pt x="480" y="292"/>
                    <a:pt x="480" y="292"/>
                    <a:pt x="480" y="292"/>
                  </a:cubicBezTo>
                  <a:cubicBezTo>
                    <a:pt x="498" y="292"/>
                    <a:pt x="498" y="292"/>
                    <a:pt x="498" y="292"/>
                  </a:cubicBezTo>
                  <a:cubicBezTo>
                    <a:pt x="498" y="363"/>
                    <a:pt x="498" y="426"/>
                    <a:pt x="498" y="481"/>
                  </a:cubicBezTo>
                  <a:cubicBezTo>
                    <a:pt x="498" y="481"/>
                    <a:pt x="497" y="481"/>
                    <a:pt x="497" y="482"/>
                  </a:cubicBezTo>
                  <a:cubicBezTo>
                    <a:pt x="497" y="482"/>
                    <a:pt x="497" y="482"/>
                    <a:pt x="497" y="759"/>
                  </a:cubicBezTo>
                  <a:cubicBezTo>
                    <a:pt x="215" y="775"/>
                    <a:pt x="0" y="856"/>
                    <a:pt x="0" y="954"/>
                  </a:cubicBezTo>
                  <a:cubicBezTo>
                    <a:pt x="0" y="1063"/>
                    <a:pt x="267" y="1151"/>
                    <a:pt x="596" y="1151"/>
                  </a:cubicBezTo>
                  <a:cubicBezTo>
                    <a:pt x="926" y="1151"/>
                    <a:pt x="1193" y="1063"/>
                    <a:pt x="1193" y="954"/>
                  </a:cubicBezTo>
                  <a:cubicBezTo>
                    <a:pt x="1193" y="856"/>
                    <a:pt x="978" y="775"/>
                    <a:pt x="696" y="759"/>
                  </a:cubicBezTo>
                  <a:close/>
                  <a:moveTo>
                    <a:pt x="588" y="541"/>
                  </a:moveTo>
                  <a:cubicBezTo>
                    <a:pt x="605" y="541"/>
                    <a:pt x="605" y="541"/>
                    <a:pt x="605" y="541"/>
                  </a:cubicBezTo>
                  <a:cubicBezTo>
                    <a:pt x="605" y="638"/>
                    <a:pt x="605" y="707"/>
                    <a:pt x="605" y="757"/>
                  </a:cubicBezTo>
                  <a:cubicBezTo>
                    <a:pt x="602" y="757"/>
                    <a:pt x="599" y="757"/>
                    <a:pt x="596" y="757"/>
                  </a:cubicBezTo>
                  <a:cubicBezTo>
                    <a:pt x="594" y="757"/>
                    <a:pt x="591" y="757"/>
                    <a:pt x="588" y="757"/>
                  </a:cubicBezTo>
                  <a:cubicBezTo>
                    <a:pt x="588" y="707"/>
                    <a:pt x="588" y="638"/>
                    <a:pt x="588" y="541"/>
                  </a:cubicBezTo>
                  <a:close/>
                  <a:moveTo>
                    <a:pt x="367" y="906"/>
                  </a:moveTo>
                  <a:cubicBezTo>
                    <a:pt x="367" y="948"/>
                    <a:pt x="470" y="982"/>
                    <a:pt x="596" y="982"/>
                  </a:cubicBezTo>
                  <a:cubicBezTo>
                    <a:pt x="723" y="982"/>
                    <a:pt x="826" y="948"/>
                    <a:pt x="826" y="906"/>
                  </a:cubicBezTo>
                  <a:cubicBezTo>
                    <a:pt x="826" y="876"/>
                    <a:pt x="773" y="850"/>
                    <a:pt x="696" y="837"/>
                  </a:cubicBezTo>
                  <a:cubicBezTo>
                    <a:pt x="696" y="830"/>
                    <a:pt x="696" y="824"/>
                    <a:pt x="696" y="817"/>
                  </a:cubicBezTo>
                  <a:cubicBezTo>
                    <a:pt x="824" y="831"/>
                    <a:pt x="917" y="871"/>
                    <a:pt x="917" y="918"/>
                  </a:cubicBezTo>
                  <a:cubicBezTo>
                    <a:pt x="917" y="977"/>
                    <a:pt x="774" y="1024"/>
                    <a:pt x="596" y="1024"/>
                  </a:cubicBezTo>
                  <a:cubicBezTo>
                    <a:pt x="419" y="1024"/>
                    <a:pt x="276" y="977"/>
                    <a:pt x="276" y="918"/>
                  </a:cubicBezTo>
                  <a:cubicBezTo>
                    <a:pt x="276" y="871"/>
                    <a:pt x="369" y="831"/>
                    <a:pt x="497" y="817"/>
                  </a:cubicBezTo>
                  <a:cubicBezTo>
                    <a:pt x="497" y="824"/>
                    <a:pt x="497" y="830"/>
                    <a:pt x="497" y="837"/>
                  </a:cubicBezTo>
                  <a:cubicBezTo>
                    <a:pt x="420" y="850"/>
                    <a:pt x="367" y="876"/>
                    <a:pt x="367" y="906"/>
                  </a:cubicBezTo>
                  <a:close/>
                  <a:moveTo>
                    <a:pt x="605" y="830"/>
                  </a:moveTo>
                  <a:cubicBezTo>
                    <a:pt x="602" y="830"/>
                    <a:pt x="599" y="830"/>
                    <a:pt x="596" y="830"/>
                  </a:cubicBezTo>
                  <a:cubicBezTo>
                    <a:pt x="594" y="830"/>
                    <a:pt x="591" y="830"/>
                    <a:pt x="588" y="830"/>
                  </a:cubicBezTo>
                  <a:cubicBezTo>
                    <a:pt x="588" y="825"/>
                    <a:pt x="588" y="818"/>
                    <a:pt x="588" y="812"/>
                  </a:cubicBezTo>
                  <a:cubicBezTo>
                    <a:pt x="591" y="812"/>
                    <a:pt x="594" y="812"/>
                    <a:pt x="596" y="812"/>
                  </a:cubicBezTo>
                  <a:cubicBezTo>
                    <a:pt x="599" y="812"/>
                    <a:pt x="602" y="812"/>
                    <a:pt x="605" y="812"/>
                  </a:cubicBezTo>
                  <a:cubicBezTo>
                    <a:pt x="605" y="818"/>
                    <a:pt x="605" y="825"/>
                    <a:pt x="605" y="830"/>
                  </a:cubicBezTo>
                  <a:close/>
                  <a:moveTo>
                    <a:pt x="596" y="793"/>
                  </a:moveTo>
                  <a:cubicBezTo>
                    <a:pt x="594" y="793"/>
                    <a:pt x="591" y="793"/>
                    <a:pt x="588" y="793"/>
                  </a:cubicBezTo>
                  <a:cubicBezTo>
                    <a:pt x="588" y="788"/>
                    <a:pt x="588" y="781"/>
                    <a:pt x="588" y="775"/>
                  </a:cubicBezTo>
                  <a:cubicBezTo>
                    <a:pt x="591" y="775"/>
                    <a:pt x="594" y="775"/>
                    <a:pt x="596" y="775"/>
                  </a:cubicBezTo>
                  <a:cubicBezTo>
                    <a:pt x="599" y="775"/>
                    <a:pt x="602" y="775"/>
                    <a:pt x="605" y="775"/>
                  </a:cubicBezTo>
                  <a:cubicBezTo>
                    <a:pt x="605" y="781"/>
                    <a:pt x="605" y="788"/>
                    <a:pt x="605" y="793"/>
                  </a:cubicBezTo>
                  <a:cubicBezTo>
                    <a:pt x="602" y="793"/>
                    <a:pt x="599" y="793"/>
                    <a:pt x="596" y="793"/>
                  </a:cubicBezTo>
                  <a:close/>
                  <a:moveTo>
                    <a:pt x="596" y="1109"/>
                  </a:moveTo>
                  <a:cubicBezTo>
                    <a:pt x="318" y="1109"/>
                    <a:pt x="92" y="1034"/>
                    <a:pt x="92" y="942"/>
                  </a:cubicBezTo>
                  <a:cubicBezTo>
                    <a:pt x="92" y="861"/>
                    <a:pt x="266" y="793"/>
                    <a:pt x="497" y="778"/>
                  </a:cubicBezTo>
                  <a:cubicBezTo>
                    <a:pt x="497" y="784"/>
                    <a:pt x="497" y="791"/>
                    <a:pt x="497" y="797"/>
                  </a:cubicBezTo>
                  <a:cubicBezTo>
                    <a:pt x="317" y="812"/>
                    <a:pt x="184" y="866"/>
                    <a:pt x="184" y="930"/>
                  </a:cubicBezTo>
                  <a:cubicBezTo>
                    <a:pt x="184" y="1005"/>
                    <a:pt x="369" y="1067"/>
                    <a:pt x="596" y="1067"/>
                  </a:cubicBezTo>
                  <a:cubicBezTo>
                    <a:pt x="824" y="1067"/>
                    <a:pt x="1009" y="1005"/>
                    <a:pt x="1009" y="930"/>
                  </a:cubicBezTo>
                  <a:cubicBezTo>
                    <a:pt x="1009" y="866"/>
                    <a:pt x="876" y="812"/>
                    <a:pt x="696" y="797"/>
                  </a:cubicBezTo>
                  <a:cubicBezTo>
                    <a:pt x="696" y="791"/>
                    <a:pt x="696" y="784"/>
                    <a:pt x="696" y="778"/>
                  </a:cubicBezTo>
                  <a:cubicBezTo>
                    <a:pt x="927" y="793"/>
                    <a:pt x="1101" y="861"/>
                    <a:pt x="1101" y="942"/>
                  </a:cubicBezTo>
                  <a:cubicBezTo>
                    <a:pt x="1101" y="1034"/>
                    <a:pt x="875" y="1109"/>
                    <a:pt x="596" y="1109"/>
                  </a:cubicBezTo>
                  <a:close/>
                  <a:moveTo>
                    <a:pt x="520" y="76"/>
                  </a:moveTo>
                  <a:cubicBezTo>
                    <a:pt x="520" y="34"/>
                    <a:pt x="554" y="0"/>
                    <a:pt x="596" y="0"/>
                  </a:cubicBezTo>
                  <a:cubicBezTo>
                    <a:pt x="637" y="0"/>
                    <a:pt x="671" y="34"/>
                    <a:pt x="671" y="76"/>
                  </a:cubicBezTo>
                  <a:cubicBezTo>
                    <a:pt x="671" y="119"/>
                    <a:pt x="637" y="153"/>
                    <a:pt x="596" y="153"/>
                  </a:cubicBezTo>
                  <a:cubicBezTo>
                    <a:pt x="554" y="153"/>
                    <a:pt x="520" y="119"/>
                    <a:pt x="520" y="7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69945" tIns="34973" rIns="69945" bIns="3497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9795897" y="62452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365422" y="1182398"/>
            <a:ext cx="792000" cy="792000"/>
            <a:chOff x="9999981" y="779301"/>
            <a:chExt cx="792000" cy="792000"/>
          </a:xfrm>
        </p:grpSpPr>
        <p:grpSp>
          <p:nvGrpSpPr>
            <p:cNvPr id="56" name="Group 55"/>
            <p:cNvGrpSpPr/>
            <p:nvPr/>
          </p:nvGrpSpPr>
          <p:grpSpPr>
            <a:xfrm>
              <a:off x="10270792" y="822829"/>
              <a:ext cx="282666" cy="705222"/>
              <a:chOff x="7921994" y="4515062"/>
              <a:chExt cx="332177" cy="828747"/>
            </a:xfrm>
          </p:grpSpPr>
          <p:sp>
            <p:nvSpPr>
              <p:cNvPr id="59" name="Freeform 16"/>
              <p:cNvSpPr>
                <a:spLocks/>
              </p:cNvSpPr>
              <p:nvPr/>
            </p:nvSpPr>
            <p:spPr bwMode="auto">
              <a:xfrm>
                <a:off x="8019081" y="4515062"/>
                <a:ext cx="138003" cy="138624"/>
              </a:xfrm>
              <a:custGeom>
                <a:avLst/>
                <a:gdLst>
                  <a:gd name="T0" fmla="*/ 125 w 253"/>
                  <a:gd name="T1" fmla="*/ 254 h 254"/>
                  <a:gd name="T2" fmla="*/ 126 w 253"/>
                  <a:gd name="T3" fmla="*/ 254 h 254"/>
                  <a:gd name="T4" fmla="*/ 127 w 253"/>
                  <a:gd name="T5" fmla="*/ 254 h 254"/>
                  <a:gd name="T6" fmla="*/ 253 w 253"/>
                  <a:gd name="T7" fmla="*/ 127 h 254"/>
                  <a:gd name="T8" fmla="*/ 127 w 253"/>
                  <a:gd name="T9" fmla="*/ 0 h 254"/>
                  <a:gd name="T10" fmla="*/ 126 w 253"/>
                  <a:gd name="T11" fmla="*/ 0 h 254"/>
                  <a:gd name="T12" fmla="*/ 125 w 253"/>
                  <a:gd name="T13" fmla="*/ 0 h 254"/>
                  <a:gd name="T14" fmla="*/ 0 w 253"/>
                  <a:gd name="T15" fmla="*/ 127 h 254"/>
                  <a:gd name="T16" fmla="*/ 125 w 253"/>
                  <a:gd name="T17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3" h="254">
                    <a:moveTo>
                      <a:pt x="125" y="254"/>
                    </a:moveTo>
                    <a:cubicBezTo>
                      <a:pt x="126" y="254"/>
                      <a:pt x="126" y="254"/>
                      <a:pt x="126" y="254"/>
                    </a:cubicBezTo>
                    <a:cubicBezTo>
                      <a:pt x="126" y="254"/>
                      <a:pt x="127" y="254"/>
                      <a:pt x="127" y="254"/>
                    </a:cubicBezTo>
                    <a:cubicBezTo>
                      <a:pt x="196" y="254"/>
                      <a:pt x="253" y="198"/>
                      <a:pt x="253" y="127"/>
                    </a:cubicBezTo>
                    <a:cubicBezTo>
                      <a:pt x="253" y="57"/>
                      <a:pt x="196" y="0"/>
                      <a:pt x="127" y="0"/>
                    </a:cubicBezTo>
                    <a:cubicBezTo>
                      <a:pt x="127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5" y="0"/>
                    </a:cubicBezTo>
                    <a:cubicBezTo>
                      <a:pt x="56" y="0"/>
                      <a:pt x="0" y="57"/>
                      <a:pt x="0" y="127"/>
                    </a:cubicBezTo>
                    <a:cubicBezTo>
                      <a:pt x="0" y="198"/>
                      <a:pt x="56" y="254"/>
                      <a:pt x="125" y="254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56">
                  <a:defRPr/>
                </a:pPr>
                <a:endParaRPr lang="en-US" sz="1600" kern="0" dirty="0">
                  <a:solidFill>
                    <a:srgbClr val="FFFFFF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60" name="Freeform 17"/>
              <p:cNvSpPr>
                <a:spLocks/>
              </p:cNvSpPr>
              <p:nvPr/>
            </p:nvSpPr>
            <p:spPr bwMode="auto">
              <a:xfrm>
                <a:off x="7921994" y="4659011"/>
                <a:ext cx="332177" cy="684798"/>
              </a:xfrm>
              <a:custGeom>
                <a:avLst/>
                <a:gdLst>
                  <a:gd name="T0" fmla="*/ 454 w 608"/>
                  <a:gd name="T1" fmla="*/ 0 h 1255"/>
                  <a:gd name="T2" fmla="*/ 453 w 608"/>
                  <a:gd name="T3" fmla="*/ 0 h 1255"/>
                  <a:gd name="T4" fmla="*/ 156 w 608"/>
                  <a:gd name="T5" fmla="*/ 0 h 1255"/>
                  <a:gd name="T6" fmla="*/ 154 w 608"/>
                  <a:gd name="T7" fmla="*/ 0 h 1255"/>
                  <a:gd name="T8" fmla="*/ 0 w 608"/>
                  <a:gd name="T9" fmla="*/ 162 h 1255"/>
                  <a:gd name="T10" fmla="*/ 0 w 608"/>
                  <a:gd name="T11" fmla="*/ 556 h 1255"/>
                  <a:gd name="T12" fmla="*/ 53 w 608"/>
                  <a:gd name="T13" fmla="*/ 611 h 1255"/>
                  <a:gd name="T14" fmla="*/ 56 w 608"/>
                  <a:gd name="T15" fmla="*/ 611 h 1255"/>
                  <a:gd name="T16" fmla="*/ 56 w 608"/>
                  <a:gd name="T17" fmla="*/ 611 h 1255"/>
                  <a:gd name="T18" fmla="*/ 56 w 608"/>
                  <a:gd name="T19" fmla="*/ 611 h 1255"/>
                  <a:gd name="T20" fmla="*/ 72 w 608"/>
                  <a:gd name="T21" fmla="*/ 609 h 1255"/>
                  <a:gd name="T22" fmla="*/ 112 w 608"/>
                  <a:gd name="T23" fmla="*/ 556 h 1255"/>
                  <a:gd name="T24" fmla="*/ 110 w 608"/>
                  <a:gd name="T25" fmla="*/ 201 h 1255"/>
                  <a:gd name="T26" fmla="*/ 139 w 608"/>
                  <a:gd name="T27" fmla="*/ 201 h 1255"/>
                  <a:gd name="T28" fmla="*/ 139 w 608"/>
                  <a:gd name="T29" fmla="*/ 1182 h 1255"/>
                  <a:gd name="T30" fmla="*/ 214 w 608"/>
                  <a:gd name="T31" fmla="*/ 1255 h 1255"/>
                  <a:gd name="T32" fmla="*/ 215 w 608"/>
                  <a:gd name="T33" fmla="*/ 1255 h 1255"/>
                  <a:gd name="T34" fmla="*/ 216 w 608"/>
                  <a:gd name="T35" fmla="*/ 1255 h 1255"/>
                  <a:gd name="T36" fmla="*/ 290 w 608"/>
                  <a:gd name="T37" fmla="*/ 1182 h 1255"/>
                  <a:gd name="T38" fmla="*/ 290 w 608"/>
                  <a:gd name="T39" fmla="*/ 614 h 1255"/>
                  <a:gd name="T40" fmla="*/ 318 w 608"/>
                  <a:gd name="T41" fmla="*/ 614 h 1255"/>
                  <a:gd name="T42" fmla="*/ 318 w 608"/>
                  <a:gd name="T43" fmla="*/ 1182 h 1255"/>
                  <a:gd name="T44" fmla="*/ 393 w 608"/>
                  <a:gd name="T45" fmla="*/ 1255 h 1255"/>
                  <a:gd name="T46" fmla="*/ 393 w 608"/>
                  <a:gd name="T47" fmla="*/ 1255 h 1255"/>
                  <a:gd name="T48" fmla="*/ 394 w 608"/>
                  <a:gd name="T49" fmla="*/ 1255 h 1255"/>
                  <a:gd name="T50" fmla="*/ 469 w 608"/>
                  <a:gd name="T51" fmla="*/ 1182 h 1255"/>
                  <a:gd name="T52" fmla="*/ 469 w 608"/>
                  <a:gd name="T53" fmla="*/ 201 h 1255"/>
                  <a:gd name="T54" fmla="*/ 498 w 608"/>
                  <a:gd name="T55" fmla="*/ 201 h 1255"/>
                  <a:gd name="T56" fmla="*/ 497 w 608"/>
                  <a:gd name="T57" fmla="*/ 556 h 1255"/>
                  <a:gd name="T58" fmla="*/ 537 w 608"/>
                  <a:gd name="T59" fmla="*/ 609 h 1255"/>
                  <a:gd name="T60" fmla="*/ 552 w 608"/>
                  <a:gd name="T61" fmla="*/ 611 h 1255"/>
                  <a:gd name="T62" fmla="*/ 552 w 608"/>
                  <a:gd name="T63" fmla="*/ 611 h 1255"/>
                  <a:gd name="T64" fmla="*/ 552 w 608"/>
                  <a:gd name="T65" fmla="*/ 611 h 1255"/>
                  <a:gd name="T66" fmla="*/ 555 w 608"/>
                  <a:gd name="T67" fmla="*/ 611 h 1255"/>
                  <a:gd name="T68" fmla="*/ 608 w 608"/>
                  <a:gd name="T69" fmla="*/ 556 h 1255"/>
                  <a:gd name="T70" fmla="*/ 608 w 608"/>
                  <a:gd name="T71" fmla="*/ 162 h 1255"/>
                  <a:gd name="T72" fmla="*/ 454 w 608"/>
                  <a:gd name="T73" fmla="*/ 0 h 1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8" h="1255">
                    <a:moveTo>
                      <a:pt x="454" y="0"/>
                    </a:moveTo>
                    <a:cubicBezTo>
                      <a:pt x="454" y="0"/>
                      <a:pt x="453" y="0"/>
                      <a:pt x="453" y="0"/>
                    </a:cubicBezTo>
                    <a:cubicBezTo>
                      <a:pt x="452" y="0"/>
                      <a:pt x="156" y="0"/>
                      <a:pt x="156" y="0"/>
                    </a:cubicBezTo>
                    <a:cubicBezTo>
                      <a:pt x="155" y="0"/>
                      <a:pt x="155" y="0"/>
                      <a:pt x="154" y="0"/>
                    </a:cubicBezTo>
                    <a:cubicBezTo>
                      <a:pt x="68" y="5"/>
                      <a:pt x="0" y="76"/>
                      <a:pt x="0" y="162"/>
                    </a:cubicBezTo>
                    <a:cubicBezTo>
                      <a:pt x="0" y="208"/>
                      <a:pt x="0" y="525"/>
                      <a:pt x="0" y="556"/>
                    </a:cubicBezTo>
                    <a:cubicBezTo>
                      <a:pt x="0" y="585"/>
                      <a:pt x="24" y="610"/>
                      <a:pt x="53" y="611"/>
                    </a:cubicBezTo>
                    <a:cubicBezTo>
                      <a:pt x="54" y="611"/>
                      <a:pt x="55" y="611"/>
                      <a:pt x="56" y="611"/>
                    </a:cubicBezTo>
                    <a:cubicBezTo>
                      <a:pt x="56" y="611"/>
                      <a:pt x="56" y="611"/>
                      <a:pt x="56" y="611"/>
                    </a:cubicBezTo>
                    <a:cubicBezTo>
                      <a:pt x="56" y="611"/>
                      <a:pt x="56" y="611"/>
                      <a:pt x="56" y="611"/>
                    </a:cubicBezTo>
                    <a:cubicBezTo>
                      <a:pt x="62" y="611"/>
                      <a:pt x="67" y="610"/>
                      <a:pt x="72" y="609"/>
                    </a:cubicBezTo>
                    <a:cubicBezTo>
                      <a:pt x="95" y="602"/>
                      <a:pt x="112" y="581"/>
                      <a:pt x="112" y="556"/>
                    </a:cubicBezTo>
                    <a:cubicBezTo>
                      <a:pt x="112" y="552"/>
                      <a:pt x="110" y="201"/>
                      <a:pt x="110" y="201"/>
                    </a:cubicBezTo>
                    <a:cubicBezTo>
                      <a:pt x="110" y="201"/>
                      <a:pt x="110" y="201"/>
                      <a:pt x="139" y="201"/>
                    </a:cubicBezTo>
                    <a:cubicBezTo>
                      <a:pt x="139" y="201"/>
                      <a:pt x="139" y="1120"/>
                      <a:pt x="139" y="1182"/>
                    </a:cubicBezTo>
                    <a:cubicBezTo>
                      <a:pt x="139" y="1223"/>
                      <a:pt x="173" y="1255"/>
                      <a:pt x="214" y="1255"/>
                    </a:cubicBezTo>
                    <a:cubicBezTo>
                      <a:pt x="214" y="1255"/>
                      <a:pt x="215" y="1255"/>
                      <a:pt x="215" y="1255"/>
                    </a:cubicBezTo>
                    <a:cubicBezTo>
                      <a:pt x="215" y="1255"/>
                      <a:pt x="215" y="1255"/>
                      <a:pt x="216" y="1255"/>
                    </a:cubicBezTo>
                    <a:cubicBezTo>
                      <a:pt x="257" y="1255"/>
                      <a:pt x="290" y="1223"/>
                      <a:pt x="290" y="1182"/>
                    </a:cubicBezTo>
                    <a:cubicBezTo>
                      <a:pt x="290" y="1120"/>
                      <a:pt x="290" y="614"/>
                      <a:pt x="290" y="614"/>
                    </a:cubicBezTo>
                    <a:cubicBezTo>
                      <a:pt x="293" y="614"/>
                      <a:pt x="299" y="614"/>
                      <a:pt x="318" y="614"/>
                    </a:cubicBezTo>
                    <a:cubicBezTo>
                      <a:pt x="318" y="614"/>
                      <a:pt x="318" y="1120"/>
                      <a:pt x="318" y="1182"/>
                    </a:cubicBezTo>
                    <a:cubicBezTo>
                      <a:pt x="318" y="1223"/>
                      <a:pt x="352" y="1255"/>
                      <a:pt x="393" y="1255"/>
                    </a:cubicBezTo>
                    <a:cubicBezTo>
                      <a:pt x="393" y="1255"/>
                      <a:pt x="393" y="1255"/>
                      <a:pt x="393" y="1255"/>
                    </a:cubicBezTo>
                    <a:cubicBezTo>
                      <a:pt x="394" y="1255"/>
                      <a:pt x="394" y="1255"/>
                      <a:pt x="394" y="1255"/>
                    </a:cubicBezTo>
                    <a:cubicBezTo>
                      <a:pt x="435" y="1255"/>
                      <a:pt x="469" y="1223"/>
                      <a:pt x="469" y="1182"/>
                    </a:cubicBezTo>
                    <a:cubicBezTo>
                      <a:pt x="469" y="1120"/>
                      <a:pt x="469" y="201"/>
                      <a:pt x="469" y="201"/>
                    </a:cubicBezTo>
                    <a:cubicBezTo>
                      <a:pt x="498" y="201"/>
                      <a:pt x="498" y="201"/>
                      <a:pt x="498" y="201"/>
                    </a:cubicBezTo>
                    <a:cubicBezTo>
                      <a:pt x="498" y="201"/>
                      <a:pt x="497" y="552"/>
                      <a:pt x="497" y="556"/>
                    </a:cubicBezTo>
                    <a:cubicBezTo>
                      <a:pt x="497" y="581"/>
                      <a:pt x="514" y="602"/>
                      <a:pt x="537" y="609"/>
                    </a:cubicBezTo>
                    <a:cubicBezTo>
                      <a:pt x="541" y="610"/>
                      <a:pt x="547" y="611"/>
                      <a:pt x="552" y="611"/>
                    </a:cubicBezTo>
                    <a:cubicBezTo>
                      <a:pt x="552" y="611"/>
                      <a:pt x="552" y="611"/>
                      <a:pt x="552" y="611"/>
                    </a:cubicBezTo>
                    <a:cubicBezTo>
                      <a:pt x="552" y="611"/>
                      <a:pt x="552" y="611"/>
                      <a:pt x="552" y="611"/>
                    </a:cubicBezTo>
                    <a:cubicBezTo>
                      <a:pt x="553" y="611"/>
                      <a:pt x="554" y="611"/>
                      <a:pt x="555" y="611"/>
                    </a:cubicBezTo>
                    <a:cubicBezTo>
                      <a:pt x="585" y="610"/>
                      <a:pt x="608" y="585"/>
                      <a:pt x="608" y="556"/>
                    </a:cubicBezTo>
                    <a:cubicBezTo>
                      <a:pt x="608" y="525"/>
                      <a:pt x="608" y="208"/>
                      <a:pt x="608" y="162"/>
                    </a:cubicBezTo>
                    <a:cubicBezTo>
                      <a:pt x="608" y="76"/>
                      <a:pt x="540" y="5"/>
                      <a:pt x="454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56">
                  <a:defRPr/>
                </a:pPr>
                <a:endParaRPr lang="en-US" sz="1600" kern="0" dirty="0">
                  <a:solidFill>
                    <a:srgbClr val="FFFFFF"/>
                  </a:solidFill>
                  <a:latin typeface="Segoe UI Light" pitchFamily="34" charset="0"/>
                </a:endParaRPr>
              </a:p>
            </p:txBody>
          </p:sp>
        </p:grpSp>
        <p:sp>
          <p:nvSpPr>
            <p:cNvPr id="57" name="Rectangle 56"/>
            <p:cNvSpPr/>
            <p:nvPr/>
          </p:nvSpPr>
          <p:spPr>
            <a:xfrm>
              <a:off x="9999981" y="77930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761055" y="1937244"/>
            <a:ext cx="792000" cy="792000"/>
            <a:chOff x="10457208" y="1009439"/>
            <a:chExt cx="792000" cy="792000"/>
          </a:xfrm>
        </p:grpSpPr>
        <p:grpSp>
          <p:nvGrpSpPr>
            <p:cNvPr id="65" name="Group 64"/>
            <p:cNvGrpSpPr/>
            <p:nvPr/>
          </p:nvGrpSpPr>
          <p:grpSpPr>
            <a:xfrm>
              <a:off x="10459222" y="1087217"/>
              <a:ext cx="787973" cy="636445"/>
              <a:chOff x="6673850" y="4338638"/>
              <a:chExt cx="1403351" cy="1082675"/>
            </a:xfrm>
          </p:grpSpPr>
          <p:sp>
            <p:nvSpPr>
              <p:cNvPr id="67" name="Freeform 247"/>
              <p:cNvSpPr>
                <a:spLocks/>
              </p:cNvSpPr>
              <p:nvPr/>
            </p:nvSpPr>
            <p:spPr bwMode="auto">
              <a:xfrm>
                <a:off x="7572375" y="4525963"/>
                <a:ext cx="160338" cy="249238"/>
              </a:xfrm>
              <a:custGeom>
                <a:avLst/>
                <a:gdLst>
                  <a:gd name="T0" fmla="*/ 14 w 30"/>
                  <a:gd name="T1" fmla="*/ 29 h 46"/>
                  <a:gd name="T2" fmla="*/ 14 w 30"/>
                  <a:gd name="T3" fmla="*/ 45 h 46"/>
                  <a:gd name="T4" fmla="*/ 22 w 30"/>
                  <a:gd name="T5" fmla="*/ 22 h 46"/>
                  <a:gd name="T6" fmla="*/ 0 w 30"/>
                  <a:gd name="T7" fmla="*/ 0 h 46"/>
                  <a:gd name="T8" fmla="*/ 0 w 30"/>
                  <a:gd name="T9" fmla="*/ 0 h 46"/>
                  <a:gd name="T10" fmla="*/ 14 w 30"/>
                  <a:gd name="T11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6">
                    <a:moveTo>
                      <a:pt x="14" y="29"/>
                    </a:moveTo>
                    <a:cubicBezTo>
                      <a:pt x="14" y="45"/>
                      <a:pt x="14" y="45"/>
                      <a:pt x="14" y="45"/>
                    </a:cubicBezTo>
                    <a:cubicBezTo>
                      <a:pt x="21" y="46"/>
                      <a:pt x="30" y="39"/>
                      <a:pt x="22" y="22"/>
                    </a:cubicBezTo>
                    <a:cubicBezTo>
                      <a:pt x="15" y="6"/>
                      <a:pt x="5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6"/>
                      <a:pt x="14" y="17"/>
                      <a:pt x="14" y="29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68" name="Freeform 248"/>
              <p:cNvSpPr>
                <a:spLocks/>
              </p:cNvSpPr>
              <p:nvPr/>
            </p:nvSpPr>
            <p:spPr bwMode="auto">
              <a:xfrm>
                <a:off x="7239000" y="4525963"/>
                <a:ext cx="101600" cy="103188"/>
              </a:xfrm>
              <a:custGeom>
                <a:avLst/>
                <a:gdLst>
                  <a:gd name="T0" fmla="*/ 19 w 19"/>
                  <a:gd name="T1" fmla="*/ 0 h 19"/>
                  <a:gd name="T2" fmla="*/ 19 w 19"/>
                  <a:gd name="T3" fmla="*/ 0 h 19"/>
                  <a:gd name="T4" fmla="*/ 0 w 19"/>
                  <a:gd name="T5" fmla="*/ 15 h 19"/>
                  <a:gd name="T6" fmla="*/ 6 w 19"/>
                  <a:gd name="T7" fmla="*/ 19 h 19"/>
                  <a:gd name="T8" fmla="*/ 19 w 19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1"/>
                      <a:pt x="7" y="5"/>
                      <a:pt x="0" y="15"/>
                    </a:cubicBezTo>
                    <a:cubicBezTo>
                      <a:pt x="2" y="16"/>
                      <a:pt x="4" y="18"/>
                      <a:pt x="6" y="19"/>
                    </a:cubicBezTo>
                    <a:cubicBezTo>
                      <a:pt x="8" y="11"/>
                      <a:pt x="13" y="4"/>
                      <a:pt x="19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69" name="Freeform 249"/>
              <p:cNvSpPr>
                <a:spLocks/>
              </p:cNvSpPr>
              <p:nvPr/>
            </p:nvSpPr>
            <p:spPr bwMode="auto">
              <a:xfrm>
                <a:off x="7297738" y="4537075"/>
                <a:ext cx="317500" cy="227013"/>
              </a:xfrm>
              <a:custGeom>
                <a:avLst/>
                <a:gdLst>
                  <a:gd name="T0" fmla="*/ 13 w 59"/>
                  <a:gd name="T1" fmla="*/ 42 h 42"/>
                  <a:gd name="T2" fmla="*/ 59 w 59"/>
                  <a:gd name="T3" fmla="*/ 42 h 42"/>
                  <a:gd name="T4" fmla="*/ 59 w 59"/>
                  <a:gd name="T5" fmla="*/ 26 h 42"/>
                  <a:gd name="T6" fmla="*/ 49 w 59"/>
                  <a:gd name="T7" fmla="*/ 0 h 42"/>
                  <a:gd name="T8" fmla="*/ 29 w 59"/>
                  <a:gd name="T9" fmla="*/ 9 h 42"/>
                  <a:gd name="T10" fmla="*/ 10 w 59"/>
                  <a:gd name="T11" fmla="*/ 0 h 42"/>
                  <a:gd name="T12" fmla="*/ 0 w 59"/>
                  <a:gd name="T13" fmla="*/ 22 h 42"/>
                  <a:gd name="T14" fmla="*/ 12 w 59"/>
                  <a:gd name="T15" fmla="*/ 41 h 42"/>
                  <a:gd name="T16" fmla="*/ 12 w 59"/>
                  <a:gd name="T17" fmla="*/ 41 h 42"/>
                  <a:gd name="T18" fmla="*/ 13 w 59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2">
                    <a:moveTo>
                      <a:pt x="13" y="42"/>
                    </a:moveTo>
                    <a:cubicBezTo>
                      <a:pt x="27" y="36"/>
                      <a:pt x="44" y="36"/>
                      <a:pt x="59" y="42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9" y="16"/>
                      <a:pt x="55" y="7"/>
                      <a:pt x="49" y="0"/>
                    </a:cubicBezTo>
                    <a:cubicBezTo>
                      <a:pt x="44" y="6"/>
                      <a:pt x="37" y="9"/>
                      <a:pt x="29" y="9"/>
                    </a:cubicBezTo>
                    <a:cubicBezTo>
                      <a:pt x="21" y="9"/>
                      <a:pt x="14" y="6"/>
                      <a:pt x="10" y="0"/>
                    </a:cubicBezTo>
                    <a:cubicBezTo>
                      <a:pt x="4" y="6"/>
                      <a:pt x="1" y="13"/>
                      <a:pt x="0" y="22"/>
                    </a:cubicBezTo>
                    <a:cubicBezTo>
                      <a:pt x="4" y="26"/>
                      <a:pt x="9" y="33"/>
                      <a:pt x="12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3" y="41"/>
                      <a:pt x="13" y="42"/>
                      <a:pt x="13" y="42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0" name="Oval 250"/>
              <p:cNvSpPr>
                <a:spLocks noChangeArrowheads="1"/>
              </p:cNvSpPr>
              <p:nvPr/>
            </p:nvSpPr>
            <p:spPr bwMode="auto">
              <a:xfrm>
                <a:off x="7351713" y="4338638"/>
                <a:ext cx="209550" cy="214313"/>
              </a:xfrm>
              <a:prstGeom prst="ellipse">
                <a:avLst/>
              </a:pr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1" name="Freeform 251"/>
              <p:cNvSpPr>
                <a:spLocks/>
              </p:cNvSpPr>
              <p:nvPr/>
            </p:nvSpPr>
            <p:spPr bwMode="auto">
              <a:xfrm>
                <a:off x="7173913" y="4624388"/>
                <a:ext cx="155575" cy="198438"/>
              </a:xfrm>
              <a:custGeom>
                <a:avLst/>
                <a:gdLst>
                  <a:gd name="T0" fmla="*/ 18 w 29"/>
                  <a:gd name="T1" fmla="*/ 37 h 37"/>
                  <a:gd name="T2" fmla="*/ 29 w 29"/>
                  <a:gd name="T3" fmla="*/ 29 h 37"/>
                  <a:gd name="T4" fmla="*/ 28 w 29"/>
                  <a:gd name="T5" fmla="*/ 28 h 37"/>
                  <a:gd name="T6" fmla="*/ 0 w 29"/>
                  <a:gd name="T7" fmla="*/ 0 h 37"/>
                  <a:gd name="T8" fmla="*/ 0 w 29"/>
                  <a:gd name="T9" fmla="*/ 0 h 37"/>
                  <a:gd name="T10" fmla="*/ 18 w 29"/>
                  <a:gd name="T11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37">
                    <a:moveTo>
                      <a:pt x="18" y="37"/>
                    </a:moveTo>
                    <a:cubicBezTo>
                      <a:pt x="21" y="34"/>
                      <a:pt x="25" y="31"/>
                      <a:pt x="29" y="29"/>
                    </a:cubicBezTo>
                    <a:cubicBezTo>
                      <a:pt x="29" y="29"/>
                      <a:pt x="29" y="28"/>
                      <a:pt x="28" y="28"/>
                    </a:cubicBezTo>
                    <a:cubicBezTo>
                      <a:pt x="19" y="8"/>
                      <a:pt x="6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8"/>
                      <a:pt x="18" y="21"/>
                      <a:pt x="18" y="37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2" name="Freeform 252"/>
              <p:cNvSpPr>
                <a:spLocks/>
              </p:cNvSpPr>
              <p:nvPr/>
            </p:nvSpPr>
            <p:spPr bwMode="auto">
              <a:xfrm>
                <a:off x="6673850" y="4624388"/>
                <a:ext cx="204788" cy="317500"/>
              </a:xfrm>
              <a:custGeom>
                <a:avLst/>
                <a:gdLst>
                  <a:gd name="T0" fmla="*/ 38 w 38"/>
                  <a:gd name="T1" fmla="*/ 0 h 59"/>
                  <a:gd name="T2" fmla="*/ 38 w 38"/>
                  <a:gd name="T3" fmla="*/ 0 h 59"/>
                  <a:gd name="T4" fmla="*/ 10 w 38"/>
                  <a:gd name="T5" fmla="*/ 28 h 59"/>
                  <a:gd name="T6" fmla="*/ 20 w 38"/>
                  <a:gd name="T7" fmla="*/ 58 h 59"/>
                  <a:gd name="T8" fmla="*/ 20 w 38"/>
                  <a:gd name="T9" fmla="*/ 37 h 59"/>
                  <a:gd name="T10" fmla="*/ 38 w 38"/>
                  <a:gd name="T1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9">
                    <a:moveTo>
                      <a:pt x="38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32" y="2"/>
                      <a:pt x="18" y="8"/>
                      <a:pt x="10" y="28"/>
                    </a:cubicBezTo>
                    <a:cubicBezTo>
                      <a:pt x="0" y="49"/>
                      <a:pt x="11" y="59"/>
                      <a:pt x="20" y="58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22"/>
                      <a:pt x="27" y="8"/>
                      <a:pt x="38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3" name="Freeform 253"/>
              <p:cNvSpPr>
                <a:spLocks/>
              </p:cNvSpPr>
              <p:nvPr/>
            </p:nvSpPr>
            <p:spPr bwMode="auto">
              <a:xfrm>
                <a:off x="6818313" y="4640263"/>
                <a:ext cx="409575" cy="446088"/>
              </a:xfrm>
              <a:custGeom>
                <a:avLst/>
                <a:gdLst>
                  <a:gd name="T0" fmla="*/ 76 w 76"/>
                  <a:gd name="T1" fmla="*/ 33 h 83"/>
                  <a:gd name="T2" fmla="*/ 63 w 76"/>
                  <a:gd name="T3" fmla="*/ 0 h 83"/>
                  <a:gd name="T4" fmla="*/ 38 w 76"/>
                  <a:gd name="T5" fmla="*/ 12 h 83"/>
                  <a:gd name="T6" fmla="*/ 14 w 76"/>
                  <a:gd name="T7" fmla="*/ 0 h 83"/>
                  <a:gd name="T8" fmla="*/ 0 w 76"/>
                  <a:gd name="T9" fmla="*/ 33 h 83"/>
                  <a:gd name="T10" fmla="*/ 0 w 76"/>
                  <a:gd name="T11" fmla="*/ 66 h 83"/>
                  <a:gd name="T12" fmla="*/ 15 w 76"/>
                  <a:gd name="T13" fmla="*/ 83 h 83"/>
                  <a:gd name="T14" fmla="*/ 62 w 76"/>
                  <a:gd name="T15" fmla="*/ 83 h 83"/>
                  <a:gd name="T16" fmla="*/ 62 w 76"/>
                  <a:gd name="T17" fmla="*/ 83 h 83"/>
                  <a:gd name="T18" fmla="*/ 68 w 76"/>
                  <a:gd name="T19" fmla="*/ 55 h 83"/>
                  <a:gd name="T20" fmla="*/ 76 w 76"/>
                  <a:gd name="T21" fmla="*/ 41 h 83"/>
                  <a:gd name="T22" fmla="*/ 76 w 76"/>
                  <a:gd name="T23" fmla="*/ 3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83">
                    <a:moveTo>
                      <a:pt x="76" y="33"/>
                    </a:moveTo>
                    <a:cubicBezTo>
                      <a:pt x="76" y="20"/>
                      <a:pt x="71" y="8"/>
                      <a:pt x="63" y="0"/>
                    </a:cubicBezTo>
                    <a:cubicBezTo>
                      <a:pt x="57" y="7"/>
                      <a:pt x="48" y="12"/>
                      <a:pt x="38" y="12"/>
                    </a:cubicBezTo>
                    <a:cubicBezTo>
                      <a:pt x="28" y="12"/>
                      <a:pt x="20" y="7"/>
                      <a:pt x="14" y="0"/>
                    </a:cubicBezTo>
                    <a:cubicBezTo>
                      <a:pt x="5" y="8"/>
                      <a:pt x="0" y="20"/>
                      <a:pt x="0" y="33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6"/>
                      <a:pt x="7" y="83"/>
                      <a:pt x="15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74"/>
                      <a:pt x="63" y="64"/>
                      <a:pt x="68" y="55"/>
                    </a:cubicBezTo>
                    <a:cubicBezTo>
                      <a:pt x="70" y="50"/>
                      <a:pt x="73" y="45"/>
                      <a:pt x="76" y="41"/>
                    </a:cubicBezTo>
                    <a:lnTo>
                      <a:pt x="76" y="33"/>
                    </a:ln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4" name="Oval 254"/>
              <p:cNvSpPr>
                <a:spLocks noChangeArrowheads="1"/>
              </p:cNvSpPr>
              <p:nvPr/>
            </p:nvSpPr>
            <p:spPr bwMode="auto">
              <a:xfrm>
                <a:off x="6888163" y="4386263"/>
                <a:ext cx="274638" cy="269875"/>
              </a:xfrm>
              <a:prstGeom prst="ellipse">
                <a:avLst/>
              </a:pr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5" name="Freeform 255"/>
              <p:cNvSpPr>
                <a:spLocks/>
              </p:cNvSpPr>
              <p:nvPr/>
            </p:nvSpPr>
            <p:spPr bwMode="auto">
              <a:xfrm>
                <a:off x="7732713" y="5108575"/>
                <a:ext cx="344488" cy="312738"/>
              </a:xfrm>
              <a:custGeom>
                <a:avLst/>
                <a:gdLst>
                  <a:gd name="T0" fmla="*/ 56 w 64"/>
                  <a:gd name="T1" fmla="*/ 24 h 58"/>
                  <a:gd name="T2" fmla="*/ 34 w 64"/>
                  <a:gd name="T3" fmla="*/ 14 h 58"/>
                  <a:gd name="T4" fmla="*/ 31 w 64"/>
                  <a:gd name="T5" fmla="*/ 6 h 58"/>
                  <a:gd name="T6" fmla="*/ 20 w 64"/>
                  <a:gd name="T7" fmla="*/ 0 h 58"/>
                  <a:gd name="T8" fmla="*/ 14 w 64"/>
                  <a:gd name="T9" fmla="*/ 23 h 58"/>
                  <a:gd name="T10" fmla="*/ 0 w 64"/>
                  <a:gd name="T11" fmla="*/ 42 h 58"/>
                  <a:gd name="T12" fmla="*/ 11 w 64"/>
                  <a:gd name="T13" fmla="*/ 47 h 58"/>
                  <a:gd name="T14" fmla="*/ 19 w 64"/>
                  <a:gd name="T15" fmla="*/ 44 h 58"/>
                  <a:gd name="T16" fmla="*/ 41 w 64"/>
                  <a:gd name="T17" fmla="*/ 55 h 58"/>
                  <a:gd name="T18" fmla="*/ 58 w 64"/>
                  <a:gd name="T19" fmla="*/ 47 h 58"/>
                  <a:gd name="T20" fmla="*/ 60 w 64"/>
                  <a:gd name="T21" fmla="*/ 42 h 58"/>
                  <a:gd name="T22" fmla="*/ 56 w 64"/>
                  <a:gd name="T23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58">
                    <a:moveTo>
                      <a:pt x="56" y="24"/>
                    </a:moveTo>
                    <a:cubicBezTo>
                      <a:pt x="34" y="14"/>
                      <a:pt x="34" y="14"/>
                      <a:pt x="34" y="14"/>
                    </a:cubicBezTo>
                    <a:cubicBezTo>
                      <a:pt x="35" y="11"/>
                      <a:pt x="34" y="7"/>
                      <a:pt x="31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8"/>
                      <a:pt x="17" y="16"/>
                      <a:pt x="14" y="23"/>
                    </a:cubicBezTo>
                    <a:cubicBezTo>
                      <a:pt x="10" y="30"/>
                      <a:pt x="5" y="37"/>
                      <a:pt x="0" y="42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4" y="49"/>
                      <a:pt x="18" y="47"/>
                      <a:pt x="19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7" y="58"/>
                      <a:pt x="54" y="54"/>
                      <a:pt x="58" y="47"/>
                    </a:cubicBezTo>
                    <a:cubicBezTo>
                      <a:pt x="60" y="42"/>
                      <a:pt x="60" y="42"/>
                      <a:pt x="60" y="42"/>
                    </a:cubicBezTo>
                    <a:cubicBezTo>
                      <a:pt x="64" y="35"/>
                      <a:pt x="62" y="27"/>
                      <a:pt x="56" y="24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6" name="Freeform 256"/>
              <p:cNvSpPr>
                <a:spLocks noEditPoints="1"/>
              </p:cNvSpPr>
              <p:nvPr/>
            </p:nvSpPr>
            <p:spPr bwMode="auto">
              <a:xfrm>
                <a:off x="7158038" y="4748213"/>
                <a:ext cx="671513" cy="673100"/>
              </a:xfrm>
              <a:custGeom>
                <a:avLst/>
                <a:gdLst>
                  <a:gd name="T0" fmla="*/ 86 w 125"/>
                  <a:gd name="T1" fmla="*/ 13 h 125"/>
                  <a:gd name="T2" fmla="*/ 13 w 125"/>
                  <a:gd name="T3" fmla="*/ 39 h 125"/>
                  <a:gd name="T4" fmla="*/ 39 w 125"/>
                  <a:gd name="T5" fmla="*/ 112 h 125"/>
                  <a:gd name="T6" fmla="*/ 112 w 125"/>
                  <a:gd name="T7" fmla="*/ 86 h 125"/>
                  <a:gd name="T8" fmla="*/ 86 w 125"/>
                  <a:gd name="T9" fmla="*/ 13 h 125"/>
                  <a:gd name="T10" fmla="*/ 97 w 125"/>
                  <a:gd name="T11" fmla="*/ 79 h 125"/>
                  <a:gd name="T12" fmla="*/ 47 w 125"/>
                  <a:gd name="T13" fmla="*/ 96 h 125"/>
                  <a:gd name="T14" fmla="*/ 29 w 125"/>
                  <a:gd name="T15" fmla="*/ 46 h 125"/>
                  <a:gd name="T16" fmla="*/ 79 w 125"/>
                  <a:gd name="T17" fmla="*/ 28 h 125"/>
                  <a:gd name="T18" fmla="*/ 97 w 125"/>
                  <a:gd name="T19" fmla="*/ 7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25">
                    <a:moveTo>
                      <a:pt x="86" y="13"/>
                    </a:moveTo>
                    <a:cubicBezTo>
                      <a:pt x="59" y="0"/>
                      <a:pt x="26" y="12"/>
                      <a:pt x="13" y="39"/>
                    </a:cubicBezTo>
                    <a:cubicBezTo>
                      <a:pt x="0" y="66"/>
                      <a:pt x="12" y="99"/>
                      <a:pt x="39" y="112"/>
                    </a:cubicBezTo>
                    <a:cubicBezTo>
                      <a:pt x="66" y="125"/>
                      <a:pt x="99" y="113"/>
                      <a:pt x="112" y="86"/>
                    </a:cubicBezTo>
                    <a:cubicBezTo>
                      <a:pt x="125" y="59"/>
                      <a:pt x="114" y="26"/>
                      <a:pt x="86" y="13"/>
                    </a:cubicBezTo>
                    <a:close/>
                    <a:moveTo>
                      <a:pt x="97" y="79"/>
                    </a:moveTo>
                    <a:cubicBezTo>
                      <a:pt x="88" y="97"/>
                      <a:pt x="65" y="105"/>
                      <a:pt x="47" y="96"/>
                    </a:cubicBezTo>
                    <a:cubicBezTo>
                      <a:pt x="28" y="87"/>
                      <a:pt x="20" y="65"/>
                      <a:pt x="29" y="46"/>
                    </a:cubicBezTo>
                    <a:cubicBezTo>
                      <a:pt x="38" y="27"/>
                      <a:pt x="60" y="19"/>
                      <a:pt x="79" y="28"/>
                    </a:cubicBezTo>
                    <a:cubicBezTo>
                      <a:pt x="98" y="37"/>
                      <a:pt x="106" y="60"/>
                      <a:pt x="97" y="79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  <p:sp>
            <p:nvSpPr>
              <p:cNvPr id="77" name="Freeform 257"/>
              <p:cNvSpPr>
                <a:spLocks/>
              </p:cNvSpPr>
              <p:nvPr/>
            </p:nvSpPr>
            <p:spPr bwMode="auto">
              <a:xfrm>
                <a:off x="7351713" y="4908550"/>
                <a:ext cx="225425" cy="150813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 dirty="0">
                  <a:solidFill>
                    <a:sysClr val="windowText" lastClr="000000"/>
                  </a:solidFill>
                  <a:latin typeface="Segoe UI Light" pitchFamily="34" charset="0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10457208" y="100943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5586810" y="1160076"/>
            <a:ext cx="792000" cy="792000"/>
            <a:chOff x="3233323" y="2356463"/>
            <a:chExt cx="792000" cy="792000"/>
          </a:xfrm>
        </p:grpSpPr>
        <p:grpSp>
          <p:nvGrpSpPr>
            <p:cNvPr id="80" name="Groep 12"/>
            <p:cNvGrpSpPr/>
            <p:nvPr/>
          </p:nvGrpSpPr>
          <p:grpSpPr>
            <a:xfrm>
              <a:off x="3277803" y="2541405"/>
              <a:ext cx="703041" cy="422116"/>
              <a:chOff x="9112691" y="4566775"/>
              <a:chExt cx="1784689" cy="1071554"/>
            </a:xfrm>
          </p:grpSpPr>
          <p:sp>
            <p:nvSpPr>
              <p:cNvPr id="82" name="Freeform 26"/>
              <p:cNvSpPr>
                <a:spLocks/>
              </p:cNvSpPr>
              <p:nvPr/>
            </p:nvSpPr>
            <p:spPr bwMode="black">
              <a:xfrm>
                <a:off x="9330691" y="4710034"/>
                <a:ext cx="1293463" cy="928295"/>
              </a:xfrm>
              <a:custGeom>
                <a:avLst/>
                <a:gdLst>
                  <a:gd name="T0" fmla="*/ 183 w 188"/>
                  <a:gd name="T1" fmla="*/ 84 h 137"/>
                  <a:gd name="T2" fmla="*/ 104 w 188"/>
                  <a:gd name="T3" fmla="*/ 27 h 137"/>
                  <a:gd name="T4" fmla="*/ 86 w 188"/>
                  <a:gd name="T5" fmla="*/ 19 h 137"/>
                  <a:gd name="T6" fmla="*/ 59 w 188"/>
                  <a:gd name="T7" fmla="*/ 34 h 137"/>
                  <a:gd name="T8" fmla="*/ 56 w 188"/>
                  <a:gd name="T9" fmla="*/ 36 h 137"/>
                  <a:gd name="T10" fmla="*/ 43 w 188"/>
                  <a:gd name="T11" fmla="*/ 38 h 137"/>
                  <a:gd name="T12" fmla="*/ 43 w 188"/>
                  <a:gd name="T13" fmla="*/ 38 h 137"/>
                  <a:gd name="T14" fmla="*/ 26 w 188"/>
                  <a:gd name="T15" fmla="*/ 27 h 137"/>
                  <a:gd name="T16" fmla="*/ 24 w 188"/>
                  <a:gd name="T17" fmla="*/ 14 h 137"/>
                  <a:gd name="T18" fmla="*/ 31 w 188"/>
                  <a:gd name="T19" fmla="*/ 0 h 137"/>
                  <a:gd name="T20" fmla="*/ 21 w 188"/>
                  <a:gd name="T21" fmla="*/ 0 h 137"/>
                  <a:gd name="T22" fmla="*/ 1 w 188"/>
                  <a:gd name="T23" fmla="*/ 79 h 137"/>
                  <a:gd name="T24" fmla="*/ 4 w 188"/>
                  <a:gd name="T25" fmla="*/ 80 h 137"/>
                  <a:gd name="T26" fmla="*/ 16 w 188"/>
                  <a:gd name="T27" fmla="*/ 70 h 137"/>
                  <a:gd name="T28" fmla="*/ 22 w 188"/>
                  <a:gd name="T29" fmla="*/ 70 h 137"/>
                  <a:gd name="T30" fmla="*/ 32 w 188"/>
                  <a:gd name="T31" fmla="*/ 74 h 137"/>
                  <a:gd name="T32" fmla="*/ 43 w 188"/>
                  <a:gd name="T33" fmla="*/ 72 h 137"/>
                  <a:gd name="T34" fmla="*/ 44 w 188"/>
                  <a:gd name="T35" fmla="*/ 72 h 137"/>
                  <a:gd name="T36" fmla="*/ 53 w 188"/>
                  <a:gd name="T37" fmla="*/ 76 h 137"/>
                  <a:gd name="T38" fmla="*/ 65 w 188"/>
                  <a:gd name="T39" fmla="*/ 74 h 137"/>
                  <a:gd name="T40" fmla="*/ 67 w 188"/>
                  <a:gd name="T41" fmla="*/ 74 h 137"/>
                  <a:gd name="T42" fmla="*/ 80 w 188"/>
                  <a:gd name="T43" fmla="*/ 88 h 137"/>
                  <a:gd name="T44" fmla="*/ 83 w 188"/>
                  <a:gd name="T45" fmla="*/ 88 h 137"/>
                  <a:gd name="T46" fmla="*/ 85 w 188"/>
                  <a:gd name="T47" fmla="*/ 89 h 137"/>
                  <a:gd name="T48" fmla="*/ 99 w 188"/>
                  <a:gd name="T49" fmla="*/ 108 h 137"/>
                  <a:gd name="T50" fmla="*/ 99 w 188"/>
                  <a:gd name="T51" fmla="*/ 110 h 137"/>
                  <a:gd name="T52" fmla="*/ 96 w 188"/>
                  <a:gd name="T53" fmla="*/ 124 h 137"/>
                  <a:gd name="T54" fmla="*/ 114 w 188"/>
                  <a:gd name="T55" fmla="*/ 137 h 137"/>
                  <a:gd name="T56" fmla="*/ 123 w 188"/>
                  <a:gd name="T57" fmla="*/ 132 h 137"/>
                  <a:gd name="T58" fmla="*/ 124 w 188"/>
                  <a:gd name="T59" fmla="*/ 124 h 137"/>
                  <a:gd name="T60" fmla="*/ 108 w 188"/>
                  <a:gd name="T61" fmla="*/ 112 h 137"/>
                  <a:gd name="T62" fmla="*/ 107 w 188"/>
                  <a:gd name="T63" fmla="*/ 109 h 137"/>
                  <a:gd name="T64" fmla="*/ 110 w 188"/>
                  <a:gd name="T65" fmla="*/ 109 h 137"/>
                  <a:gd name="T66" fmla="*/ 136 w 188"/>
                  <a:gd name="T67" fmla="*/ 127 h 137"/>
                  <a:gd name="T68" fmla="*/ 145 w 188"/>
                  <a:gd name="T69" fmla="*/ 123 h 137"/>
                  <a:gd name="T70" fmla="*/ 147 w 188"/>
                  <a:gd name="T71" fmla="*/ 114 h 137"/>
                  <a:gd name="T72" fmla="*/ 117 w 188"/>
                  <a:gd name="T73" fmla="*/ 93 h 137"/>
                  <a:gd name="T74" fmla="*/ 117 w 188"/>
                  <a:gd name="T75" fmla="*/ 90 h 137"/>
                  <a:gd name="T76" fmla="*/ 120 w 188"/>
                  <a:gd name="T77" fmla="*/ 89 h 137"/>
                  <a:gd name="T78" fmla="*/ 156 w 188"/>
                  <a:gd name="T79" fmla="*/ 116 h 137"/>
                  <a:gd name="T80" fmla="*/ 165 w 188"/>
                  <a:gd name="T81" fmla="*/ 111 h 137"/>
                  <a:gd name="T82" fmla="*/ 167 w 188"/>
                  <a:gd name="T83" fmla="*/ 102 h 137"/>
                  <a:gd name="T84" fmla="*/ 137 w 188"/>
                  <a:gd name="T85" fmla="*/ 81 h 137"/>
                  <a:gd name="T86" fmla="*/ 136 w 188"/>
                  <a:gd name="T87" fmla="*/ 78 h 137"/>
                  <a:gd name="T88" fmla="*/ 139 w 188"/>
                  <a:gd name="T89" fmla="*/ 77 h 137"/>
                  <a:gd name="T90" fmla="*/ 176 w 188"/>
                  <a:gd name="T91" fmla="*/ 104 h 137"/>
                  <a:gd name="T92" fmla="*/ 185 w 188"/>
                  <a:gd name="T93" fmla="*/ 99 h 137"/>
                  <a:gd name="T94" fmla="*/ 183 w 188"/>
                  <a:gd name="T95" fmla="*/ 8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8" h="137">
                    <a:moveTo>
                      <a:pt x="183" y="84"/>
                    </a:moveTo>
                    <a:cubicBezTo>
                      <a:pt x="104" y="27"/>
                      <a:pt x="104" y="27"/>
                      <a:pt x="104" y="27"/>
                    </a:cubicBezTo>
                    <a:cubicBezTo>
                      <a:pt x="86" y="19"/>
                      <a:pt x="86" y="19"/>
                      <a:pt x="86" y="19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2" y="38"/>
                      <a:pt x="47" y="39"/>
                      <a:pt x="43" y="38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36" y="38"/>
                      <a:pt x="30" y="34"/>
                      <a:pt x="26" y="27"/>
                    </a:cubicBezTo>
                    <a:cubicBezTo>
                      <a:pt x="24" y="23"/>
                      <a:pt x="23" y="19"/>
                      <a:pt x="24" y="14"/>
                    </a:cubicBezTo>
                    <a:cubicBezTo>
                      <a:pt x="24" y="9"/>
                      <a:pt x="27" y="4"/>
                      <a:pt x="31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21" y="0"/>
                      <a:pt x="0" y="40"/>
                      <a:pt x="1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6" y="75"/>
                      <a:pt x="10" y="72"/>
                      <a:pt x="16" y="70"/>
                    </a:cubicBezTo>
                    <a:cubicBezTo>
                      <a:pt x="18" y="70"/>
                      <a:pt x="20" y="70"/>
                      <a:pt x="22" y="70"/>
                    </a:cubicBezTo>
                    <a:cubicBezTo>
                      <a:pt x="25" y="70"/>
                      <a:pt x="29" y="72"/>
                      <a:pt x="32" y="74"/>
                    </a:cubicBezTo>
                    <a:cubicBezTo>
                      <a:pt x="35" y="72"/>
                      <a:pt x="39" y="71"/>
                      <a:pt x="43" y="72"/>
                    </a:cubicBezTo>
                    <a:cubicBezTo>
                      <a:pt x="43" y="72"/>
                      <a:pt x="44" y="72"/>
                      <a:pt x="44" y="72"/>
                    </a:cubicBezTo>
                    <a:cubicBezTo>
                      <a:pt x="48" y="72"/>
                      <a:pt x="51" y="74"/>
                      <a:pt x="53" y="76"/>
                    </a:cubicBezTo>
                    <a:cubicBezTo>
                      <a:pt x="56" y="74"/>
                      <a:pt x="60" y="73"/>
                      <a:pt x="65" y="74"/>
                    </a:cubicBezTo>
                    <a:cubicBezTo>
                      <a:pt x="65" y="74"/>
                      <a:pt x="66" y="74"/>
                      <a:pt x="67" y="74"/>
                    </a:cubicBezTo>
                    <a:cubicBezTo>
                      <a:pt x="74" y="76"/>
                      <a:pt x="79" y="81"/>
                      <a:pt x="80" y="88"/>
                    </a:cubicBezTo>
                    <a:cubicBezTo>
                      <a:pt x="81" y="88"/>
                      <a:pt x="82" y="88"/>
                      <a:pt x="83" y="88"/>
                    </a:cubicBezTo>
                    <a:cubicBezTo>
                      <a:pt x="84" y="88"/>
                      <a:pt x="84" y="88"/>
                      <a:pt x="85" y="89"/>
                    </a:cubicBezTo>
                    <a:cubicBezTo>
                      <a:pt x="94" y="91"/>
                      <a:pt x="100" y="99"/>
                      <a:pt x="99" y="108"/>
                    </a:cubicBezTo>
                    <a:cubicBezTo>
                      <a:pt x="99" y="109"/>
                      <a:pt x="99" y="110"/>
                      <a:pt x="99" y="110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7" y="137"/>
                      <a:pt x="120" y="135"/>
                      <a:pt x="123" y="132"/>
                    </a:cubicBezTo>
                    <a:cubicBezTo>
                      <a:pt x="124" y="130"/>
                      <a:pt x="125" y="127"/>
                      <a:pt x="124" y="12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7" y="111"/>
                      <a:pt x="107" y="110"/>
                      <a:pt x="107" y="109"/>
                    </a:cubicBezTo>
                    <a:cubicBezTo>
                      <a:pt x="108" y="108"/>
                      <a:pt x="109" y="108"/>
                      <a:pt x="110" y="109"/>
                    </a:cubicBezTo>
                    <a:cubicBezTo>
                      <a:pt x="136" y="127"/>
                      <a:pt x="136" y="127"/>
                      <a:pt x="136" y="127"/>
                    </a:cubicBezTo>
                    <a:cubicBezTo>
                      <a:pt x="140" y="127"/>
                      <a:pt x="143" y="126"/>
                      <a:pt x="145" y="123"/>
                    </a:cubicBezTo>
                    <a:cubicBezTo>
                      <a:pt x="147" y="120"/>
                      <a:pt x="147" y="117"/>
                      <a:pt x="147" y="114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6" y="92"/>
                      <a:pt x="116" y="91"/>
                      <a:pt x="117" y="90"/>
                    </a:cubicBezTo>
                    <a:cubicBezTo>
                      <a:pt x="117" y="89"/>
                      <a:pt x="119" y="89"/>
                      <a:pt x="120" y="89"/>
                    </a:cubicBezTo>
                    <a:cubicBezTo>
                      <a:pt x="156" y="116"/>
                      <a:pt x="156" y="116"/>
                      <a:pt x="156" y="116"/>
                    </a:cubicBezTo>
                    <a:cubicBezTo>
                      <a:pt x="159" y="116"/>
                      <a:pt x="163" y="114"/>
                      <a:pt x="165" y="111"/>
                    </a:cubicBezTo>
                    <a:cubicBezTo>
                      <a:pt x="167" y="108"/>
                      <a:pt x="167" y="105"/>
                      <a:pt x="167" y="102"/>
                    </a:cubicBezTo>
                    <a:cubicBezTo>
                      <a:pt x="137" y="81"/>
                      <a:pt x="137" y="81"/>
                      <a:pt x="137" y="81"/>
                    </a:cubicBezTo>
                    <a:cubicBezTo>
                      <a:pt x="136" y="80"/>
                      <a:pt x="136" y="79"/>
                      <a:pt x="136" y="78"/>
                    </a:cubicBezTo>
                    <a:cubicBezTo>
                      <a:pt x="137" y="77"/>
                      <a:pt x="138" y="76"/>
                      <a:pt x="139" y="77"/>
                    </a:cubicBez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0" y="104"/>
                      <a:pt x="183" y="102"/>
                      <a:pt x="185" y="99"/>
                    </a:cubicBezTo>
                    <a:cubicBezTo>
                      <a:pt x="188" y="94"/>
                      <a:pt x="187" y="87"/>
                      <a:pt x="183" y="84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3" name="Freeform 27"/>
              <p:cNvSpPr>
                <a:spLocks/>
              </p:cNvSpPr>
              <p:nvPr/>
            </p:nvSpPr>
            <p:spPr bwMode="black">
              <a:xfrm>
                <a:off x="9531250" y="4566775"/>
                <a:ext cx="1203356" cy="679031"/>
              </a:xfrm>
              <a:custGeom>
                <a:avLst/>
                <a:gdLst>
                  <a:gd name="T0" fmla="*/ 127 w 175"/>
                  <a:gd name="T1" fmla="*/ 31 h 100"/>
                  <a:gd name="T2" fmla="*/ 119 w 175"/>
                  <a:gd name="T3" fmla="*/ 28 h 100"/>
                  <a:gd name="T4" fmla="*/ 62 w 175"/>
                  <a:gd name="T5" fmla="*/ 2 h 100"/>
                  <a:gd name="T6" fmla="*/ 49 w 175"/>
                  <a:gd name="T7" fmla="*/ 3 h 100"/>
                  <a:gd name="T8" fmla="*/ 26 w 175"/>
                  <a:gd name="T9" fmla="*/ 16 h 100"/>
                  <a:gd name="T10" fmla="*/ 9 w 175"/>
                  <a:gd name="T11" fmla="*/ 25 h 100"/>
                  <a:gd name="T12" fmla="*/ 4 w 175"/>
                  <a:gd name="T13" fmla="*/ 45 h 100"/>
                  <a:gd name="T14" fmla="*/ 15 w 175"/>
                  <a:gd name="T15" fmla="*/ 52 h 100"/>
                  <a:gd name="T16" fmla="*/ 23 w 175"/>
                  <a:gd name="T17" fmla="*/ 50 h 100"/>
                  <a:gd name="T18" fmla="*/ 23 w 175"/>
                  <a:gd name="T19" fmla="*/ 50 h 100"/>
                  <a:gd name="T20" fmla="*/ 57 w 175"/>
                  <a:gd name="T21" fmla="*/ 32 h 100"/>
                  <a:gd name="T22" fmla="*/ 79 w 175"/>
                  <a:gd name="T23" fmla="*/ 42 h 100"/>
                  <a:gd name="T24" fmla="*/ 109 w 175"/>
                  <a:gd name="T25" fmla="*/ 64 h 100"/>
                  <a:gd name="T26" fmla="*/ 158 w 175"/>
                  <a:gd name="T27" fmla="*/ 99 h 100"/>
                  <a:gd name="T28" fmla="*/ 159 w 175"/>
                  <a:gd name="T29" fmla="*/ 100 h 100"/>
                  <a:gd name="T30" fmla="*/ 173 w 175"/>
                  <a:gd name="T31" fmla="*/ 97 h 100"/>
                  <a:gd name="T32" fmla="*/ 154 w 175"/>
                  <a:gd name="T33" fmla="*/ 29 h 100"/>
                  <a:gd name="T34" fmla="*/ 127 w 175"/>
                  <a:gd name="T35" fmla="*/ 3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100">
                    <a:moveTo>
                      <a:pt x="127" y="31"/>
                    </a:moveTo>
                    <a:cubicBezTo>
                      <a:pt x="125" y="31"/>
                      <a:pt x="122" y="30"/>
                      <a:pt x="119" y="28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8" y="0"/>
                      <a:pt x="53" y="1"/>
                      <a:pt x="49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2" y="29"/>
                      <a:pt x="0" y="38"/>
                      <a:pt x="4" y="45"/>
                    </a:cubicBezTo>
                    <a:cubicBezTo>
                      <a:pt x="6" y="49"/>
                      <a:pt x="10" y="52"/>
                      <a:pt x="15" y="52"/>
                    </a:cubicBezTo>
                    <a:cubicBezTo>
                      <a:pt x="18" y="52"/>
                      <a:pt x="21" y="52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58" y="99"/>
                      <a:pt x="158" y="99"/>
                      <a:pt x="158" y="99"/>
                    </a:cubicBezTo>
                    <a:cubicBezTo>
                      <a:pt x="158" y="99"/>
                      <a:pt x="159" y="100"/>
                      <a:pt x="159" y="100"/>
                    </a:cubicBezTo>
                    <a:cubicBezTo>
                      <a:pt x="173" y="97"/>
                      <a:pt x="173" y="97"/>
                      <a:pt x="173" y="97"/>
                    </a:cubicBezTo>
                    <a:cubicBezTo>
                      <a:pt x="175" y="51"/>
                      <a:pt x="154" y="29"/>
                      <a:pt x="154" y="29"/>
                    </a:cubicBezTo>
                    <a:cubicBezTo>
                      <a:pt x="154" y="29"/>
                      <a:pt x="133" y="33"/>
                      <a:pt x="127" y="31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Freeform 28"/>
              <p:cNvSpPr>
                <a:spLocks/>
              </p:cNvSpPr>
              <p:nvPr/>
            </p:nvSpPr>
            <p:spPr bwMode="black">
              <a:xfrm>
                <a:off x="9385915" y="5225752"/>
                <a:ext cx="584239" cy="398251"/>
              </a:xfrm>
              <a:custGeom>
                <a:avLst/>
                <a:gdLst>
                  <a:gd name="T0" fmla="*/ 76 w 85"/>
                  <a:gd name="T1" fmla="*/ 20 h 59"/>
                  <a:gd name="T2" fmla="*/ 64 w 85"/>
                  <a:gd name="T3" fmla="*/ 25 h 59"/>
                  <a:gd name="T4" fmla="*/ 65 w 85"/>
                  <a:gd name="T5" fmla="*/ 18 h 59"/>
                  <a:gd name="T6" fmla="*/ 57 w 85"/>
                  <a:gd name="T7" fmla="*/ 5 h 59"/>
                  <a:gd name="T8" fmla="*/ 44 w 85"/>
                  <a:gd name="T9" fmla="*/ 13 h 59"/>
                  <a:gd name="T10" fmla="*/ 44 w 85"/>
                  <a:gd name="T11" fmla="*/ 14 h 59"/>
                  <a:gd name="T12" fmla="*/ 35 w 85"/>
                  <a:gd name="T13" fmla="*/ 3 h 59"/>
                  <a:gd name="T14" fmla="*/ 23 w 85"/>
                  <a:gd name="T15" fmla="*/ 10 h 59"/>
                  <a:gd name="T16" fmla="*/ 23 w 85"/>
                  <a:gd name="T17" fmla="*/ 10 h 59"/>
                  <a:gd name="T18" fmla="*/ 10 w 85"/>
                  <a:gd name="T19" fmla="*/ 1 h 59"/>
                  <a:gd name="T20" fmla="*/ 1 w 85"/>
                  <a:gd name="T21" fmla="*/ 14 h 59"/>
                  <a:gd name="T22" fmla="*/ 4 w 85"/>
                  <a:gd name="T23" fmla="*/ 28 h 59"/>
                  <a:gd name="T24" fmla="*/ 14 w 85"/>
                  <a:gd name="T25" fmla="*/ 36 h 59"/>
                  <a:gd name="T26" fmla="*/ 17 w 85"/>
                  <a:gd name="T27" fmla="*/ 36 h 59"/>
                  <a:gd name="T28" fmla="*/ 19 w 85"/>
                  <a:gd name="T29" fmla="*/ 35 h 59"/>
                  <a:gd name="T30" fmla="*/ 27 w 85"/>
                  <a:gd name="T31" fmla="*/ 43 h 59"/>
                  <a:gd name="T32" fmla="*/ 28 w 85"/>
                  <a:gd name="T33" fmla="*/ 43 h 59"/>
                  <a:gd name="T34" fmla="*/ 39 w 85"/>
                  <a:gd name="T35" fmla="*/ 38 h 59"/>
                  <a:gd name="T36" fmla="*/ 38 w 85"/>
                  <a:gd name="T37" fmla="*/ 39 h 59"/>
                  <a:gd name="T38" fmla="*/ 47 w 85"/>
                  <a:gd name="T39" fmla="*/ 52 h 59"/>
                  <a:gd name="T40" fmla="*/ 48 w 85"/>
                  <a:gd name="T41" fmla="*/ 52 h 59"/>
                  <a:gd name="T42" fmla="*/ 58 w 85"/>
                  <a:gd name="T43" fmla="*/ 47 h 59"/>
                  <a:gd name="T44" fmla="*/ 67 w 85"/>
                  <a:gd name="T45" fmla="*/ 59 h 59"/>
                  <a:gd name="T46" fmla="*/ 68 w 85"/>
                  <a:gd name="T47" fmla="*/ 59 h 59"/>
                  <a:gd name="T48" fmla="*/ 80 w 85"/>
                  <a:gd name="T49" fmla="*/ 50 h 59"/>
                  <a:gd name="T50" fmla="*/ 84 w 85"/>
                  <a:gd name="T51" fmla="*/ 33 h 59"/>
                  <a:gd name="T52" fmla="*/ 76 w 85"/>
                  <a:gd name="T53" fmla="*/ 2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5" h="59">
                    <a:moveTo>
                      <a:pt x="76" y="20"/>
                    </a:moveTo>
                    <a:cubicBezTo>
                      <a:pt x="71" y="19"/>
                      <a:pt x="66" y="21"/>
                      <a:pt x="64" y="25"/>
                    </a:cubicBezTo>
                    <a:cubicBezTo>
                      <a:pt x="65" y="18"/>
                      <a:pt x="65" y="18"/>
                      <a:pt x="65" y="18"/>
                    </a:cubicBezTo>
                    <a:cubicBezTo>
                      <a:pt x="67" y="12"/>
                      <a:pt x="63" y="6"/>
                      <a:pt x="57" y="5"/>
                    </a:cubicBezTo>
                    <a:cubicBezTo>
                      <a:pt x="51" y="4"/>
                      <a:pt x="45" y="7"/>
                      <a:pt x="44" y="13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9"/>
                      <a:pt x="40" y="4"/>
                      <a:pt x="35" y="3"/>
                    </a:cubicBezTo>
                    <a:cubicBezTo>
                      <a:pt x="30" y="2"/>
                      <a:pt x="24" y="5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4"/>
                      <a:pt x="15" y="0"/>
                      <a:pt x="10" y="1"/>
                    </a:cubicBezTo>
                    <a:cubicBezTo>
                      <a:pt x="4" y="3"/>
                      <a:pt x="0" y="8"/>
                      <a:pt x="1" y="14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32"/>
                      <a:pt x="9" y="36"/>
                      <a:pt x="14" y="36"/>
                    </a:cubicBezTo>
                    <a:cubicBezTo>
                      <a:pt x="15" y="36"/>
                      <a:pt x="16" y="36"/>
                      <a:pt x="17" y="36"/>
                    </a:cubicBezTo>
                    <a:cubicBezTo>
                      <a:pt x="18" y="36"/>
                      <a:pt x="18" y="36"/>
                      <a:pt x="19" y="35"/>
                    </a:cubicBezTo>
                    <a:cubicBezTo>
                      <a:pt x="20" y="39"/>
                      <a:pt x="23" y="42"/>
                      <a:pt x="27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2" y="43"/>
                      <a:pt x="36" y="41"/>
                      <a:pt x="39" y="3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44"/>
                      <a:pt x="41" y="50"/>
                      <a:pt x="47" y="52"/>
                    </a:cubicBezTo>
                    <a:cubicBezTo>
                      <a:pt x="47" y="52"/>
                      <a:pt x="47" y="52"/>
                      <a:pt x="48" y="52"/>
                    </a:cubicBezTo>
                    <a:cubicBezTo>
                      <a:pt x="52" y="52"/>
                      <a:pt x="56" y="50"/>
                      <a:pt x="58" y="47"/>
                    </a:cubicBezTo>
                    <a:cubicBezTo>
                      <a:pt x="58" y="52"/>
                      <a:pt x="61" y="57"/>
                      <a:pt x="67" y="59"/>
                    </a:cubicBezTo>
                    <a:cubicBezTo>
                      <a:pt x="67" y="59"/>
                      <a:pt x="67" y="59"/>
                      <a:pt x="68" y="59"/>
                    </a:cubicBezTo>
                    <a:cubicBezTo>
                      <a:pt x="73" y="59"/>
                      <a:pt x="78" y="56"/>
                      <a:pt x="80" y="50"/>
                    </a:cubicBezTo>
                    <a:cubicBezTo>
                      <a:pt x="84" y="33"/>
                      <a:pt x="84" y="33"/>
                      <a:pt x="84" y="33"/>
                    </a:cubicBezTo>
                    <a:cubicBezTo>
                      <a:pt x="85" y="27"/>
                      <a:pt x="81" y="21"/>
                      <a:pt x="76" y="2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black">
              <a:xfrm>
                <a:off x="10615433" y="4675655"/>
                <a:ext cx="281947" cy="575888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reeform 30"/>
              <p:cNvSpPr>
                <a:spLocks/>
              </p:cNvSpPr>
              <p:nvPr/>
            </p:nvSpPr>
            <p:spPr bwMode="black">
              <a:xfrm>
                <a:off x="9112691" y="4615488"/>
                <a:ext cx="322640" cy="636054"/>
              </a:xfrm>
              <a:custGeom>
                <a:avLst/>
                <a:gdLst>
                  <a:gd name="T0" fmla="*/ 47 w 47"/>
                  <a:gd name="T1" fmla="*/ 9 h 94"/>
                  <a:gd name="T2" fmla="*/ 35 w 47"/>
                  <a:gd name="T3" fmla="*/ 2 h 94"/>
                  <a:gd name="T4" fmla="*/ 25 w 47"/>
                  <a:gd name="T5" fmla="*/ 6 h 94"/>
                  <a:gd name="T6" fmla="*/ 2 w 47"/>
                  <a:gd name="T7" fmla="*/ 81 h 94"/>
                  <a:gd name="T8" fmla="*/ 7 w 47"/>
                  <a:gd name="T9" fmla="*/ 90 h 94"/>
                  <a:gd name="T10" fmla="*/ 26 w 47"/>
                  <a:gd name="T11" fmla="*/ 94 h 94"/>
                  <a:gd name="T12" fmla="*/ 47 w 47"/>
                  <a:gd name="T13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4">
                    <a:moveTo>
                      <a:pt x="47" y="9"/>
                    </a:moveTo>
                    <a:cubicBezTo>
                      <a:pt x="35" y="2"/>
                      <a:pt x="35" y="2"/>
                      <a:pt x="35" y="2"/>
                    </a:cubicBezTo>
                    <a:cubicBezTo>
                      <a:pt x="31" y="0"/>
                      <a:pt x="27" y="2"/>
                      <a:pt x="25" y="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6"/>
                      <a:pt x="3" y="90"/>
                      <a:pt x="7" y="90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52"/>
                      <a:pt x="47" y="9"/>
                      <a:pt x="47" y="9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81" name="Rectangle 80"/>
            <p:cNvSpPr/>
            <p:nvPr/>
          </p:nvSpPr>
          <p:spPr>
            <a:xfrm>
              <a:off x="3233323" y="23564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6356223" y="1974425"/>
            <a:ext cx="792266" cy="792000"/>
            <a:chOff x="9948033" y="490705"/>
            <a:chExt cx="792266" cy="792000"/>
          </a:xfrm>
        </p:grpSpPr>
        <p:sp>
          <p:nvSpPr>
            <p:cNvPr id="88" name="Rectangle 9"/>
            <p:cNvSpPr/>
            <p:nvPr>
              <p:custDataLst>
                <p:tags r:id="rId11"/>
              </p:custDataLst>
            </p:nvPr>
          </p:nvSpPr>
          <p:spPr>
            <a:xfrm>
              <a:off x="9948033" y="517965"/>
              <a:ext cx="792266" cy="737481"/>
            </a:xfrm>
            <a:custGeom>
              <a:avLst/>
              <a:gdLst/>
              <a:ahLst/>
              <a:cxnLst/>
              <a:rect l="l" t="t" r="r" b="b"/>
              <a:pathLst>
                <a:path w="2085506" h="1941291">
                  <a:moveTo>
                    <a:pt x="923919" y="1068937"/>
                  </a:moveTo>
                  <a:lnTo>
                    <a:pt x="1006950" y="1168743"/>
                  </a:lnTo>
                  <a:lnTo>
                    <a:pt x="933447" y="1673774"/>
                  </a:lnTo>
                  <a:lnTo>
                    <a:pt x="1038222" y="1752355"/>
                  </a:lnTo>
                  <a:lnTo>
                    <a:pt x="1152522" y="1673774"/>
                  </a:lnTo>
                  <a:lnTo>
                    <a:pt x="1074714" y="1173917"/>
                  </a:lnTo>
                  <a:lnTo>
                    <a:pt x="1162049" y="1068937"/>
                  </a:lnTo>
                  <a:close/>
                  <a:moveTo>
                    <a:pt x="1672989" y="236416"/>
                  </a:moveTo>
                  <a:cubicBezTo>
                    <a:pt x="1729991" y="234645"/>
                    <a:pt x="1788645" y="250692"/>
                    <a:pt x="1820935" y="291456"/>
                  </a:cubicBezTo>
                  <a:cubicBezTo>
                    <a:pt x="1886549" y="374289"/>
                    <a:pt x="1896329" y="546953"/>
                    <a:pt x="1819411" y="663253"/>
                  </a:cubicBezTo>
                  <a:cubicBezTo>
                    <a:pt x="1802047" y="692856"/>
                    <a:pt x="1782198" y="710032"/>
                    <a:pt x="1781802" y="750317"/>
                  </a:cubicBezTo>
                  <a:cubicBezTo>
                    <a:pt x="1785433" y="786439"/>
                    <a:pt x="1812136" y="815345"/>
                    <a:pt x="1847223" y="822228"/>
                  </a:cubicBezTo>
                  <a:cubicBezTo>
                    <a:pt x="1981951" y="878546"/>
                    <a:pt x="2037815" y="946352"/>
                    <a:pt x="2062824" y="1028986"/>
                  </a:cubicBezTo>
                  <a:cubicBezTo>
                    <a:pt x="2079909" y="1069029"/>
                    <a:pt x="2088127" y="1116405"/>
                    <a:pt x="2084766" y="1171632"/>
                  </a:cubicBezTo>
                  <a:cubicBezTo>
                    <a:pt x="2080443" y="1194789"/>
                    <a:pt x="2076121" y="1200143"/>
                    <a:pt x="2034827" y="1232884"/>
                  </a:cubicBezTo>
                  <a:cubicBezTo>
                    <a:pt x="1938610" y="1303678"/>
                    <a:pt x="1839233" y="1339358"/>
                    <a:pt x="1743002" y="1348298"/>
                  </a:cubicBezTo>
                  <a:cubicBezTo>
                    <a:pt x="1670263" y="1154566"/>
                    <a:pt x="1523265" y="1036464"/>
                    <a:pt x="1311275" y="982248"/>
                  </a:cubicBezTo>
                  <a:cubicBezTo>
                    <a:pt x="1340966" y="918566"/>
                    <a:pt x="1388865" y="868163"/>
                    <a:pt x="1498755" y="822228"/>
                  </a:cubicBezTo>
                  <a:cubicBezTo>
                    <a:pt x="1533841" y="815345"/>
                    <a:pt x="1560544" y="786439"/>
                    <a:pt x="1564175" y="750317"/>
                  </a:cubicBezTo>
                  <a:cubicBezTo>
                    <a:pt x="1563780" y="710032"/>
                    <a:pt x="1543931" y="692856"/>
                    <a:pt x="1526567" y="663253"/>
                  </a:cubicBezTo>
                  <a:cubicBezTo>
                    <a:pt x="1449649" y="546953"/>
                    <a:pt x="1459429" y="374289"/>
                    <a:pt x="1525042" y="291456"/>
                  </a:cubicBezTo>
                  <a:cubicBezTo>
                    <a:pt x="1557332" y="250692"/>
                    <a:pt x="1615986" y="234645"/>
                    <a:pt x="1672989" y="236416"/>
                  </a:cubicBezTo>
                  <a:close/>
                  <a:moveTo>
                    <a:pt x="412517" y="236416"/>
                  </a:moveTo>
                  <a:cubicBezTo>
                    <a:pt x="469520" y="234645"/>
                    <a:pt x="528174" y="250692"/>
                    <a:pt x="560464" y="291456"/>
                  </a:cubicBezTo>
                  <a:cubicBezTo>
                    <a:pt x="626077" y="374289"/>
                    <a:pt x="635857" y="546953"/>
                    <a:pt x="558939" y="663253"/>
                  </a:cubicBezTo>
                  <a:cubicBezTo>
                    <a:pt x="541575" y="692856"/>
                    <a:pt x="521726" y="710032"/>
                    <a:pt x="521331" y="750317"/>
                  </a:cubicBezTo>
                  <a:cubicBezTo>
                    <a:pt x="524962" y="786439"/>
                    <a:pt x="551665" y="815345"/>
                    <a:pt x="586751" y="822228"/>
                  </a:cubicBezTo>
                  <a:cubicBezTo>
                    <a:pt x="696641" y="868163"/>
                    <a:pt x="744540" y="918566"/>
                    <a:pt x="774231" y="982248"/>
                  </a:cubicBezTo>
                  <a:cubicBezTo>
                    <a:pt x="562241" y="1036464"/>
                    <a:pt x="415243" y="1154566"/>
                    <a:pt x="342504" y="1348298"/>
                  </a:cubicBezTo>
                  <a:cubicBezTo>
                    <a:pt x="246273" y="1339358"/>
                    <a:pt x="146896" y="1303678"/>
                    <a:pt x="50679" y="1232884"/>
                  </a:cubicBezTo>
                  <a:cubicBezTo>
                    <a:pt x="9385" y="1200143"/>
                    <a:pt x="5063" y="1194789"/>
                    <a:pt x="740" y="1171632"/>
                  </a:cubicBezTo>
                  <a:cubicBezTo>
                    <a:pt x="-2621" y="1116405"/>
                    <a:pt x="5597" y="1069029"/>
                    <a:pt x="22682" y="1028986"/>
                  </a:cubicBezTo>
                  <a:cubicBezTo>
                    <a:pt x="47691" y="946352"/>
                    <a:pt x="103555" y="878546"/>
                    <a:pt x="238283" y="822228"/>
                  </a:cubicBezTo>
                  <a:cubicBezTo>
                    <a:pt x="273370" y="815345"/>
                    <a:pt x="300073" y="786439"/>
                    <a:pt x="303704" y="750317"/>
                  </a:cubicBezTo>
                  <a:cubicBezTo>
                    <a:pt x="303308" y="710032"/>
                    <a:pt x="283459" y="692856"/>
                    <a:pt x="266095" y="663253"/>
                  </a:cubicBezTo>
                  <a:cubicBezTo>
                    <a:pt x="189177" y="546953"/>
                    <a:pt x="198957" y="374289"/>
                    <a:pt x="264571" y="291456"/>
                  </a:cubicBezTo>
                  <a:cubicBezTo>
                    <a:pt x="296861" y="250692"/>
                    <a:pt x="355515" y="234645"/>
                    <a:pt x="412517" y="236416"/>
                  </a:cubicBezTo>
                  <a:close/>
                  <a:moveTo>
                    <a:pt x="1042984" y="229"/>
                  </a:moveTo>
                  <a:cubicBezTo>
                    <a:pt x="1142114" y="-2850"/>
                    <a:pt x="1244116" y="25056"/>
                    <a:pt x="1300270" y="95947"/>
                  </a:cubicBezTo>
                  <a:cubicBezTo>
                    <a:pt x="1414375" y="239997"/>
                    <a:pt x="1431383" y="540267"/>
                    <a:pt x="1297619" y="742517"/>
                  </a:cubicBezTo>
                  <a:cubicBezTo>
                    <a:pt x="1267422" y="793999"/>
                    <a:pt x="1232903" y="823869"/>
                    <a:pt x="1232216" y="893926"/>
                  </a:cubicBezTo>
                  <a:cubicBezTo>
                    <a:pt x="1238530" y="956743"/>
                    <a:pt x="1284968" y="1007012"/>
                    <a:pt x="1345985" y="1018982"/>
                  </a:cubicBezTo>
                  <a:cubicBezTo>
                    <a:pt x="1580284" y="1116921"/>
                    <a:pt x="1677433" y="1234839"/>
                    <a:pt x="1720926" y="1378544"/>
                  </a:cubicBezTo>
                  <a:cubicBezTo>
                    <a:pt x="1750637" y="1448180"/>
                    <a:pt x="1764928" y="1530569"/>
                    <a:pt x="1759083" y="1626611"/>
                  </a:cubicBezTo>
                  <a:cubicBezTo>
                    <a:pt x="1751566" y="1666881"/>
                    <a:pt x="1744049" y="1676193"/>
                    <a:pt x="1672238" y="1733131"/>
                  </a:cubicBezTo>
                  <a:cubicBezTo>
                    <a:pt x="1463807" y="1886488"/>
                    <a:pt x="1246847" y="1945096"/>
                    <a:pt x="1042984" y="1941101"/>
                  </a:cubicBezTo>
                  <a:cubicBezTo>
                    <a:pt x="839121" y="1945096"/>
                    <a:pt x="622161" y="1886488"/>
                    <a:pt x="413730" y="1733131"/>
                  </a:cubicBezTo>
                  <a:cubicBezTo>
                    <a:pt x="341919" y="1676193"/>
                    <a:pt x="334402" y="1666881"/>
                    <a:pt x="326885" y="1626611"/>
                  </a:cubicBezTo>
                  <a:cubicBezTo>
                    <a:pt x="321040" y="1530569"/>
                    <a:pt x="335331" y="1448180"/>
                    <a:pt x="365042" y="1378544"/>
                  </a:cubicBezTo>
                  <a:cubicBezTo>
                    <a:pt x="408535" y="1234839"/>
                    <a:pt x="505684" y="1116921"/>
                    <a:pt x="739983" y="1018982"/>
                  </a:cubicBezTo>
                  <a:cubicBezTo>
                    <a:pt x="801000" y="1007012"/>
                    <a:pt x="847438" y="956743"/>
                    <a:pt x="853752" y="893926"/>
                  </a:cubicBezTo>
                  <a:cubicBezTo>
                    <a:pt x="853065" y="823869"/>
                    <a:pt x="818546" y="793999"/>
                    <a:pt x="788349" y="742517"/>
                  </a:cubicBezTo>
                  <a:cubicBezTo>
                    <a:pt x="654585" y="540267"/>
                    <a:pt x="671593" y="239997"/>
                    <a:pt x="785698" y="95947"/>
                  </a:cubicBezTo>
                  <a:cubicBezTo>
                    <a:pt x="841852" y="25056"/>
                    <a:pt x="943854" y="-2850"/>
                    <a:pt x="1042984" y="229"/>
                  </a:cubicBezTo>
                  <a:close/>
                </a:path>
              </a:pathLst>
            </a:custGeom>
            <a:solidFill>
              <a:srgbClr val="007ABD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03" tIns="91403" rIns="91403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685652">
                <a:defRPr/>
              </a:pPr>
              <a:endParaRPr lang="en-US" sz="1600" kern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9948166" y="49070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90" name="Freeform 24"/>
          <p:cNvSpPr>
            <a:spLocks noEditPoints="1"/>
          </p:cNvSpPr>
          <p:nvPr/>
        </p:nvSpPr>
        <p:spPr bwMode="black">
          <a:xfrm>
            <a:off x="8253064" y="567632"/>
            <a:ext cx="792000" cy="792000"/>
          </a:xfrm>
          <a:custGeom>
            <a:avLst/>
            <a:gdLst>
              <a:gd name="T0" fmla="*/ 126 w 259"/>
              <a:gd name="T1" fmla="*/ 53 h 300"/>
              <a:gd name="T2" fmla="*/ 120 w 259"/>
              <a:gd name="T3" fmla="*/ 38 h 300"/>
              <a:gd name="T4" fmla="*/ 77 w 259"/>
              <a:gd name="T5" fmla="*/ 43 h 300"/>
              <a:gd name="T6" fmla="*/ 105 w 259"/>
              <a:gd name="T7" fmla="*/ 53 h 300"/>
              <a:gd name="T8" fmla="*/ 105 w 259"/>
              <a:gd name="T9" fmla="*/ 53 h 300"/>
              <a:gd name="T10" fmla="*/ 84 w 259"/>
              <a:gd name="T11" fmla="*/ 136 h 300"/>
              <a:gd name="T12" fmla="*/ 79 w 259"/>
              <a:gd name="T13" fmla="*/ 124 h 300"/>
              <a:gd name="T14" fmla="*/ 45 w 259"/>
              <a:gd name="T15" fmla="*/ 128 h 300"/>
              <a:gd name="T16" fmla="*/ 67 w 259"/>
              <a:gd name="T17" fmla="*/ 136 h 300"/>
              <a:gd name="T18" fmla="*/ 67 w 259"/>
              <a:gd name="T19" fmla="*/ 136 h 300"/>
              <a:gd name="T20" fmla="*/ 35 w 259"/>
              <a:gd name="T21" fmla="*/ 69 h 300"/>
              <a:gd name="T22" fmla="*/ 32 w 259"/>
              <a:gd name="T23" fmla="*/ 63 h 300"/>
              <a:gd name="T24" fmla="*/ 15 w 259"/>
              <a:gd name="T25" fmla="*/ 65 h 300"/>
              <a:gd name="T26" fmla="*/ 26 w 259"/>
              <a:gd name="T27" fmla="*/ 69 h 300"/>
              <a:gd name="T28" fmla="*/ 26 w 259"/>
              <a:gd name="T29" fmla="*/ 69 h 300"/>
              <a:gd name="T30" fmla="*/ 233 w 259"/>
              <a:gd name="T31" fmla="*/ 19 h 300"/>
              <a:gd name="T32" fmla="*/ 231 w 259"/>
              <a:gd name="T33" fmla="*/ 13 h 300"/>
              <a:gd name="T34" fmla="*/ 214 w 259"/>
              <a:gd name="T35" fmla="*/ 15 h 300"/>
              <a:gd name="T36" fmla="*/ 225 w 259"/>
              <a:gd name="T37" fmla="*/ 19 h 300"/>
              <a:gd name="T38" fmla="*/ 225 w 259"/>
              <a:gd name="T39" fmla="*/ 19 h 300"/>
              <a:gd name="T40" fmla="*/ 248 w 259"/>
              <a:gd name="T41" fmla="*/ 141 h 300"/>
              <a:gd name="T42" fmla="*/ 246 w 259"/>
              <a:gd name="T43" fmla="*/ 135 h 300"/>
              <a:gd name="T44" fmla="*/ 229 w 259"/>
              <a:gd name="T45" fmla="*/ 136 h 300"/>
              <a:gd name="T46" fmla="*/ 240 w 259"/>
              <a:gd name="T47" fmla="*/ 141 h 300"/>
              <a:gd name="T48" fmla="*/ 240 w 259"/>
              <a:gd name="T49" fmla="*/ 141 h 300"/>
              <a:gd name="T50" fmla="*/ 20 w 259"/>
              <a:gd name="T51" fmla="*/ 162 h 300"/>
              <a:gd name="T52" fmla="*/ 17 w 259"/>
              <a:gd name="T53" fmla="*/ 156 h 300"/>
              <a:gd name="T54" fmla="*/ 0 w 259"/>
              <a:gd name="T55" fmla="*/ 158 h 300"/>
              <a:gd name="T56" fmla="*/ 11 w 259"/>
              <a:gd name="T57" fmla="*/ 162 h 300"/>
              <a:gd name="T58" fmla="*/ 11 w 259"/>
              <a:gd name="T59" fmla="*/ 162 h 300"/>
              <a:gd name="T60" fmla="*/ 226 w 259"/>
              <a:gd name="T61" fmla="*/ 100 h 300"/>
              <a:gd name="T62" fmla="*/ 219 w 259"/>
              <a:gd name="T63" fmla="*/ 82 h 300"/>
              <a:gd name="T64" fmla="*/ 168 w 259"/>
              <a:gd name="T65" fmla="*/ 88 h 300"/>
              <a:gd name="T66" fmla="*/ 201 w 259"/>
              <a:gd name="T67" fmla="*/ 100 h 300"/>
              <a:gd name="T68" fmla="*/ 201 w 259"/>
              <a:gd name="T69" fmla="*/ 100 h 300"/>
              <a:gd name="T70" fmla="*/ 223 w 259"/>
              <a:gd name="T71" fmla="*/ 146 h 300"/>
              <a:gd name="T72" fmla="*/ 156 w 259"/>
              <a:gd name="T73" fmla="*/ 178 h 300"/>
              <a:gd name="T74" fmla="*/ 150 w 259"/>
              <a:gd name="T75" fmla="*/ 178 h 300"/>
              <a:gd name="T76" fmla="*/ 206 w 259"/>
              <a:gd name="T77" fmla="*/ 17 h 300"/>
              <a:gd name="T78" fmla="*/ 120 w 259"/>
              <a:gd name="T79" fmla="*/ 69 h 300"/>
              <a:gd name="T80" fmla="*/ 54 w 259"/>
              <a:gd name="T81" fmla="*/ 62 h 300"/>
              <a:gd name="T82" fmla="*/ 103 w 259"/>
              <a:gd name="T83" fmla="*/ 178 h 300"/>
              <a:gd name="T84" fmla="*/ 97 w 259"/>
              <a:gd name="T85" fmla="*/ 178 h 300"/>
              <a:gd name="T86" fmla="*/ 36 w 259"/>
              <a:gd name="T87" fmla="*/ 160 h 300"/>
              <a:gd name="T88" fmla="*/ 22 w 259"/>
              <a:gd name="T89" fmla="*/ 236 h 300"/>
              <a:gd name="T90" fmla="*/ 60 w 259"/>
              <a:gd name="T91" fmla="*/ 294 h 300"/>
              <a:gd name="T92" fmla="*/ 212 w 259"/>
              <a:gd name="T93" fmla="*/ 195 h 300"/>
              <a:gd name="T94" fmla="*/ 250 w 259"/>
              <a:gd name="T95" fmla="*/ 231 h 300"/>
              <a:gd name="T96" fmla="*/ 113 w 259"/>
              <a:gd name="T97" fmla="*/ 214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9" h="300">
                <a:moveTo>
                  <a:pt x="115" y="81"/>
                </a:moveTo>
                <a:cubicBezTo>
                  <a:pt x="115" y="81"/>
                  <a:pt x="115" y="52"/>
                  <a:pt x="120" y="47"/>
                </a:cubicBezTo>
                <a:cubicBezTo>
                  <a:pt x="125" y="42"/>
                  <a:pt x="153" y="43"/>
                  <a:pt x="153" y="43"/>
                </a:cubicBezTo>
                <a:cubicBezTo>
                  <a:pt x="153" y="43"/>
                  <a:pt x="131" y="48"/>
                  <a:pt x="126" y="53"/>
                </a:cubicBezTo>
                <a:cubicBezTo>
                  <a:pt x="120" y="58"/>
                  <a:pt x="115" y="81"/>
                  <a:pt x="115" y="81"/>
                </a:cubicBezTo>
                <a:close/>
                <a:moveTo>
                  <a:pt x="126" y="32"/>
                </a:moveTo>
                <a:cubicBezTo>
                  <a:pt x="120" y="27"/>
                  <a:pt x="115" y="5"/>
                  <a:pt x="115" y="5"/>
                </a:cubicBezTo>
                <a:cubicBezTo>
                  <a:pt x="115" y="5"/>
                  <a:pt x="115" y="33"/>
                  <a:pt x="120" y="38"/>
                </a:cubicBezTo>
                <a:cubicBezTo>
                  <a:pt x="125" y="43"/>
                  <a:pt x="153" y="43"/>
                  <a:pt x="153" y="43"/>
                </a:cubicBezTo>
                <a:cubicBezTo>
                  <a:pt x="153" y="43"/>
                  <a:pt x="131" y="38"/>
                  <a:pt x="126" y="32"/>
                </a:cubicBezTo>
                <a:close/>
                <a:moveTo>
                  <a:pt x="105" y="32"/>
                </a:moveTo>
                <a:cubicBezTo>
                  <a:pt x="100" y="38"/>
                  <a:pt x="77" y="43"/>
                  <a:pt x="77" y="43"/>
                </a:cubicBezTo>
                <a:cubicBezTo>
                  <a:pt x="77" y="43"/>
                  <a:pt x="105" y="43"/>
                  <a:pt x="111" y="38"/>
                </a:cubicBezTo>
                <a:cubicBezTo>
                  <a:pt x="116" y="33"/>
                  <a:pt x="115" y="5"/>
                  <a:pt x="115" y="5"/>
                </a:cubicBezTo>
                <a:cubicBezTo>
                  <a:pt x="115" y="5"/>
                  <a:pt x="110" y="27"/>
                  <a:pt x="105" y="32"/>
                </a:cubicBezTo>
                <a:close/>
                <a:moveTo>
                  <a:pt x="105" y="53"/>
                </a:moveTo>
                <a:cubicBezTo>
                  <a:pt x="110" y="58"/>
                  <a:pt x="115" y="81"/>
                  <a:pt x="115" y="81"/>
                </a:cubicBezTo>
                <a:cubicBezTo>
                  <a:pt x="115" y="81"/>
                  <a:pt x="116" y="52"/>
                  <a:pt x="111" y="47"/>
                </a:cubicBezTo>
                <a:cubicBezTo>
                  <a:pt x="105" y="42"/>
                  <a:pt x="77" y="43"/>
                  <a:pt x="77" y="43"/>
                </a:cubicBezTo>
                <a:cubicBezTo>
                  <a:pt x="77" y="43"/>
                  <a:pt x="100" y="48"/>
                  <a:pt x="105" y="53"/>
                </a:cubicBezTo>
                <a:close/>
                <a:moveTo>
                  <a:pt x="75" y="158"/>
                </a:moveTo>
                <a:cubicBezTo>
                  <a:pt x="75" y="158"/>
                  <a:pt x="75" y="136"/>
                  <a:pt x="79" y="131"/>
                </a:cubicBezTo>
                <a:cubicBezTo>
                  <a:pt x="83" y="127"/>
                  <a:pt x="106" y="128"/>
                  <a:pt x="106" y="128"/>
                </a:cubicBezTo>
                <a:cubicBezTo>
                  <a:pt x="106" y="128"/>
                  <a:pt x="88" y="132"/>
                  <a:pt x="84" y="136"/>
                </a:cubicBezTo>
                <a:cubicBezTo>
                  <a:pt x="79" y="140"/>
                  <a:pt x="75" y="158"/>
                  <a:pt x="75" y="158"/>
                </a:cubicBezTo>
                <a:close/>
                <a:moveTo>
                  <a:pt x="84" y="119"/>
                </a:moveTo>
                <a:cubicBezTo>
                  <a:pt x="79" y="115"/>
                  <a:pt x="75" y="97"/>
                  <a:pt x="75" y="97"/>
                </a:cubicBezTo>
                <a:cubicBezTo>
                  <a:pt x="75" y="97"/>
                  <a:pt x="75" y="120"/>
                  <a:pt x="79" y="124"/>
                </a:cubicBezTo>
                <a:cubicBezTo>
                  <a:pt x="83" y="128"/>
                  <a:pt x="106" y="128"/>
                  <a:pt x="106" y="128"/>
                </a:cubicBezTo>
                <a:cubicBezTo>
                  <a:pt x="106" y="128"/>
                  <a:pt x="88" y="124"/>
                  <a:pt x="84" y="119"/>
                </a:cubicBezTo>
                <a:close/>
                <a:moveTo>
                  <a:pt x="67" y="119"/>
                </a:moveTo>
                <a:cubicBezTo>
                  <a:pt x="63" y="124"/>
                  <a:pt x="45" y="128"/>
                  <a:pt x="45" y="128"/>
                </a:cubicBezTo>
                <a:cubicBezTo>
                  <a:pt x="45" y="128"/>
                  <a:pt x="68" y="128"/>
                  <a:pt x="72" y="124"/>
                </a:cubicBezTo>
                <a:cubicBezTo>
                  <a:pt x="76" y="120"/>
                  <a:pt x="75" y="97"/>
                  <a:pt x="75" y="97"/>
                </a:cubicBezTo>
                <a:cubicBezTo>
                  <a:pt x="75" y="97"/>
                  <a:pt x="71" y="115"/>
                  <a:pt x="67" y="119"/>
                </a:cubicBezTo>
                <a:close/>
                <a:moveTo>
                  <a:pt x="67" y="136"/>
                </a:moveTo>
                <a:cubicBezTo>
                  <a:pt x="71" y="140"/>
                  <a:pt x="75" y="158"/>
                  <a:pt x="75" y="158"/>
                </a:cubicBezTo>
                <a:cubicBezTo>
                  <a:pt x="75" y="158"/>
                  <a:pt x="76" y="136"/>
                  <a:pt x="72" y="131"/>
                </a:cubicBezTo>
                <a:cubicBezTo>
                  <a:pt x="68" y="127"/>
                  <a:pt x="45" y="128"/>
                  <a:pt x="45" y="128"/>
                </a:cubicBezTo>
                <a:cubicBezTo>
                  <a:pt x="45" y="128"/>
                  <a:pt x="63" y="132"/>
                  <a:pt x="67" y="136"/>
                </a:cubicBezTo>
                <a:close/>
                <a:moveTo>
                  <a:pt x="31" y="80"/>
                </a:moveTo>
                <a:cubicBezTo>
                  <a:pt x="31" y="80"/>
                  <a:pt x="30" y="69"/>
                  <a:pt x="32" y="67"/>
                </a:cubicBezTo>
                <a:cubicBezTo>
                  <a:pt x="35" y="65"/>
                  <a:pt x="46" y="65"/>
                  <a:pt x="46" y="65"/>
                </a:cubicBezTo>
                <a:cubicBezTo>
                  <a:pt x="46" y="65"/>
                  <a:pt x="37" y="67"/>
                  <a:pt x="35" y="69"/>
                </a:cubicBezTo>
                <a:cubicBezTo>
                  <a:pt x="33" y="71"/>
                  <a:pt x="31" y="80"/>
                  <a:pt x="31" y="80"/>
                </a:cubicBezTo>
                <a:close/>
                <a:moveTo>
                  <a:pt x="35" y="61"/>
                </a:moveTo>
                <a:cubicBezTo>
                  <a:pt x="33" y="59"/>
                  <a:pt x="31" y="50"/>
                  <a:pt x="31" y="50"/>
                </a:cubicBezTo>
                <a:cubicBezTo>
                  <a:pt x="31" y="50"/>
                  <a:pt x="30" y="61"/>
                  <a:pt x="32" y="63"/>
                </a:cubicBezTo>
                <a:cubicBezTo>
                  <a:pt x="35" y="65"/>
                  <a:pt x="46" y="65"/>
                  <a:pt x="46" y="65"/>
                </a:cubicBezTo>
                <a:cubicBezTo>
                  <a:pt x="46" y="65"/>
                  <a:pt x="37" y="63"/>
                  <a:pt x="35" y="61"/>
                </a:cubicBezTo>
                <a:close/>
                <a:moveTo>
                  <a:pt x="26" y="61"/>
                </a:moveTo>
                <a:cubicBezTo>
                  <a:pt x="24" y="63"/>
                  <a:pt x="15" y="65"/>
                  <a:pt x="15" y="65"/>
                </a:cubicBezTo>
                <a:cubicBezTo>
                  <a:pt x="15" y="65"/>
                  <a:pt x="27" y="65"/>
                  <a:pt x="29" y="63"/>
                </a:cubicBezTo>
                <a:cubicBezTo>
                  <a:pt x="31" y="61"/>
                  <a:pt x="31" y="50"/>
                  <a:pt x="31" y="50"/>
                </a:cubicBezTo>
                <a:cubicBezTo>
                  <a:pt x="31" y="50"/>
                  <a:pt x="29" y="59"/>
                  <a:pt x="26" y="61"/>
                </a:cubicBezTo>
                <a:close/>
                <a:moveTo>
                  <a:pt x="26" y="69"/>
                </a:moveTo>
                <a:cubicBezTo>
                  <a:pt x="29" y="71"/>
                  <a:pt x="31" y="80"/>
                  <a:pt x="31" y="80"/>
                </a:cubicBezTo>
                <a:cubicBezTo>
                  <a:pt x="31" y="80"/>
                  <a:pt x="31" y="69"/>
                  <a:pt x="29" y="67"/>
                </a:cubicBezTo>
                <a:cubicBezTo>
                  <a:pt x="27" y="65"/>
                  <a:pt x="15" y="65"/>
                  <a:pt x="15" y="65"/>
                </a:cubicBezTo>
                <a:cubicBezTo>
                  <a:pt x="15" y="65"/>
                  <a:pt x="24" y="67"/>
                  <a:pt x="26" y="69"/>
                </a:cubicBezTo>
                <a:close/>
                <a:moveTo>
                  <a:pt x="229" y="30"/>
                </a:moveTo>
                <a:cubicBezTo>
                  <a:pt x="229" y="30"/>
                  <a:pt x="229" y="19"/>
                  <a:pt x="231" y="17"/>
                </a:cubicBezTo>
                <a:cubicBezTo>
                  <a:pt x="233" y="15"/>
                  <a:pt x="244" y="15"/>
                  <a:pt x="244" y="15"/>
                </a:cubicBezTo>
                <a:cubicBezTo>
                  <a:pt x="244" y="15"/>
                  <a:pt x="235" y="17"/>
                  <a:pt x="233" y="19"/>
                </a:cubicBezTo>
                <a:cubicBezTo>
                  <a:pt x="231" y="21"/>
                  <a:pt x="229" y="30"/>
                  <a:pt x="229" y="30"/>
                </a:cubicBezTo>
                <a:close/>
                <a:moveTo>
                  <a:pt x="233" y="11"/>
                </a:moveTo>
                <a:cubicBezTo>
                  <a:pt x="231" y="9"/>
                  <a:pt x="229" y="0"/>
                  <a:pt x="229" y="0"/>
                </a:cubicBezTo>
                <a:cubicBezTo>
                  <a:pt x="229" y="0"/>
                  <a:pt x="229" y="11"/>
                  <a:pt x="231" y="13"/>
                </a:cubicBezTo>
                <a:cubicBezTo>
                  <a:pt x="233" y="15"/>
                  <a:pt x="244" y="15"/>
                  <a:pt x="244" y="15"/>
                </a:cubicBezTo>
                <a:cubicBezTo>
                  <a:pt x="244" y="15"/>
                  <a:pt x="235" y="13"/>
                  <a:pt x="233" y="11"/>
                </a:cubicBezTo>
                <a:close/>
                <a:moveTo>
                  <a:pt x="225" y="11"/>
                </a:moveTo>
                <a:cubicBezTo>
                  <a:pt x="223" y="13"/>
                  <a:pt x="214" y="15"/>
                  <a:pt x="214" y="15"/>
                </a:cubicBezTo>
                <a:cubicBezTo>
                  <a:pt x="214" y="15"/>
                  <a:pt x="225" y="15"/>
                  <a:pt x="227" y="13"/>
                </a:cubicBezTo>
                <a:cubicBezTo>
                  <a:pt x="229" y="11"/>
                  <a:pt x="229" y="0"/>
                  <a:pt x="229" y="0"/>
                </a:cubicBezTo>
                <a:cubicBezTo>
                  <a:pt x="229" y="0"/>
                  <a:pt x="227" y="9"/>
                  <a:pt x="225" y="11"/>
                </a:cubicBezTo>
                <a:close/>
                <a:moveTo>
                  <a:pt x="225" y="19"/>
                </a:moveTo>
                <a:cubicBezTo>
                  <a:pt x="227" y="21"/>
                  <a:pt x="229" y="30"/>
                  <a:pt x="229" y="30"/>
                </a:cubicBezTo>
                <a:cubicBezTo>
                  <a:pt x="229" y="30"/>
                  <a:pt x="229" y="19"/>
                  <a:pt x="227" y="17"/>
                </a:cubicBezTo>
                <a:cubicBezTo>
                  <a:pt x="225" y="15"/>
                  <a:pt x="214" y="15"/>
                  <a:pt x="214" y="15"/>
                </a:cubicBezTo>
                <a:cubicBezTo>
                  <a:pt x="214" y="15"/>
                  <a:pt x="223" y="17"/>
                  <a:pt x="225" y="19"/>
                </a:cubicBezTo>
                <a:close/>
                <a:moveTo>
                  <a:pt x="244" y="152"/>
                </a:moveTo>
                <a:cubicBezTo>
                  <a:pt x="244" y="152"/>
                  <a:pt x="244" y="140"/>
                  <a:pt x="246" y="138"/>
                </a:cubicBezTo>
                <a:cubicBezTo>
                  <a:pt x="248" y="136"/>
                  <a:pt x="259" y="136"/>
                  <a:pt x="259" y="136"/>
                </a:cubicBezTo>
                <a:cubicBezTo>
                  <a:pt x="259" y="136"/>
                  <a:pt x="250" y="138"/>
                  <a:pt x="248" y="141"/>
                </a:cubicBezTo>
                <a:cubicBezTo>
                  <a:pt x="246" y="143"/>
                  <a:pt x="244" y="152"/>
                  <a:pt x="244" y="152"/>
                </a:cubicBezTo>
                <a:close/>
                <a:moveTo>
                  <a:pt x="248" y="132"/>
                </a:moveTo>
                <a:cubicBezTo>
                  <a:pt x="246" y="130"/>
                  <a:pt x="244" y="121"/>
                  <a:pt x="244" y="121"/>
                </a:cubicBezTo>
                <a:cubicBezTo>
                  <a:pt x="244" y="121"/>
                  <a:pt x="244" y="133"/>
                  <a:pt x="246" y="135"/>
                </a:cubicBezTo>
                <a:cubicBezTo>
                  <a:pt x="248" y="137"/>
                  <a:pt x="259" y="136"/>
                  <a:pt x="259" y="136"/>
                </a:cubicBezTo>
                <a:cubicBezTo>
                  <a:pt x="259" y="136"/>
                  <a:pt x="250" y="134"/>
                  <a:pt x="248" y="132"/>
                </a:cubicBezTo>
                <a:close/>
                <a:moveTo>
                  <a:pt x="240" y="132"/>
                </a:moveTo>
                <a:cubicBezTo>
                  <a:pt x="238" y="134"/>
                  <a:pt x="229" y="136"/>
                  <a:pt x="229" y="136"/>
                </a:cubicBezTo>
                <a:cubicBezTo>
                  <a:pt x="229" y="136"/>
                  <a:pt x="240" y="137"/>
                  <a:pt x="242" y="135"/>
                </a:cubicBezTo>
                <a:cubicBezTo>
                  <a:pt x="244" y="133"/>
                  <a:pt x="244" y="121"/>
                  <a:pt x="244" y="121"/>
                </a:cubicBezTo>
                <a:cubicBezTo>
                  <a:pt x="244" y="121"/>
                  <a:pt x="242" y="130"/>
                  <a:pt x="240" y="132"/>
                </a:cubicBezTo>
                <a:close/>
                <a:moveTo>
                  <a:pt x="240" y="141"/>
                </a:moveTo>
                <a:cubicBezTo>
                  <a:pt x="242" y="143"/>
                  <a:pt x="244" y="152"/>
                  <a:pt x="244" y="152"/>
                </a:cubicBezTo>
                <a:cubicBezTo>
                  <a:pt x="244" y="152"/>
                  <a:pt x="244" y="140"/>
                  <a:pt x="242" y="138"/>
                </a:cubicBezTo>
                <a:cubicBezTo>
                  <a:pt x="240" y="136"/>
                  <a:pt x="229" y="136"/>
                  <a:pt x="229" y="136"/>
                </a:cubicBezTo>
                <a:cubicBezTo>
                  <a:pt x="229" y="136"/>
                  <a:pt x="238" y="138"/>
                  <a:pt x="240" y="141"/>
                </a:cubicBezTo>
                <a:close/>
                <a:moveTo>
                  <a:pt x="15" y="173"/>
                </a:moveTo>
                <a:cubicBezTo>
                  <a:pt x="15" y="173"/>
                  <a:pt x="15" y="162"/>
                  <a:pt x="17" y="160"/>
                </a:cubicBezTo>
                <a:cubicBezTo>
                  <a:pt x="19" y="158"/>
                  <a:pt x="31" y="158"/>
                  <a:pt x="31" y="158"/>
                </a:cubicBezTo>
                <a:cubicBezTo>
                  <a:pt x="31" y="158"/>
                  <a:pt x="22" y="160"/>
                  <a:pt x="20" y="162"/>
                </a:cubicBezTo>
                <a:cubicBezTo>
                  <a:pt x="17" y="164"/>
                  <a:pt x="15" y="173"/>
                  <a:pt x="15" y="173"/>
                </a:cubicBezTo>
                <a:close/>
                <a:moveTo>
                  <a:pt x="20" y="154"/>
                </a:moveTo>
                <a:cubicBezTo>
                  <a:pt x="17" y="152"/>
                  <a:pt x="15" y="143"/>
                  <a:pt x="15" y="143"/>
                </a:cubicBezTo>
                <a:cubicBezTo>
                  <a:pt x="15" y="143"/>
                  <a:pt x="15" y="154"/>
                  <a:pt x="17" y="156"/>
                </a:cubicBezTo>
                <a:cubicBezTo>
                  <a:pt x="19" y="158"/>
                  <a:pt x="31" y="158"/>
                  <a:pt x="31" y="158"/>
                </a:cubicBezTo>
                <a:cubicBezTo>
                  <a:pt x="31" y="158"/>
                  <a:pt x="22" y="156"/>
                  <a:pt x="20" y="154"/>
                </a:cubicBezTo>
                <a:close/>
                <a:moveTo>
                  <a:pt x="11" y="154"/>
                </a:moveTo>
                <a:cubicBezTo>
                  <a:pt x="9" y="156"/>
                  <a:pt x="0" y="158"/>
                  <a:pt x="0" y="158"/>
                </a:cubicBezTo>
                <a:cubicBezTo>
                  <a:pt x="0" y="158"/>
                  <a:pt x="11" y="158"/>
                  <a:pt x="14" y="156"/>
                </a:cubicBezTo>
                <a:cubicBezTo>
                  <a:pt x="16" y="154"/>
                  <a:pt x="15" y="143"/>
                  <a:pt x="15" y="143"/>
                </a:cubicBezTo>
                <a:cubicBezTo>
                  <a:pt x="15" y="143"/>
                  <a:pt x="13" y="152"/>
                  <a:pt x="11" y="154"/>
                </a:cubicBezTo>
                <a:close/>
                <a:moveTo>
                  <a:pt x="11" y="162"/>
                </a:moveTo>
                <a:cubicBezTo>
                  <a:pt x="13" y="164"/>
                  <a:pt x="15" y="173"/>
                  <a:pt x="15" y="173"/>
                </a:cubicBezTo>
                <a:cubicBezTo>
                  <a:pt x="15" y="173"/>
                  <a:pt x="16" y="162"/>
                  <a:pt x="14" y="160"/>
                </a:cubicBezTo>
                <a:cubicBezTo>
                  <a:pt x="11" y="158"/>
                  <a:pt x="0" y="158"/>
                  <a:pt x="0" y="158"/>
                </a:cubicBezTo>
                <a:cubicBezTo>
                  <a:pt x="0" y="158"/>
                  <a:pt x="9" y="160"/>
                  <a:pt x="11" y="162"/>
                </a:cubicBezTo>
                <a:close/>
                <a:moveTo>
                  <a:pt x="214" y="133"/>
                </a:moveTo>
                <a:cubicBezTo>
                  <a:pt x="214" y="133"/>
                  <a:pt x="213" y="99"/>
                  <a:pt x="219" y="93"/>
                </a:cubicBezTo>
                <a:cubicBezTo>
                  <a:pt x="226" y="87"/>
                  <a:pt x="259" y="88"/>
                  <a:pt x="259" y="88"/>
                </a:cubicBezTo>
                <a:cubicBezTo>
                  <a:pt x="259" y="88"/>
                  <a:pt x="232" y="94"/>
                  <a:pt x="226" y="100"/>
                </a:cubicBezTo>
                <a:cubicBezTo>
                  <a:pt x="220" y="106"/>
                  <a:pt x="214" y="133"/>
                  <a:pt x="214" y="133"/>
                </a:cubicBezTo>
                <a:close/>
                <a:moveTo>
                  <a:pt x="226" y="75"/>
                </a:moveTo>
                <a:cubicBezTo>
                  <a:pt x="220" y="69"/>
                  <a:pt x="214" y="42"/>
                  <a:pt x="214" y="42"/>
                </a:cubicBezTo>
                <a:cubicBezTo>
                  <a:pt x="214" y="42"/>
                  <a:pt x="213" y="76"/>
                  <a:pt x="219" y="82"/>
                </a:cubicBezTo>
                <a:cubicBezTo>
                  <a:pt x="226" y="88"/>
                  <a:pt x="259" y="88"/>
                  <a:pt x="259" y="88"/>
                </a:cubicBezTo>
                <a:cubicBezTo>
                  <a:pt x="259" y="88"/>
                  <a:pt x="232" y="81"/>
                  <a:pt x="226" y="75"/>
                </a:cubicBezTo>
                <a:close/>
                <a:moveTo>
                  <a:pt x="201" y="75"/>
                </a:moveTo>
                <a:cubicBezTo>
                  <a:pt x="195" y="81"/>
                  <a:pt x="168" y="88"/>
                  <a:pt x="168" y="88"/>
                </a:cubicBezTo>
                <a:cubicBezTo>
                  <a:pt x="168" y="88"/>
                  <a:pt x="202" y="88"/>
                  <a:pt x="208" y="82"/>
                </a:cubicBezTo>
                <a:cubicBezTo>
                  <a:pt x="215" y="76"/>
                  <a:pt x="214" y="42"/>
                  <a:pt x="214" y="42"/>
                </a:cubicBezTo>
                <a:cubicBezTo>
                  <a:pt x="214" y="42"/>
                  <a:pt x="208" y="69"/>
                  <a:pt x="201" y="75"/>
                </a:cubicBezTo>
                <a:close/>
                <a:moveTo>
                  <a:pt x="201" y="100"/>
                </a:moveTo>
                <a:cubicBezTo>
                  <a:pt x="208" y="106"/>
                  <a:pt x="214" y="133"/>
                  <a:pt x="214" y="133"/>
                </a:cubicBezTo>
                <a:cubicBezTo>
                  <a:pt x="214" y="133"/>
                  <a:pt x="215" y="99"/>
                  <a:pt x="208" y="93"/>
                </a:cubicBezTo>
                <a:cubicBezTo>
                  <a:pt x="202" y="87"/>
                  <a:pt x="168" y="88"/>
                  <a:pt x="168" y="88"/>
                </a:cubicBezTo>
                <a:cubicBezTo>
                  <a:pt x="168" y="88"/>
                  <a:pt x="195" y="94"/>
                  <a:pt x="201" y="100"/>
                </a:cubicBezTo>
                <a:close/>
                <a:moveTo>
                  <a:pt x="250" y="231"/>
                </a:moveTo>
                <a:cubicBezTo>
                  <a:pt x="212" y="178"/>
                  <a:pt x="212" y="178"/>
                  <a:pt x="212" y="178"/>
                </a:cubicBezTo>
                <a:cubicBezTo>
                  <a:pt x="189" y="178"/>
                  <a:pt x="189" y="178"/>
                  <a:pt x="189" y="178"/>
                </a:cubicBezTo>
                <a:cubicBezTo>
                  <a:pt x="193" y="160"/>
                  <a:pt x="207" y="146"/>
                  <a:pt x="223" y="146"/>
                </a:cubicBezTo>
                <a:cubicBezTo>
                  <a:pt x="224" y="146"/>
                  <a:pt x="226" y="144"/>
                  <a:pt x="226" y="143"/>
                </a:cubicBezTo>
                <a:cubicBezTo>
                  <a:pt x="226" y="141"/>
                  <a:pt x="224" y="140"/>
                  <a:pt x="223" y="140"/>
                </a:cubicBezTo>
                <a:cubicBezTo>
                  <a:pt x="203" y="140"/>
                  <a:pt x="187" y="156"/>
                  <a:pt x="183" y="178"/>
                </a:cubicBezTo>
                <a:cubicBezTo>
                  <a:pt x="156" y="178"/>
                  <a:pt x="156" y="178"/>
                  <a:pt x="156" y="178"/>
                </a:cubicBezTo>
                <a:cubicBezTo>
                  <a:pt x="158" y="140"/>
                  <a:pt x="173" y="110"/>
                  <a:pt x="190" y="110"/>
                </a:cubicBezTo>
                <a:cubicBezTo>
                  <a:pt x="191" y="110"/>
                  <a:pt x="193" y="109"/>
                  <a:pt x="193" y="107"/>
                </a:cubicBezTo>
                <a:cubicBezTo>
                  <a:pt x="193" y="105"/>
                  <a:pt x="191" y="104"/>
                  <a:pt x="190" y="104"/>
                </a:cubicBezTo>
                <a:cubicBezTo>
                  <a:pt x="169" y="104"/>
                  <a:pt x="152" y="136"/>
                  <a:pt x="150" y="178"/>
                </a:cubicBezTo>
                <a:cubicBezTo>
                  <a:pt x="139" y="178"/>
                  <a:pt x="139" y="178"/>
                  <a:pt x="139" y="178"/>
                </a:cubicBezTo>
                <a:cubicBezTo>
                  <a:pt x="141" y="92"/>
                  <a:pt x="170" y="23"/>
                  <a:pt x="206" y="23"/>
                </a:cubicBezTo>
                <a:cubicBezTo>
                  <a:pt x="208" y="23"/>
                  <a:pt x="210" y="21"/>
                  <a:pt x="210" y="20"/>
                </a:cubicBezTo>
                <a:cubicBezTo>
                  <a:pt x="210" y="18"/>
                  <a:pt x="208" y="17"/>
                  <a:pt x="206" y="17"/>
                </a:cubicBezTo>
                <a:cubicBezTo>
                  <a:pt x="166" y="17"/>
                  <a:pt x="135" y="87"/>
                  <a:pt x="133" y="178"/>
                </a:cubicBezTo>
                <a:cubicBezTo>
                  <a:pt x="129" y="178"/>
                  <a:pt x="129" y="178"/>
                  <a:pt x="129" y="178"/>
                </a:cubicBezTo>
                <a:cubicBezTo>
                  <a:pt x="129" y="66"/>
                  <a:pt x="127" y="66"/>
                  <a:pt x="124" y="66"/>
                </a:cubicBezTo>
                <a:cubicBezTo>
                  <a:pt x="122" y="66"/>
                  <a:pt x="120" y="68"/>
                  <a:pt x="120" y="69"/>
                </a:cubicBezTo>
                <a:cubicBezTo>
                  <a:pt x="120" y="70"/>
                  <a:pt x="121" y="70"/>
                  <a:pt x="121" y="71"/>
                </a:cubicBezTo>
                <a:cubicBezTo>
                  <a:pt x="122" y="76"/>
                  <a:pt x="123" y="118"/>
                  <a:pt x="123" y="178"/>
                </a:cubicBezTo>
                <a:cubicBezTo>
                  <a:pt x="120" y="178"/>
                  <a:pt x="120" y="178"/>
                  <a:pt x="120" y="178"/>
                </a:cubicBezTo>
                <a:cubicBezTo>
                  <a:pt x="118" y="114"/>
                  <a:pt x="89" y="62"/>
                  <a:pt x="54" y="62"/>
                </a:cubicBezTo>
                <a:cubicBezTo>
                  <a:pt x="52" y="62"/>
                  <a:pt x="51" y="63"/>
                  <a:pt x="51" y="65"/>
                </a:cubicBezTo>
                <a:cubicBezTo>
                  <a:pt x="51" y="67"/>
                  <a:pt x="52" y="68"/>
                  <a:pt x="54" y="68"/>
                </a:cubicBezTo>
                <a:cubicBezTo>
                  <a:pt x="86" y="68"/>
                  <a:pt x="112" y="117"/>
                  <a:pt x="113" y="178"/>
                </a:cubicBezTo>
                <a:cubicBezTo>
                  <a:pt x="103" y="178"/>
                  <a:pt x="103" y="178"/>
                  <a:pt x="103" y="178"/>
                </a:cubicBezTo>
                <a:cubicBezTo>
                  <a:pt x="103" y="161"/>
                  <a:pt x="98" y="144"/>
                  <a:pt x="89" y="144"/>
                </a:cubicBezTo>
                <a:cubicBezTo>
                  <a:pt x="87" y="144"/>
                  <a:pt x="86" y="145"/>
                  <a:pt x="86" y="147"/>
                </a:cubicBezTo>
                <a:cubicBezTo>
                  <a:pt x="86" y="149"/>
                  <a:pt x="87" y="150"/>
                  <a:pt x="89" y="150"/>
                </a:cubicBezTo>
                <a:cubicBezTo>
                  <a:pt x="91" y="150"/>
                  <a:pt x="97" y="161"/>
                  <a:pt x="97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79" y="164"/>
                  <a:pt x="59" y="154"/>
                  <a:pt x="36" y="154"/>
                </a:cubicBezTo>
                <a:cubicBezTo>
                  <a:pt x="34" y="154"/>
                  <a:pt x="33" y="156"/>
                  <a:pt x="33" y="157"/>
                </a:cubicBezTo>
                <a:cubicBezTo>
                  <a:pt x="33" y="159"/>
                  <a:pt x="34" y="160"/>
                  <a:pt x="36" y="160"/>
                </a:cubicBezTo>
                <a:cubicBezTo>
                  <a:pt x="55" y="160"/>
                  <a:pt x="72" y="168"/>
                  <a:pt x="79" y="178"/>
                </a:cubicBezTo>
                <a:cubicBezTo>
                  <a:pt x="60" y="178"/>
                  <a:pt x="60" y="178"/>
                  <a:pt x="60" y="178"/>
                </a:cubicBezTo>
                <a:cubicBezTo>
                  <a:pt x="22" y="231"/>
                  <a:pt x="22" y="231"/>
                  <a:pt x="22" y="231"/>
                </a:cubicBezTo>
                <a:cubicBezTo>
                  <a:pt x="21" y="233"/>
                  <a:pt x="21" y="235"/>
                  <a:pt x="22" y="236"/>
                </a:cubicBezTo>
                <a:cubicBezTo>
                  <a:pt x="27" y="238"/>
                  <a:pt x="27" y="238"/>
                  <a:pt x="27" y="238"/>
                </a:cubicBezTo>
                <a:cubicBezTo>
                  <a:pt x="28" y="239"/>
                  <a:pt x="30" y="239"/>
                  <a:pt x="31" y="238"/>
                </a:cubicBezTo>
                <a:cubicBezTo>
                  <a:pt x="60" y="195"/>
                  <a:pt x="60" y="195"/>
                  <a:pt x="60" y="195"/>
                </a:cubicBezTo>
                <a:cubicBezTo>
                  <a:pt x="60" y="294"/>
                  <a:pt x="60" y="294"/>
                  <a:pt x="60" y="294"/>
                </a:cubicBezTo>
                <a:cubicBezTo>
                  <a:pt x="60" y="297"/>
                  <a:pt x="63" y="300"/>
                  <a:pt x="66" y="300"/>
                </a:cubicBezTo>
                <a:cubicBezTo>
                  <a:pt x="206" y="300"/>
                  <a:pt x="206" y="300"/>
                  <a:pt x="206" y="300"/>
                </a:cubicBezTo>
                <a:cubicBezTo>
                  <a:pt x="209" y="300"/>
                  <a:pt x="212" y="297"/>
                  <a:pt x="212" y="294"/>
                </a:cubicBezTo>
                <a:cubicBezTo>
                  <a:pt x="212" y="195"/>
                  <a:pt x="212" y="195"/>
                  <a:pt x="212" y="195"/>
                </a:cubicBezTo>
                <a:cubicBezTo>
                  <a:pt x="242" y="238"/>
                  <a:pt x="242" y="238"/>
                  <a:pt x="242" y="238"/>
                </a:cubicBezTo>
                <a:cubicBezTo>
                  <a:pt x="243" y="239"/>
                  <a:pt x="244" y="239"/>
                  <a:pt x="246" y="238"/>
                </a:cubicBezTo>
                <a:cubicBezTo>
                  <a:pt x="250" y="236"/>
                  <a:pt x="250" y="236"/>
                  <a:pt x="250" y="236"/>
                </a:cubicBezTo>
                <a:cubicBezTo>
                  <a:pt x="251" y="235"/>
                  <a:pt x="251" y="233"/>
                  <a:pt x="250" y="231"/>
                </a:cubicBezTo>
                <a:close/>
                <a:moveTo>
                  <a:pt x="159" y="226"/>
                </a:moveTo>
                <a:cubicBezTo>
                  <a:pt x="113" y="226"/>
                  <a:pt x="113" y="226"/>
                  <a:pt x="113" y="226"/>
                </a:cubicBezTo>
                <a:cubicBezTo>
                  <a:pt x="110" y="226"/>
                  <a:pt x="107" y="223"/>
                  <a:pt x="107" y="220"/>
                </a:cubicBezTo>
                <a:cubicBezTo>
                  <a:pt x="107" y="216"/>
                  <a:pt x="110" y="214"/>
                  <a:pt x="113" y="214"/>
                </a:cubicBezTo>
                <a:cubicBezTo>
                  <a:pt x="159" y="214"/>
                  <a:pt x="159" y="214"/>
                  <a:pt x="159" y="214"/>
                </a:cubicBezTo>
                <a:cubicBezTo>
                  <a:pt x="162" y="214"/>
                  <a:pt x="165" y="216"/>
                  <a:pt x="165" y="220"/>
                </a:cubicBezTo>
                <a:cubicBezTo>
                  <a:pt x="165" y="223"/>
                  <a:pt x="162" y="226"/>
                  <a:pt x="159" y="226"/>
                </a:cubicBezTo>
                <a:close/>
              </a:path>
            </a:pathLst>
          </a:custGeom>
          <a:solidFill>
            <a:srgbClr val="007ABD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914340"/>
            <a:endParaRPr lang="en-US" sz="1600" dirty="0">
              <a:solidFill>
                <a:srgbClr val="737373"/>
              </a:solidFill>
              <a:latin typeface="Calibri" panose="020F0502020204030204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497002" y="2141005"/>
            <a:ext cx="792000" cy="792000"/>
            <a:chOff x="9717812" y="1655550"/>
            <a:chExt cx="792000" cy="792000"/>
          </a:xfrm>
        </p:grpSpPr>
        <p:grpSp>
          <p:nvGrpSpPr>
            <p:cNvPr id="92" name="Group 91"/>
            <p:cNvGrpSpPr/>
            <p:nvPr/>
          </p:nvGrpSpPr>
          <p:grpSpPr bwMode="black">
            <a:xfrm>
              <a:off x="9923704" y="1673550"/>
              <a:ext cx="380217" cy="756000"/>
              <a:chOff x="2593975" y="2552700"/>
              <a:chExt cx="469901" cy="949325"/>
            </a:xfrm>
          </p:grpSpPr>
          <p:sp>
            <p:nvSpPr>
              <p:cNvPr id="94" name="Freeform 17"/>
              <p:cNvSpPr>
                <a:spLocks noEditPoints="1"/>
              </p:cNvSpPr>
              <p:nvPr/>
            </p:nvSpPr>
            <p:spPr bwMode="black">
              <a:xfrm>
                <a:off x="2593975" y="2835275"/>
                <a:ext cx="338138" cy="666750"/>
              </a:xfrm>
              <a:custGeom>
                <a:avLst/>
                <a:gdLst>
                  <a:gd name="T0" fmla="*/ 580 w 1160"/>
                  <a:gd name="T1" fmla="*/ 540 h 2287"/>
                  <a:gd name="T2" fmla="*/ 731 w 1160"/>
                  <a:gd name="T3" fmla="*/ 389 h 2287"/>
                  <a:gd name="T4" fmla="*/ 580 w 1160"/>
                  <a:gd name="T5" fmla="*/ 237 h 2287"/>
                  <a:gd name="T6" fmla="*/ 428 w 1160"/>
                  <a:gd name="T7" fmla="*/ 389 h 2287"/>
                  <a:gd name="T8" fmla="*/ 580 w 1160"/>
                  <a:gd name="T9" fmla="*/ 540 h 2287"/>
                  <a:gd name="T10" fmla="*/ 1109 w 1160"/>
                  <a:gd name="T11" fmla="*/ 22 h 2287"/>
                  <a:gd name="T12" fmla="*/ 1000 w 1160"/>
                  <a:gd name="T13" fmla="*/ 51 h 2287"/>
                  <a:gd name="T14" fmla="*/ 691 w 1160"/>
                  <a:gd name="T15" fmla="*/ 587 h 2287"/>
                  <a:gd name="T16" fmla="*/ 469 w 1160"/>
                  <a:gd name="T17" fmla="*/ 587 h 2287"/>
                  <a:gd name="T18" fmla="*/ 159 w 1160"/>
                  <a:gd name="T19" fmla="*/ 51 h 2287"/>
                  <a:gd name="T20" fmla="*/ 51 w 1160"/>
                  <a:gd name="T21" fmla="*/ 22 h 2287"/>
                  <a:gd name="T22" fmla="*/ 22 w 1160"/>
                  <a:gd name="T23" fmla="*/ 131 h 2287"/>
                  <a:gd name="T24" fmla="*/ 377 w 1160"/>
                  <a:gd name="T25" fmla="*/ 745 h 2287"/>
                  <a:gd name="T26" fmla="*/ 377 w 1160"/>
                  <a:gd name="T27" fmla="*/ 2194 h 2287"/>
                  <a:gd name="T28" fmla="*/ 470 w 1160"/>
                  <a:gd name="T29" fmla="*/ 2287 h 2287"/>
                  <a:gd name="T30" fmla="*/ 562 w 1160"/>
                  <a:gd name="T31" fmla="*/ 2194 h 2287"/>
                  <a:gd name="T32" fmla="*/ 562 w 1160"/>
                  <a:gd name="T33" fmla="*/ 1423 h 2287"/>
                  <a:gd name="T34" fmla="*/ 598 w 1160"/>
                  <a:gd name="T35" fmla="*/ 1423 h 2287"/>
                  <a:gd name="T36" fmla="*/ 598 w 1160"/>
                  <a:gd name="T37" fmla="*/ 2194 h 2287"/>
                  <a:gd name="T38" fmla="*/ 690 w 1160"/>
                  <a:gd name="T39" fmla="*/ 2287 h 2287"/>
                  <a:gd name="T40" fmla="*/ 783 w 1160"/>
                  <a:gd name="T41" fmla="*/ 2194 h 2287"/>
                  <a:gd name="T42" fmla="*/ 783 w 1160"/>
                  <a:gd name="T43" fmla="*/ 745 h 2287"/>
                  <a:gd name="T44" fmla="*/ 1138 w 1160"/>
                  <a:gd name="T45" fmla="*/ 131 h 2287"/>
                  <a:gd name="T46" fmla="*/ 1109 w 1160"/>
                  <a:gd name="T47" fmla="*/ 22 h 2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60" h="2287">
                    <a:moveTo>
                      <a:pt x="580" y="540"/>
                    </a:moveTo>
                    <a:cubicBezTo>
                      <a:pt x="664" y="540"/>
                      <a:pt x="731" y="473"/>
                      <a:pt x="731" y="389"/>
                    </a:cubicBezTo>
                    <a:cubicBezTo>
                      <a:pt x="731" y="305"/>
                      <a:pt x="664" y="237"/>
                      <a:pt x="580" y="237"/>
                    </a:cubicBezTo>
                    <a:cubicBezTo>
                      <a:pt x="496" y="237"/>
                      <a:pt x="428" y="305"/>
                      <a:pt x="428" y="389"/>
                    </a:cubicBezTo>
                    <a:cubicBezTo>
                      <a:pt x="428" y="473"/>
                      <a:pt x="496" y="540"/>
                      <a:pt x="580" y="540"/>
                    </a:cubicBezTo>
                    <a:close/>
                    <a:moveTo>
                      <a:pt x="1109" y="22"/>
                    </a:moveTo>
                    <a:cubicBezTo>
                      <a:pt x="1071" y="0"/>
                      <a:pt x="1022" y="13"/>
                      <a:pt x="1000" y="51"/>
                    </a:cubicBezTo>
                    <a:cubicBezTo>
                      <a:pt x="691" y="587"/>
                      <a:pt x="691" y="587"/>
                      <a:pt x="691" y="587"/>
                    </a:cubicBezTo>
                    <a:cubicBezTo>
                      <a:pt x="469" y="587"/>
                      <a:pt x="469" y="587"/>
                      <a:pt x="469" y="587"/>
                    </a:cubicBezTo>
                    <a:cubicBezTo>
                      <a:pt x="159" y="51"/>
                      <a:pt x="159" y="51"/>
                      <a:pt x="159" y="51"/>
                    </a:cubicBezTo>
                    <a:cubicBezTo>
                      <a:pt x="137" y="13"/>
                      <a:pt x="89" y="0"/>
                      <a:pt x="51" y="22"/>
                    </a:cubicBezTo>
                    <a:cubicBezTo>
                      <a:pt x="13" y="44"/>
                      <a:pt x="0" y="93"/>
                      <a:pt x="22" y="131"/>
                    </a:cubicBezTo>
                    <a:cubicBezTo>
                      <a:pt x="377" y="745"/>
                      <a:pt x="377" y="745"/>
                      <a:pt x="377" y="745"/>
                    </a:cubicBezTo>
                    <a:cubicBezTo>
                      <a:pt x="377" y="2194"/>
                      <a:pt x="377" y="2194"/>
                      <a:pt x="377" y="2194"/>
                    </a:cubicBezTo>
                    <a:cubicBezTo>
                      <a:pt x="377" y="2246"/>
                      <a:pt x="418" y="2287"/>
                      <a:pt x="470" y="2287"/>
                    </a:cubicBezTo>
                    <a:cubicBezTo>
                      <a:pt x="521" y="2287"/>
                      <a:pt x="562" y="2246"/>
                      <a:pt x="562" y="2194"/>
                    </a:cubicBezTo>
                    <a:cubicBezTo>
                      <a:pt x="562" y="1423"/>
                      <a:pt x="562" y="1423"/>
                      <a:pt x="562" y="1423"/>
                    </a:cubicBezTo>
                    <a:cubicBezTo>
                      <a:pt x="598" y="1423"/>
                      <a:pt x="598" y="1423"/>
                      <a:pt x="598" y="1423"/>
                    </a:cubicBezTo>
                    <a:cubicBezTo>
                      <a:pt x="598" y="2194"/>
                      <a:pt x="598" y="2194"/>
                      <a:pt x="598" y="2194"/>
                    </a:cubicBezTo>
                    <a:cubicBezTo>
                      <a:pt x="598" y="2246"/>
                      <a:pt x="639" y="2287"/>
                      <a:pt x="690" y="2287"/>
                    </a:cubicBezTo>
                    <a:cubicBezTo>
                      <a:pt x="742" y="2287"/>
                      <a:pt x="783" y="2246"/>
                      <a:pt x="783" y="2194"/>
                    </a:cubicBezTo>
                    <a:cubicBezTo>
                      <a:pt x="783" y="745"/>
                      <a:pt x="783" y="745"/>
                      <a:pt x="783" y="745"/>
                    </a:cubicBezTo>
                    <a:cubicBezTo>
                      <a:pt x="1138" y="131"/>
                      <a:pt x="1138" y="131"/>
                      <a:pt x="1138" y="131"/>
                    </a:cubicBezTo>
                    <a:cubicBezTo>
                      <a:pt x="1160" y="93"/>
                      <a:pt x="1147" y="44"/>
                      <a:pt x="1109" y="22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55"/>
                <a:endParaRPr lang="en-US" sz="12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95" name="Freeform 18"/>
              <p:cNvSpPr>
                <a:spLocks noEditPoints="1"/>
              </p:cNvSpPr>
              <p:nvPr/>
            </p:nvSpPr>
            <p:spPr bwMode="black">
              <a:xfrm>
                <a:off x="2649538" y="2552700"/>
                <a:ext cx="414338" cy="325438"/>
              </a:xfrm>
              <a:custGeom>
                <a:avLst/>
                <a:gdLst>
                  <a:gd name="T0" fmla="*/ 1304 w 1423"/>
                  <a:gd name="T1" fmla="*/ 301 h 1114"/>
                  <a:gd name="T2" fmla="*/ 1302 w 1423"/>
                  <a:gd name="T3" fmla="*/ 297 h 1114"/>
                  <a:gd name="T4" fmla="*/ 719 w 1423"/>
                  <a:gd name="T5" fmla="*/ 113 h 1114"/>
                  <a:gd name="T6" fmla="*/ 496 w 1423"/>
                  <a:gd name="T7" fmla="*/ 416 h 1114"/>
                  <a:gd name="T8" fmla="*/ 441 w 1423"/>
                  <a:gd name="T9" fmla="*/ 482 h 1114"/>
                  <a:gd name="T10" fmla="*/ 375 w 1423"/>
                  <a:gd name="T11" fmla="*/ 536 h 1114"/>
                  <a:gd name="T12" fmla="*/ 290 w 1423"/>
                  <a:gd name="T13" fmla="*/ 648 h 1114"/>
                  <a:gd name="T14" fmla="*/ 470 w 1423"/>
                  <a:gd name="T15" fmla="*/ 973 h 1114"/>
                  <a:gd name="T16" fmla="*/ 610 w 1423"/>
                  <a:gd name="T17" fmla="*/ 960 h 1114"/>
                  <a:gd name="T18" fmla="*/ 775 w 1423"/>
                  <a:gd name="T19" fmla="*/ 921 h 1114"/>
                  <a:gd name="T20" fmla="*/ 932 w 1423"/>
                  <a:gd name="T21" fmla="*/ 927 h 1114"/>
                  <a:gd name="T22" fmla="*/ 1151 w 1423"/>
                  <a:gd name="T23" fmla="*/ 893 h 1114"/>
                  <a:gd name="T24" fmla="*/ 1304 w 1423"/>
                  <a:gd name="T25" fmla="*/ 301 h 1114"/>
                  <a:gd name="T26" fmla="*/ 1024 w 1423"/>
                  <a:gd name="T27" fmla="*/ 311 h 1114"/>
                  <a:gd name="T28" fmla="*/ 1024 w 1423"/>
                  <a:gd name="T29" fmla="*/ 311 h 1114"/>
                  <a:gd name="T30" fmla="*/ 873 w 1423"/>
                  <a:gd name="T31" fmla="*/ 299 h 1114"/>
                  <a:gd name="T32" fmla="*/ 873 w 1423"/>
                  <a:gd name="T33" fmla="*/ 299 h 1114"/>
                  <a:gd name="T34" fmla="*/ 799 w 1423"/>
                  <a:gd name="T35" fmla="*/ 278 h 1114"/>
                  <a:gd name="T36" fmla="*/ 821 w 1423"/>
                  <a:gd name="T37" fmla="*/ 203 h 1114"/>
                  <a:gd name="T38" fmla="*/ 828 w 1423"/>
                  <a:gd name="T39" fmla="*/ 200 h 1114"/>
                  <a:gd name="T40" fmla="*/ 1101 w 1423"/>
                  <a:gd name="T41" fmla="*/ 234 h 1114"/>
                  <a:gd name="T42" fmla="*/ 1108 w 1423"/>
                  <a:gd name="T43" fmla="*/ 244 h 1114"/>
                  <a:gd name="T44" fmla="*/ 1087 w 1423"/>
                  <a:gd name="T45" fmla="*/ 318 h 1114"/>
                  <a:gd name="T46" fmla="*/ 1024 w 1423"/>
                  <a:gd name="T47" fmla="*/ 311 h 1114"/>
                  <a:gd name="T48" fmla="*/ 14 w 1423"/>
                  <a:gd name="T49" fmla="*/ 967 h 1114"/>
                  <a:gd name="T50" fmla="*/ 53 w 1423"/>
                  <a:gd name="T51" fmla="*/ 1037 h 1114"/>
                  <a:gd name="T52" fmla="*/ 115 w 1423"/>
                  <a:gd name="T53" fmla="*/ 1064 h 1114"/>
                  <a:gd name="T54" fmla="*/ 24 w 1423"/>
                  <a:gd name="T55" fmla="*/ 900 h 1114"/>
                  <a:gd name="T56" fmla="*/ 14 w 1423"/>
                  <a:gd name="T57" fmla="*/ 967 h 1114"/>
                  <a:gd name="T58" fmla="*/ 400 w 1423"/>
                  <a:gd name="T59" fmla="*/ 959 h 1114"/>
                  <a:gd name="T60" fmla="*/ 265 w 1423"/>
                  <a:gd name="T61" fmla="*/ 714 h 1114"/>
                  <a:gd name="T62" fmla="*/ 190 w 1423"/>
                  <a:gd name="T63" fmla="*/ 686 h 1114"/>
                  <a:gd name="T64" fmla="*/ 175 w 1423"/>
                  <a:gd name="T65" fmla="*/ 764 h 1114"/>
                  <a:gd name="T66" fmla="*/ 310 w 1423"/>
                  <a:gd name="T67" fmla="*/ 1008 h 1114"/>
                  <a:gd name="T68" fmla="*/ 385 w 1423"/>
                  <a:gd name="T69" fmla="*/ 1037 h 1114"/>
                  <a:gd name="T70" fmla="*/ 400 w 1423"/>
                  <a:gd name="T71" fmla="*/ 959 h 1114"/>
                  <a:gd name="T72" fmla="*/ 266 w 1423"/>
                  <a:gd name="T73" fmla="*/ 1026 h 1114"/>
                  <a:gd name="T74" fmla="*/ 136 w 1423"/>
                  <a:gd name="T75" fmla="*/ 792 h 1114"/>
                  <a:gd name="T76" fmla="*/ 65 w 1423"/>
                  <a:gd name="T77" fmla="*/ 764 h 1114"/>
                  <a:gd name="T78" fmla="*/ 50 w 1423"/>
                  <a:gd name="T79" fmla="*/ 840 h 1114"/>
                  <a:gd name="T80" fmla="*/ 180 w 1423"/>
                  <a:gd name="T81" fmla="*/ 1074 h 1114"/>
                  <a:gd name="T82" fmla="*/ 251 w 1423"/>
                  <a:gd name="T83" fmla="*/ 1101 h 1114"/>
                  <a:gd name="T84" fmla="*/ 266 w 1423"/>
                  <a:gd name="T85" fmla="*/ 1026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23" h="1114">
                    <a:moveTo>
                      <a:pt x="1304" y="301"/>
                    </a:moveTo>
                    <a:cubicBezTo>
                      <a:pt x="1303" y="298"/>
                      <a:pt x="1304" y="300"/>
                      <a:pt x="1302" y="297"/>
                    </a:cubicBezTo>
                    <a:cubicBezTo>
                      <a:pt x="1184" y="83"/>
                      <a:pt x="922" y="0"/>
                      <a:pt x="719" y="113"/>
                    </a:cubicBezTo>
                    <a:cubicBezTo>
                      <a:pt x="602" y="177"/>
                      <a:pt x="570" y="311"/>
                      <a:pt x="496" y="416"/>
                    </a:cubicBezTo>
                    <a:cubicBezTo>
                      <a:pt x="476" y="444"/>
                      <a:pt x="458" y="465"/>
                      <a:pt x="441" y="482"/>
                    </a:cubicBezTo>
                    <a:cubicBezTo>
                      <a:pt x="418" y="504"/>
                      <a:pt x="397" y="520"/>
                      <a:pt x="375" y="536"/>
                    </a:cubicBezTo>
                    <a:cubicBezTo>
                      <a:pt x="334" y="566"/>
                      <a:pt x="296" y="593"/>
                      <a:pt x="290" y="648"/>
                    </a:cubicBezTo>
                    <a:cubicBezTo>
                      <a:pt x="470" y="973"/>
                      <a:pt x="470" y="973"/>
                      <a:pt x="470" y="973"/>
                    </a:cubicBezTo>
                    <a:cubicBezTo>
                      <a:pt x="519" y="997"/>
                      <a:pt x="563" y="978"/>
                      <a:pt x="610" y="960"/>
                    </a:cubicBezTo>
                    <a:cubicBezTo>
                      <a:pt x="654" y="943"/>
                      <a:pt x="697" y="925"/>
                      <a:pt x="775" y="921"/>
                    </a:cubicBezTo>
                    <a:cubicBezTo>
                      <a:pt x="827" y="918"/>
                      <a:pt x="880" y="924"/>
                      <a:pt x="932" y="927"/>
                    </a:cubicBezTo>
                    <a:cubicBezTo>
                      <a:pt x="1008" y="932"/>
                      <a:pt x="1082" y="931"/>
                      <a:pt x="1151" y="893"/>
                    </a:cubicBezTo>
                    <a:cubicBezTo>
                      <a:pt x="1354" y="780"/>
                      <a:pt x="1423" y="515"/>
                      <a:pt x="1304" y="301"/>
                    </a:cubicBezTo>
                    <a:close/>
                    <a:moveTo>
                      <a:pt x="1024" y="311"/>
                    </a:moveTo>
                    <a:cubicBezTo>
                      <a:pt x="1024" y="311"/>
                      <a:pt x="1024" y="311"/>
                      <a:pt x="1024" y="311"/>
                    </a:cubicBezTo>
                    <a:cubicBezTo>
                      <a:pt x="983" y="270"/>
                      <a:pt x="917" y="279"/>
                      <a:pt x="873" y="299"/>
                    </a:cubicBezTo>
                    <a:cubicBezTo>
                      <a:pt x="873" y="299"/>
                      <a:pt x="873" y="299"/>
                      <a:pt x="873" y="299"/>
                    </a:cubicBezTo>
                    <a:cubicBezTo>
                      <a:pt x="847" y="313"/>
                      <a:pt x="814" y="304"/>
                      <a:pt x="799" y="278"/>
                    </a:cubicBezTo>
                    <a:cubicBezTo>
                      <a:pt x="785" y="251"/>
                      <a:pt x="794" y="218"/>
                      <a:pt x="821" y="203"/>
                    </a:cubicBezTo>
                    <a:cubicBezTo>
                      <a:pt x="823" y="202"/>
                      <a:pt x="828" y="200"/>
                      <a:pt x="828" y="200"/>
                    </a:cubicBezTo>
                    <a:cubicBezTo>
                      <a:pt x="927" y="155"/>
                      <a:pt x="1035" y="168"/>
                      <a:pt x="1101" y="234"/>
                    </a:cubicBezTo>
                    <a:cubicBezTo>
                      <a:pt x="1101" y="234"/>
                      <a:pt x="1106" y="240"/>
                      <a:pt x="1108" y="244"/>
                    </a:cubicBezTo>
                    <a:cubicBezTo>
                      <a:pt x="1122" y="270"/>
                      <a:pt x="1113" y="303"/>
                      <a:pt x="1087" y="318"/>
                    </a:cubicBezTo>
                    <a:cubicBezTo>
                      <a:pt x="1066" y="329"/>
                      <a:pt x="1041" y="326"/>
                      <a:pt x="1024" y="311"/>
                    </a:cubicBezTo>
                    <a:close/>
                    <a:moveTo>
                      <a:pt x="14" y="967"/>
                    </a:moveTo>
                    <a:cubicBezTo>
                      <a:pt x="53" y="1037"/>
                      <a:pt x="53" y="1037"/>
                      <a:pt x="53" y="1037"/>
                    </a:cubicBezTo>
                    <a:cubicBezTo>
                      <a:pt x="67" y="1062"/>
                      <a:pt x="94" y="1074"/>
                      <a:pt x="115" y="1064"/>
                    </a:cubicBezTo>
                    <a:cubicBezTo>
                      <a:pt x="24" y="900"/>
                      <a:pt x="24" y="900"/>
                      <a:pt x="24" y="900"/>
                    </a:cubicBezTo>
                    <a:cubicBezTo>
                      <a:pt x="5" y="912"/>
                      <a:pt x="0" y="941"/>
                      <a:pt x="14" y="967"/>
                    </a:cubicBezTo>
                    <a:close/>
                    <a:moveTo>
                      <a:pt x="400" y="959"/>
                    </a:moveTo>
                    <a:cubicBezTo>
                      <a:pt x="265" y="714"/>
                      <a:pt x="265" y="714"/>
                      <a:pt x="265" y="714"/>
                    </a:cubicBezTo>
                    <a:cubicBezTo>
                      <a:pt x="248" y="685"/>
                      <a:pt x="215" y="672"/>
                      <a:pt x="190" y="686"/>
                    </a:cubicBezTo>
                    <a:cubicBezTo>
                      <a:pt x="166" y="699"/>
                      <a:pt x="159" y="734"/>
                      <a:pt x="175" y="764"/>
                    </a:cubicBezTo>
                    <a:cubicBezTo>
                      <a:pt x="310" y="1008"/>
                      <a:pt x="310" y="1008"/>
                      <a:pt x="310" y="1008"/>
                    </a:cubicBezTo>
                    <a:cubicBezTo>
                      <a:pt x="327" y="1038"/>
                      <a:pt x="360" y="1051"/>
                      <a:pt x="385" y="1037"/>
                    </a:cubicBezTo>
                    <a:cubicBezTo>
                      <a:pt x="410" y="1023"/>
                      <a:pt x="416" y="988"/>
                      <a:pt x="400" y="959"/>
                    </a:cubicBezTo>
                    <a:close/>
                    <a:moveTo>
                      <a:pt x="266" y="1026"/>
                    </a:moveTo>
                    <a:cubicBezTo>
                      <a:pt x="136" y="792"/>
                      <a:pt x="136" y="792"/>
                      <a:pt x="136" y="792"/>
                    </a:cubicBezTo>
                    <a:cubicBezTo>
                      <a:pt x="121" y="764"/>
                      <a:pt x="89" y="751"/>
                      <a:pt x="65" y="764"/>
                    </a:cubicBezTo>
                    <a:cubicBezTo>
                      <a:pt x="41" y="778"/>
                      <a:pt x="35" y="811"/>
                      <a:pt x="50" y="840"/>
                    </a:cubicBezTo>
                    <a:cubicBezTo>
                      <a:pt x="180" y="1074"/>
                      <a:pt x="180" y="1074"/>
                      <a:pt x="180" y="1074"/>
                    </a:cubicBezTo>
                    <a:cubicBezTo>
                      <a:pt x="196" y="1102"/>
                      <a:pt x="228" y="1114"/>
                      <a:pt x="251" y="1101"/>
                    </a:cubicBezTo>
                    <a:cubicBezTo>
                      <a:pt x="275" y="1088"/>
                      <a:pt x="282" y="1055"/>
                      <a:pt x="266" y="1026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55"/>
                <a:endParaRPr lang="en-US" sz="12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>
              <a:off x="9717812" y="165555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7309224" y="634112"/>
            <a:ext cx="792000" cy="792000"/>
            <a:chOff x="9695194" y="407790"/>
            <a:chExt cx="792000" cy="792000"/>
          </a:xfrm>
        </p:grpSpPr>
        <p:sp>
          <p:nvSpPr>
            <p:cNvPr id="97" name="Rounded Rectangle 76"/>
            <p:cNvSpPr/>
            <p:nvPr>
              <p:custDataLst>
                <p:tags r:id="rId10"/>
              </p:custDataLst>
            </p:nvPr>
          </p:nvSpPr>
          <p:spPr>
            <a:xfrm>
              <a:off x="9717152" y="492095"/>
              <a:ext cx="748084" cy="623391"/>
            </a:xfrm>
            <a:custGeom>
              <a:avLst/>
              <a:gdLst/>
              <a:ahLst/>
              <a:cxnLst/>
              <a:rect l="l" t="t" r="r" b="b"/>
              <a:pathLst>
                <a:path w="1325599" h="1104646">
                  <a:moveTo>
                    <a:pt x="421385" y="846290"/>
                  </a:moveTo>
                  <a:cubicBezTo>
                    <a:pt x="420540" y="846674"/>
                    <a:pt x="420065" y="848283"/>
                    <a:pt x="420100" y="851558"/>
                  </a:cubicBezTo>
                  <a:cubicBezTo>
                    <a:pt x="419605" y="918438"/>
                    <a:pt x="419667" y="983089"/>
                    <a:pt x="419172" y="1049969"/>
                  </a:cubicBezTo>
                  <a:cubicBezTo>
                    <a:pt x="419729" y="1074863"/>
                    <a:pt x="420286" y="1074120"/>
                    <a:pt x="439793" y="1068361"/>
                  </a:cubicBezTo>
                  <a:lnTo>
                    <a:pt x="627986" y="1002781"/>
                  </a:lnTo>
                  <a:cubicBezTo>
                    <a:pt x="644862" y="996031"/>
                    <a:pt x="646132" y="991511"/>
                    <a:pt x="646845" y="982531"/>
                  </a:cubicBezTo>
                  <a:cubicBezTo>
                    <a:pt x="647061" y="954107"/>
                    <a:pt x="646720" y="925683"/>
                    <a:pt x="646936" y="897259"/>
                  </a:cubicBezTo>
                  <a:lnTo>
                    <a:pt x="505839" y="947140"/>
                  </a:lnTo>
                  <a:cubicBezTo>
                    <a:pt x="492215" y="952156"/>
                    <a:pt x="489458" y="948813"/>
                    <a:pt x="484194" y="941567"/>
                  </a:cubicBezTo>
                  <a:lnTo>
                    <a:pt x="441836" y="874408"/>
                  </a:lnTo>
                  <a:cubicBezTo>
                    <a:pt x="435648" y="865955"/>
                    <a:pt x="425044" y="844625"/>
                    <a:pt x="421385" y="846290"/>
                  </a:cubicBezTo>
                  <a:close/>
                  <a:moveTo>
                    <a:pt x="370709" y="827104"/>
                  </a:moveTo>
                  <a:cubicBezTo>
                    <a:pt x="368921" y="827081"/>
                    <a:pt x="366227" y="830193"/>
                    <a:pt x="362419" y="835395"/>
                  </a:cubicBezTo>
                  <a:lnTo>
                    <a:pt x="279933" y="913979"/>
                  </a:lnTo>
                  <a:cubicBezTo>
                    <a:pt x="274670" y="920048"/>
                    <a:pt x="268849" y="922772"/>
                    <a:pt x="256897" y="917137"/>
                  </a:cubicBezTo>
                  <a:lnTo>
                    <a:pt x="151375" y="864005"/>
                  </a:lnTo>
                  <a:lnTo>
                    <a:pt x="142992" y="861264"/>
                  </a:lnTo>
                  <a:cubicBezTo>
                    <a:pt x="141637" y="862209"/>
                    <a:pt x="141467" y="866358"/>
                    <a:pt x="141714" y="877752"/>
                  </a:cubicBezTo>
                  <a:lnTo>
                    <a:pt x="141714" y="956522"/>
                  </a:lnTo>
                  <a:lnTo>
                    <a:pt x="354988" y="1056099"/>
                  </a:lnTo>
                  <a:cubicBezTo>
                    <a:pt x="368921" y="1062416"/>
                    <a:pt x="375052" y="1065388"/>
                    <a:pt x="375052" y="1038265"/>
                  </a:cubicBezTo>
                  <a:cubicBezTo>
                    <a:pt x="374556" y="971384"/>
                    <a:pt x="374061" y="904504"/>
                    <a:pt x="373565" y="837624"/>
                  </a:cubicBezTo>
                  <a:close/>
                  <a:moveTo>
                    <a:pt x="648433" y="717961"/>
                  </a:moveTo>
                  <a:cubicBezTo>
                    <a:pt x="644766" y="718208"/>
                    <a:pt x="640334" y="720212"/>
                    <a:pt x="633865" y="722974"/>
                  </a:cubicBezTo>
                  <a:lnTo>
                    <a:pt x="448238" y="795925"/>
                  </a:lnTo>
                  <a:cubicBezTo>
                    <a:pt x="437550" y="800105"/>
                    <a:pt x="426490" y="802429"/>
                    <a:pt x="431778" y="811068"/>
                  </a:cubicBezTo>
                  <a:lnTo>
                    <a:pt x="488127" y="898533"/>
                  </a:lnTo>
                  <a:cubicBezTo>
                    <a:pt x="502308" y="921254"/>
                    <a:pt x="511102" y="922238"/>
                    <a:pt x="538288" y="913005"/>
                  </a:cubicBezTo>
                  <a:lnTo>
                    <a:pt x="699301" y="850526"/>
                  </a:lnTo>
                  <a:lnTo>
                    <a:pt x="723411" y="838484"/>
                  </a:lnTo>
                  <a:cubicBezTo>
                    <a:pt x="726989" y="834284"/>
                    <a:pt x="725807" y="828783"/>
                    <a:pt x="718958" y="818638"/>
                  </a:cubicBezTo>
                  <a:lnTo>
                    <a:pt x="666298" y="735991"/>
                  </a:lnTo>
                  <a:cubicBezTo>
                    <a:pt x="658535" y="722017"/>
                    <a:pt x="654545" y="717549"/>
                    <a:pt x="648433" y="717961"/>
                  </a:cubicBezTo>
                  <a:close/>
                  <a:moveTo>
                    <a:pt x="128971" y="689937"/>
                  </a:moveTo>
                  <a:cubicBezTo>
                    <a:pt x="124760" y="690395"/>
                    <a:pt x="121210" y="693988"/>
                    <a:pt x="114456" y="701343"/>
                  </a:cubicBezTo>
                  <a:lnTo>
                    <a:pt x="50451" y="762347"/>
                  </a:lnTo>
                  <a:lnTo>
                    <a:pt x="36247" y="776565"/>
                  </a:lnTo>
                  <a:cubicBezTo>
                    <a:pt x="34995" y="779563"/>
                    <a:pt x="37645" y="781655"/>
                    <a:pt x="45450" y="785349"/>
                  </a:cubicBezTo>
                  <a:lnTo>
                    <a:pt x="247073" y="888750"/>
                  </a:lnTo>
                  <a:cubicBezTo>
                    <a:pt x="267712" y="898957"/>
                    <a:pt x="269960" y="895788"/>
                    <a:pt x="284469" y="880357"/>
                  </a:cubicBezTo>
                  <a:lnTo>
                    <a:pt x="347489" y="814992"/>
                  </a:lnTo>
                  <a:cubicBezTo>
                    <a:pt x="357133" y="802593"/>
                    <a:pt x="352844" y="802176"/>
                    <a:pt x="340473" y="795350"/>
                  </a:cubicBezTo>
                  <a:lnTo>
                    <a:pt x="147458" y="697342"/>
                  </a:lnTo>
                  <a:cubicBezTo>
                    <a:pt x="138057" y="692157"/>
                    <a:pt x="133183" y="689480"/>
                    <a:pt x="128971" y="689937"/>
                  </a:cubicBezTo>
                  <a:close/>
                  <a:moveTo>
                    <a:pt x="494693" y="593511"/>
                  </a:moveTo>
                  <a:lnTo>
                    <a:pt x="670811" y="683800"/>
                  </a:lnTo>
                  <a:lnTo>
                    <a:pt x="759984" y="703864"/>
                  </a:lnTo>
                  <a:lnTo>
                    <a:pt x="580522" y="611346"/>
                  </a:lnTo>
                  <a:close/>
                  <a:moveTo>
                    <a:pt x="294479" y="441318"/>
                  </a:moveTo>
                  <a:cubicBezTo>
                    <a:pt x="291126" y="441448"/>
                    <a:pt x="286851" y="443217"/>
                    <a:pt x="280382" y="445979"/>
                  </a:cubicBezTo>
                  <a:lnTo>
                    <a:pt x="93082" y="514470"/>
                  </a:lnTo>
                  <a:cubicBezTo>
                    <a:pt x="82394" y="518651"/>
                    <a:pt x="71334" y="520974"/>
                    <a:pt x="76623" y="529614"/>
                  </a:cubicBezTo>
                  <a:lnTo>
                    <a:pt x="132971" y="617079"/>
                  </a:lnTo>
                  <a:cubicBezTo>
                    <a:pt x="147153" y="639800"/>
                    <a:pt x="154275" y="643571"/>
                    <a:pt x="181461" y="634337"/>
                  </a:cubicBezTo>
                  <a:lnTo>
                    <a:pt x="342473" y="581333"/>
                  </a:lnTo>
                  <a:cubicBezTo>
                    <a:pt x="357943" y="575906"/>
                    <a:pt x="381959" y="570850"/>
                    <a:pt x="365475" y="548331"/>
                  </a:cubicBezTo>
                  <a:lnTo>
                    <a:pt x="309471" y="457324"/>
                  </a:lnTo>
                  <a:cubicBezTo>
                    <a:pt x="303101" y="445439"/>
                    <a:pt x="300069" y="441102"/>
                    <a:pt x="294479" y="441318"/>
                  </a:cubicBezTo>
                  <a:close/>
                  <a:moveTo>
                    <a:pt x="317471" y="417946"/>
                  </a:moveTo>
                  <a:cubicBezTo>
                    <a:pt x="324805" y="419071"/>
                    <a:pt x="328638" y="424821"/>
                    <a:pt x="336472" y="436322"/>
                  </a:cubicBezTo>
                  <a:lnTo>
                    <a:pt x="391477" y="525329"/>
                  </a:lnTo>
                  <a:cubicBezTo>
                    <a:pt x="414812" y="570332"/>
                    <a:pt x="417145" y="560332"/>
                    <a:pt x="440480" y="567332"/>
                  </a:cubicBezTo>
                  <a:lnTo>
                    <a:pt x="553489" y="587334"/>
                  </a:lnTo>
                  <a:cubicBezTo>
                    <a:pt x="579491" y="589667"/>
                    <a:pt x="588492" y="596001"/>
                    <a:pt x="610493" y="606335"/>
                  </a:cubicBezTo>
                  <a:lnTo>
                    <a:pt x="853512" y="729345"/>
                  </a:lnTo>
                  <a:lnTo>
                    <a:pt x="843511" y="749347"/>
                  </a:lnTo>
                  <a:lnTo>
                    <a:pt x="701500" y="712344"/>
                  </a:lnTo>
                  <a:lnTo>
                    <a:pt x="687343" y="708687"/>
                  </a:lnTo>
                  <a:cubicBezTo>
                    <a:pt x="679936" y="709718"/>
                    <a:pt x="690249" y="722844"/>
                    <a:pt x="695500" y="730345"/>
                  </a:cubicBezTo>
                  <a:lnTo>
                    <a:pt x="757505" y="828353"/>
                  </a:lnTo>
                  <a:cubicBezTo>
                    <a:pt x="769823" y="849245"/>
                    <a:pt x="766287" y="848563"/>
                    <a:pt x="749504" y="856355"/>
                  </a:cubicBezTo>
                  <a:lnTo>
                    <a:pt x="675498" y="883357"/>
                  </a:lnTo>
                  <a:cubicBezTo>
                    <a:pt x="675832" y="924027"/>
                    <a:pt x="676165" y="964697"/>
                    <a:pt x="676498" y="1005366"/>
                  </a:cubicBezTo>
                  <a:lnTo>
                    <a:pt x="422479" y="1099374"/>
                  </a:lnTo>
                  <a:cubicBezTo>
                    <a:pt x="383143" y="1112041"/>
                    <a:pt x="369808" y="1098707"/>
                    <a:pt x="355474" y="1092373"/>
                  </a:cubicBezTo>
                  <a:lnTo>
                    <a:pt x="117456" y="973364"/>
                  </a:lnTo>
                  <a:cubicBezTo>
                    <a:pt x="117122" y="931361"/>
                    <a:pt x="116789" y="889357"/>
                    <a:pt x="116455" y="847354"/>
                  </a:cubicBezTo>
                  <a:lnTo>
                    <a:pt x="16448" y="800350"/>
                  </a:lnTo>
                  <a:cubicBezTo>
                    <a:pt x="-16221" y="785016"/>
                    <a:pt x="8114" y="774682"/>
                    <a:pt x="18448" y="764348"/>
                  </a:cubicBezTo>
                  <a:lnTo>
                    <a:pt x="102454" y="682341"/>
                  </a:lnTo>
                  <a:cubicBezTo>
                    <a:pt x="128456" y="660673"/>
                    <a:pt x="119456" y="660006"/>
                    <a:pt x="111455" y="644338"/>
                  </a:cubicBezTo>
                  <a:lnTo>
                    <a:pt x="50450" y="545331"/>
                  </a:lnTo>
                  <a:cubicBezTo>
                    <a:pt x="30116" y="517662"/>
                    <a:pt x="38783" y="512995"/>
                    <a:pt x="58451" y="504327"/>
                  </a:cubicBezTo>
                  <a:lnTo>
                    <a:pt x="277468" y="427321"/>
                  </a:lnTo>
                  <a:cubicBezTo>
                    <a:pt x="299303" y="420321"/>
                    <a:pt x="310137" y="416821"/>
                    <a:pt x="317471" y="417946"/>
                  </a:cubicBezTo>
                  <a:close/>
                  <a:moveTo>
                    <a:pt x="1007731" y="203502"/>
                  </a:moveTo>
                  <a:lnTo>
                    <a:pt x="1212318" y="203502"/>
                  </a:lnTo>
                  <a:cubicBezTo>
                    <a:pt x="1260227" y="203502"/>
                    <a:pt x="1302248" y="231653"/>
                    <a:pt x="1318584" y="273768"/>
                  </a:cubicBezTo>
                  <a:cubicBezTo>
                    <a:pt x="1321724" y="279238"/>
                    <a:pt x="1322250" y="284603"/>
                    <a:pt x="1323512" y="289497"/>
                  </a:cubicBezTo>
                  <a:lnTo>
                    <a:pt x="1325599" y="310200"/>
                  </a:lnTo>
                  <a:lnTo>
                    <a:pt x="1325599" y="316783"/>
                  </a:lnTo>
                  <a:lnTo>
                    <a:pt x="1325599" y="347871"/>
                  </a:lnTo>
                  <a:lnTo>
                    <a:pt x="1325599" y="603855"/>
                  </a:lnTo>
                  <a:cubicBezTo>
                    <a:pt x="1325599" y="626323"/>
                    <a:pt x="1307385" y="644537"/>
                    <a:pt x="1284917" y="644537"/>
                  </a:cubicBezTo>
                  <a:cubicBezTo>
                    <a:pt x="1262449" y="644537"/>
                    <a:pt x="1244236" y="626323"/>
                    <a:pt x="1244236" y="603855"/>
                  </a:cubicBezTo>
                  <a:lnTo>
                    <a:pt x="1244236" y="456030"/>
                  </a:lnTo>
                  <a:lnTo>
                    <a:pt x="1243805" y="456138"/>
                  </a:lnTo>
                  <a:lnTo>
                    <a:pt x="1243805" y="346762"/>
                  </a:lnTo>
                  <a:cubicBezTo>
                    <a:pt x="1243805" y="345811"/>
                    <a:pt x="1243034" y="345040"/>
                    <a:pt x="1242083" y="345040"/>
                  </a:cubicBezTo>
                  <a:lnTo>
                    <a:pt x="1224868" y="345040"/>
                  </a:lnTo>
                  <a:cubicBezTo>
                    <a:pt x="1223917" y="345040"/>
                    <a:pt x="1223146" y="345811"/>
                    <a:pt x="1223146" y="346762"/>
                  </a:cubicBezTo>
                  <a:cubicBezTo>
                    <a:pt x="1223259" y="380594"/>
                    <a:pt x="1223371" y="414426"/>
                    <a:pt x="1223483" y="448258"/>
                  </a:cubicBezTo>
                  <a:lnTo>
                    <a:pt x="1223483" y="1053794"/>
                  </a:lnTo>
                  <a:cubicBezTo>
                    <a:pt x="1223483" y="1081879"/>
                    <a:pt x="1200716" y="1104646"/>
                    <a:pt x="1172631" y="1104646"/>
                  </a:cubicBezTo>
                  <a:cubicBezTo>
                    <a:pt x="1144546" y="1104646"/>
                    <a:pt x="1121779" y="1081879"/>
                    <a:pt x="1121779" y="1053794"/>
                  </a:cubicBezTo>
                  <a:lnTo>
                    <a:pt x="1121779" y="671151"/>
                  </a:lnTo>
                  <a:cubicBezTo>
                    <a:pt x="1121667" y="661414"/>
                    <a:pt x="1121555" y="651676"/>
                    <a:pt x="1121442" y="641939"/>
                  </a:cubicBezTo>
                  <a:cubicBezTo>
                    <a:pt x="1121442" y="641104"/>
                    <a:pt x="1120766" y="640428"/>
                    <a:pt x="1119932" y="640428"/>
                  </a:cubicBezTo>
                  <a:lnTo>
                    <a:pt x="1101177" y="640428"/>
                  </a:lnTo>
                  <a:cubicBezTo>
                    <a:pt x="1100342" y="640428"/>
                    <a:pt x="1099666" y="641104"/>
                    <a:pt x="1099666" y="641939"/>
                  </a:cubicBezTo>
                  <a:lnTo>
                    <a:pt x="1099666" y="671151"/>
                  </a:lnTo>
                  <a:cubicBezTo>
                    <a:pt x="1099624" y="798699"/>
                    <a:pt x="1099582" y="926246"/>
                    <a:pt x="1099540" y="1053794"/>
                  </a:cubicBezTo>
                  <a:cubicBezTo>
                    <a:pt x="1099540" y="1081879"/>
                    <a:pt x="1076772" y="1104646"/>
                    <a:pt x="1048688" y="1104646"/>
                  </a:cubicBezTo>
                  <a:cubicBezTo>
                    <a:pt x="1020603" y="1104646"/>
                    <a:pt x="997836" y="1081879"/>
                    <a:pt x="997836" y="1053794"/>
                  </a:cubicBezTo>
                  <a:lnTo>
                    <a:pt x="997836" y="460401"/>
                  </a:lnTo>
                  <a:cubicBezTo>
                    <a:pt x="997307" y="422513"/>
                    <a:pt x="996778" y="384624"/>
                    <a:pt x="996249" y="346735"/>
                  </a:cubicBezTo>
                  <a:cubicBezTo>
                    <a:pt x="996249" y="345799"/>
                    <a:pt x="995490" y="345040"/>
                    <a:pt x="994554" y="345040"/>
                  </a:cubicBezTo>
                  <a:lnTo>
                    <a:pt x="977604" y="345040"/>
                  </a:lnTo>
                  <a:cubicBezTo>
                    <a:pt x="976668" y="345040"/>
                    <a:pt x="975909" y="345799"/>
                    <a:pt x="975909" y="346735"/>
                  </a:cubicBezTo>
                  <a:lnTo>
                    <a:pt x="975909" y="456054"/>
                  </a:lnTo>
                  <a:cubicBezTo>
                    <a:pt x="975875" y="456052"/>
                    <a:pt x="975844" y="456041"/>
                    <a:pt x="975813" y="456030"/>
                  </a:cubicBezTo>
                  <a:lnTo>
                    <a:pt x="975813" y="603855"/>
                  </a:lnTo>
                  <a:cubicBezTo>
                    <a:pt x="975813" y="626323"/>
                    <a:pt x="957599" y="644537"/>
                    <a:pt x="935132" y="644537"/>
                  </a:cubicBezTo>
                  <a:cubicBezTo>
                    <a:pt x="912664" y="644537"/>
                    <a:pt x="894450" y="626323"/>
                    <a:pt x="894450" y="603855"/>
                  </a:cubicBezTo>
                  <a:lnTo>
                    <a:pt x="894450" y="347871"/>
                  </a:lnTo>
                  <a:lnTo>
                    <a:pt x="894450" y="316783"/>
                  </a:lnTo>
                  <a:lnTo>
                    <a:pt x="894450" y="310200"/>
                  </a:lnTo>
                  <a:cubicBezTo>
                    <a:pt x="894450" y="300576"/>
                    <a:pt x="895702" y="291246"/>
                    <a:pt x="898470" y="282472"/>
                  </a:cubicBezTo>
                  <a:cubicBezTo>
                    <a:pt x="899226" y="279770"/>
                    <a:pt x="899140" y="276395"/>
                    <a:pt x="900935" y="274297"/>
                  </a:cubicBezTo>
                  <a:cubicBezTo>
                    <a:pt x="917271" y="232183"/>
                    <a:pt x="959823" y="203502"/>
                    <a:pt x="1007731" y="203502"/>
                  </a:cubicBezTo>
                  <a:close/>
                  <a:moveTo>
                    <a:pt x="1110025" y="0"/>
                  </a:moveTo>
                  <a:cubicBezTo>
                    <a:pt x="1159570" y="0"/>
                    <a:pt x="1199735" y="40165"/>
                    <a:pt x="1199735" y="89711"/>
                  </a:cubicBezTo>
                  <a:cubicBezTo>
                    <a:pt x="1199735" y="139257"/>
                    <a:pt x="1159570" y="179421"/>
                    <a:pt x="1110025" y="179421"/>
                  </a:cubicBezTo>
                  <a:cubicBezTo>
                    <a:pt x="1060479" y="179421"/>
                    <a:pt x="1020314" y="139257"/>
                    <a:pt x="1020314" y="89711"/>
                  </a:cubicBezTo>
                  <a:cubicBezTo>
                    <a:pt x="1020314" y="40165"/>
                    <a:pt x="1060479" y="0"/>
                    <a:pt x="1110025" y="0"/>
                  </a:cubicBezTo>
                  <a:close/>
                </a:path>
              </a:pathLst>
            </a:custGeom>
            <a:solidFill>
              <a:srgbClr val="007ABD"/>
            </a:solidFill>
            <a:ln w="25400" cap="flat" cmpd="sng" algn="ctr">
              <a:noFill/>
              <a:prstDash val="solid"/>
            </a:ln>
            <a:effectLst/>
          </p:spPr>
          <p:txBody>
            <a:bodyPr lIns="68552" rIns="68552" rtlCol="0" anchor="b"/>
            <a:lstStyle/>
            <a:p>
              <a:pPr defTabSz="685652">
                <a:defRPr/>
              </a:pPr>
              <a:endParaRPr lang="en-US" sz="1600" kern="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9695194" y="4077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7276756" y="1301944"/>
            <a:ext cx="792000" cy="792000"/>
            <a:chOff x="9928115" y="295690"/>
            <a:chExt cx="792000" cy="792000"/>
          </a:xfrm>
        </p:grpSpPr>
        <p:sp>
          <p:nvSpPr>
            <p:cNvPr id="100" name="Freeform 83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black">
            <a:xfrm>
              <a:off x="10000404" y="349972"/>
              <a:ext cx="647423" cy="683437"/>
            </a:xfrm>
            <a:custGeom>
              <a:avLst/>
              <a:gdLst>
                <a:gd name="T0" fmla="*/ 502 w 2107"/>
                <a:gd name="T1" fmla="*/ 1162 h 2221"/>
                <a:gd name="T2" fmla="*/ 239 w 2107"/>
                <a:gd name="T3" fmla="*/ 2072 h 2221"/>
                <a:gd name="T4" fmla="*/ 1587 w 2107"/>
                <a:gd name="T5" fmla="*/ 1800 h 2221"/>
                <a:gd name="T6" fmla="*/ 1487 w 2107"/>
                <a:gd name="T7" fmla="*/ 1835 h 2221"/>
                <a:gd name="T8" fmla="*/ 1579 w 2107"/>
                <a:gd name="T9" fmla="*/ 1870 h 2221"/>
                <a:gd name="T10" fmla="*/ 1470 w 2107"/>
                <a:gd name="T11" fmla="*/ 1847 h 2221"/>
                <a:gd name="T12" fmla="*/ 983 w 2107"/>
                <a:gd name="T13" fmla="*/ 1837 h 2221"/>
                <a:gd name="T14" fmla="*/ 1062 w 2107"/>
                <a:gd name="T15" fmla="*/ 1872 h 2221"/>
                <a:gd name="T16" fmla="*/ 956 w 2107"/>
                <a:gd name="T17" fmla="*/ 1951 h 2221"/>
                <a:gd name="T18" fmla="*/ 1046 w 2107"/>
                <a:gd name="T19" fmla="*/ 1970 h 2221"/>
                <a:gd name="T20" fmla="*/ 820 w 2107"/>
                <a:gd name="T21" fmla="*/ 1872 h 2221"/>
                <a:gd name="T22" fmla="*/ 899 w 2107"/>
                <a:gd name="T23" fmla="*/ 1836 h 2221"/>
                <a:gd name="T24" fmla="*/ 841 w 2107"/>
                <a:gd name="T25" fmla="*/ 1886 h 2221"/>
                <a:gd name="T26" fmla="*/ 905 w 2107"/>
                <a:gd name="T27" fmla="*/ 1920 h 2221"/>
                <a:gd name="T28" fmla="*/ 882 w 2107"/>
                <a:gd name="T29" fmla="*/ 1971 h 2221"/>
                <a:gd name="T30" fmla="*/ 687 w 2107"/>
                <a:gd name="T31" fmla="*/ 1847 h 2221"/>
                <a:gd name="T32" fmla="*/ 780 w 2107"/>
                <a:gd name="T33" fmla="*/ 1844 h 2221"/>
                <a:gd name="T34" fmla="*/ 760 w 2107"/>
                <a:gd name="T35" fmla="*/ 1882 h 2221"/>
                <a:gd name="T36" fmla="*/ 703 w 2107"/>
                <a:gd name="T37" fmla="*/ 1912 h 2221"/>
                <a:gd name="T38" fmla="*/ 682 w 2107"/>
                <a:gd name="T39" fmla="*/ 1972 h 2221"/>
                <a:gd name="T40" fmla="*/ 647 w 2107"/>
                <a:gd name="T41" fmla="*/ 1928 h 2221"/>
                <a:gd name="T42" fmla="*/ 631 w 2107"/>
                <a:gd name="T43" fmla="*/ 1862 h 2221"/>
                <a:gd name="T44" fmla="*/ 545 w 2107"/>
                <a:gd name="T45" fmla="*/ 2017 h 2221"/>
                <a:gd name="T46" fmla="*/ 416 w 2107"/>
                <a:gd name="T47" fmla="*/ 2078 h 2221"/>
                <a:gd name="T48" fmla="*/ 435 w 2107"/>
                <a:gd name="T49" fmla="*/ 2014 h 2221"/>
                <a:gd name="T50" fmla="*/ 538 w 2107"/>
                <a:gd name="T51" fmla="*/ 2006 h 2221"/>
                <a:gd name="T52" fmla="*/ 520 w 2107"/>
                <a:gd name="T53" fmla="*/ 1973 h 2221"/>
                <a:gd name="T54" fmla="*/ 490 w 2107"/>
                <a:gd name="T55" fmla="*/ 1930 h 2221"/>
                <a:gd name="T56" fmla="*/ 587 w 2107"/>
                <a:gd name="T57" fmla="*/ 1913 h 2221"/>
                <a:gd name="T58" fmla="*/ 1055 w 2107"/>
                <a:gd name="T59" fmla="*/ 2071 h 2221"/>
                <a:gd name="T60" fmla="*/ 605 w 2107"/>
                <a:gd name="T61" fmla="*/ 2078 h 2221"/>
                <a:gd name="T62" fmla="*/ 613 w 2107"/>
                <a:gd name="T63" fmla="*/ 2010 h 2221"/>
                <a:gd name="T64" fmla="*/ 1046 w 2107"/>
                <a:gd name="T65" fmla="*/ 2003 h 2221"/>
                <a:gd name="T66" fmla="*/ 1113 w 2107"/>
                <a:gd name="T67" fmla="*/ 1877 h 2221"/>
                <a:gd name="T68" fmla="*/ 1176 w 2107"/>
                <a:gd name="T69" fmla="*/ 1835 h 2221"/>
                <a:gd name="T70" fmla="*/ 1137 w 2107"/>
                <a:gd name="T71" fmla="*/ 1885 h 2221"/>
                <a:gd name="T72" fmla="*/ 1115 w 2107"/>
                <a:gd name="T73" fmla="*/ 1926 h 2221"/>
                <a:gd name="T74" fmla="*/ 1215 w 2107"/>
                <a:gd name="T75" fmla="*/ 1968 h 2221"/>
                <a:gd name="T76" fmla="*/ 1135 w 2107"/>
                <a:gd name="T77" fmla="*/ 1970 h 2221"/>
                <a:gd name="T78" fmla="*/ 1146 w 2107"/>
                <a:gd name="T79" fmla="*/ 2075 h 2221"/>
                <a:gd name="T80" fmla="*/ 1122 w 2107"/>
                <a:gd name="T81" fmla="*/ 2019 h 2221"/>
                <a:gd name="T82" fmla="*/ 1139 w 2107"/>
                <a:gd name="T83" fmla="*/ 2003 h 2221"/>
                <a:gd name="T84" fmla="*/ 1217 w 2107"/>
                <a:gd name="T85" fmla="*/ 2003 h 2221"/>
                <a:gd name="T86" fmla="*/ 1337 w 2107"/>
                <a:gd name="T87" fmla="*/ 1868 h 2221"/>
                <a:gd name="T88" fmla="*/ 1411 w 2107"/>
                <a:gd name="T89" fmla="*/ 1838 h 2221"/>
                <a:gd name="T90" fmla="*/ 1425 w 2107"/>
                <a:gd name="T91" fmla="*/ 1883 h 2221"/>
                <a:gd name="T92" fmla="*/ 1359 w 2107"/>
                <a:gd name="T93" fmla="*/ 1927 h 2221"/>
                <a:gd name="T94" fmla="*/ 1476 w 2107"/>
                <a:gd name="T95" fmla="*/ 1956 h 2221"/>
                <a:gd name="T96" fmla="*/ 1461 w 2107"/>
                <a:gd name="T97" fmla="*/ 1970 h 2221"/>
                <a:gd name="T98" fmla="*/ 1511 w 2107"/>
                <a:gd name="T99" fmla="*/ 2075 h 2221"/>
                <a:gd name="T100" fmla="*/ 1393 w 2107"/>
                <a:gd name="T101" fmla="*/ 2019 h 2221"/>
                <a:gd name="T102" fmla="*/ 1475 w 2107"/>
                <a:gd name="T103" fmla="*/ 2001 h 2221"/>
                <a:gd name="T104" fmla="*/ 1681 w 2107"/>
                <a:gd name="T105" fmla="*/ 2018 h 2221"/>
                <a:gd name="T106" fmla="*/ 1623 w 2107"/>
                <a:gd name="T107" fmla="*/ 2075 h 2221"/>
                <a:gd name="T108" fmla="*/ 1639 w 2107"/>
                <a:gd name="T109" fmla="*/ 2000 h 2221"/>
                <a:gd name="T110" fmla="*/ 1630 w 2107"/>
                <a:gd name="T111" fmla="*/ 1969 h 2221"/>
                <a:gd name="T112" fmla="*/ 1532 w 2107"/>
                <a:gd name="T113" fmla="*/ 1910 h 2221"/>
                <a:gd name="T114" fmla="*/ 933 w 2107"/>
                <a:gd name="T115" fmla="*/ 1308 h 2221"/>
                <a:gd name="T116" fmla="*/ 9 w 2107"/>
                <a:gd name="T117" fmla="*/ 909 h 2221"/>
                <a:gd name="T118" fmla="*/ 413 w 2107"/>
                <a:gd name="T119" fmla="*/ 386 h 2221"/>
                <a:gd name="T120" fmla="*/ 1700 w 2107"/>
                <a:gd name="T121" fmla="*/ 556 h 2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07" h="2221">
                  <a:moveTo>
                    <a:pt x="2107" y="809"/>
                  </a:moveTo>
                  <a:cubicBezTo>
                    <a:pt x="2106" y="786"/>
                    <a:pt x="2103" y="764"/>
                    <a:pt x="2098" y="742"/>
                  </a:cubicBezTo>
                  <a:cubicBezTo>
                    <a:pt x="2098" y="745"/>
                    <a:pt x="2098" y="747"/>
                    <a:pt x="2098" y="749"/>
                  </a:cubicBezTo>
                  <a:cubicBezTo>
                    <a:pt x="2096" y="810"/>
                    <a:pt x="2076" y="869"/>
                    <a:pt x="2040" y="926"/>
                  </a:cubicBezTo>
                  <a:cubicBezTo>
                    <a:pt x="2018" y="961"/>
                    <a:pt x="1988" y="995"/>
                    <a:pt x="1953" y="1027"/>
                  </a:cubicBezTo>
                  <a:cubicBezTo>
                    <a:pt x="1918" y="1064"/>
                    <a:pt x="1873" y="1098"/>
                    <a:pt x="1819" y="1131"/>
                  </a:cubicBezTo>
                  <a:cubicBezTo>
                    <a:pt x="1777" y="1156"/>
                    <a:pt x="1731" y="1178"/>
                    <a:pt x="1682" y="1198"/>
                  </a:cubicBezTo>
                  <a:cubicBezTo>
                    <a:pt x="1682" y="1061"/>
                    <a:pt x="1682" y="1061"/>
                    <a:pt x="1682" y="1061"/>
                  </a:cubicBezTo>
                  <a:cubicBezTo>
                    <a:pt x="1682" y="1059"/>
                    <a:pt x="1682" y="1058"/>
                    <a:pt x="1682" y="1056"/>
                  </a:cubicBezTo>
                  <a:cubicBezTo>
                    <a:pt x="1680" y="988"/>
                    <a:pt x="1624" y="933"/>
                    <a:pt x="1554" y="933"/>
                  </a:cubicBezTo>
                  <a:cubicBezTo>
                    <a:pt x="555" y="933"/>
                    <a:pt x="555" y="933"/>
                    <a:pt x="555" y="933"/>
                  </a:cubicBezTo>
                  <a:cubicBezTo>
                    <a:pt x="484" y="933"/>
                    <a:pt x="426" y="990"/>
                    <a:pt x="426" y="1061"/>
                  </a:cubicBezTo>
                  <a:cubicBezTo>
                    <a:pt x="426" y="1141"/>
                    <a:pt x="426" y="1141"/>
                    <a:pt x="426" y="1141"/>
                  </a:cubicBezTo>
                  <a:cubicBezTo>
                    <a:pt x="430" y="1142"/>
                    <a:pt x="430" y="1142"/>
                    <a:pt x="430" y="1142"/>
                  </a:cubicBezTo>
                  <a:cubicBezTo>
                    <a:pt x="430" y="1143"/>
                    <a:pt x="459" y="1152"/>
                    <a:pt x="502" y="1162"/>
                  </a:cubicBezTo>
                  <a:cubicBezTo>
                    <a:pt x="502" y="1069"/>
                    <a:pt x="502" y="1069"/>
                    <a:pt x="502" y="1069"/>
                  </a:cubicBezTo>
                  <a:cubicBezTo>
                    <a:pt x="502" y="1032"/>
                    <a:pt x="531" y="1003"/>
                    <a:pt x="568" y="1003"/>
                  </a:cubicBezTo>
                  <a:cubicBezTo>
                    <a:pt x="1541" y="1003"/>
                    <a:pt x="1541" y="1003"/>
                    <a:pt x="1541" y="1003"/>
                  </a:cubicBezTo>
                  <a:cubicBezTo>
                    <a:pt x="1577" y="1003"/>
                    <a:pt x="1607" y="1032"/>
                    <a:pt x="1607" y="1069"/>
                  </a:cubicBezTo>
                  <a:cubicBezTo>
                    <a:pt x="1607" y="1668"/>
                    <a:pt x="1607" y="1668"/>
                    <a:pt x="1607" y="1668"/>
                  </a:cubicBezTo>
                  <a:cubicBezTo>
                    <a:pt x="1607" y="1704"/>
                    <a:pt x="1577" y="1734"/>
                    <a:pt x="1541" y="1734"/>
                  </a:cubicBezTo>
                  <a:cubicBezTo>
                    <a:pt x="568" y="1734"/>
                    <a:pt x="568" y="1734"/>
                    <a:pt x="568" y="1734"/>
                  </a:cubicBezTo>
                  <a:cubicBezTo>
                    <a:pt x="531" y="1734"/>
                    <a:pt x="502" y="1704"/>
                    <a:pt x="502" y="1668"/>
                  </a:cubicBezTo>
                  <a:cubicBezTo>
                    <a:pt x="502" y="1541"/>
                    <a:pt x="502" y="1541"/>
                    <a:pt x="502" y="1541"/>
                  </a:cubicBezTo>
                  <a:cubicBezTo>
                    <a:pt x="476" y="1535"/>
                    <a:pt x="451" y="1528"/>
                    <a:pt x="426" y="1520"/>
                  </a:cubicBezTo>
                  <a:cubicBezTo>
                    <a:pt x="426" y="1676"/>
                    <a:pt x="426" y="1676"/>
                    <a:pt x="426" y="1676"/>
                  </a:cubicBezTo>
                  <a:cubicBezTo>
                    <a:pt x="426" y="1736"/>
                    <a:pt x="467" y="1786"/>
                    <a:pt x="523" y="1800"/>
                  </a:cubicBezTo>
                  <a:cubicBezTo>
                    <a:pt x="491" y="1802"/>
                    <a:pt x="456" y="1813"/>
                    <a:pt x="435" y="1837"/>
                  </a:cubicBezTo>
                  <a:cubicBezTo>
                    <a:pt x="419" y="1857"/>
                    <a:pt x="403" y="1876"/>
                    <a:pt x="387" y="1895"/>
                  </a:cubicBezTo>
                  <a:cubicBezTo>
                    <a:pt x="337" y="1954"/>
                    <a:pt x="288" y="2013"/>
                    <a:pt x="239" y="2072"/>
                  </a:cubicBezTo>
                  <a:cubicBezTo>
                    <a:pt x="227" y="2086"/>
                    <a:pt x="203" y="2107"/>
                    <a:pt x="203" y="2127"/>
                  </a:cubicBezTo>
                  <a:cubicBezTo>
                    <a:pt x="203" y="2183"/>
                    <a:pt x="203" y="2183"/>
                    <a:pt x="203" y="2183"/>
                  </a:cubicBezTo>
                  <a:cubicBezTo>
                    <a:pt x="204" y="2190"/>
                    <a:pt x="206" y="2197"/>
                    <a:pt x="209" y="2202"/>
                  </a:cubicBezTo>
                  <a:cubicBezTo>
                    <a:pt x="222" y="2220"/>
                    <a:pt x="247" y="2221"/>
                    <a:pt x="267" y="2221"/>
                  </a:cubicBezTo>
                  <a:cubicBezTo>
                    <a:pt x="295" y="2221"/>
                    <a:pt x="1759" y="2221"/>
                    <a:pt x="1804" y="2221"/>
                  </a:cubicBezTo>
                  <a:cubicBezTo>
                    <a:pt x="1826" y="2221"/>
                    <a:pt x="1850" y="2219"/>
                    <a:pt x="1871" y="2214"/>
                  </a:cubicBezTo>
                  <a:cubicBezTo>
                    <a:pt x="1886" y="2211"/>
                    <a:pt x="1903" y="2203"/>
                    <a:pt x="1905" y="2186"/>
                  </a:cubicBezTo>
                  <a:cubicBezTo>
                    <a:pt x="1905" y="2126"/>
                    <a:pt x="1905" y="2126"/>
                    <a:pt x="1905" y="2126"/>
                  </a:cubicBezTo>
                  <a:cubicBezTo>
                    <a:pt x="1907" y="2113"/>
                    <a:pt x="1899" y="2100"/>
                    <a:pt x="1891" y="2091"/>
                  </a:cubicBezTo>
                  <a:cubicBezTo>
                    <a:pt x="1887" y="2086"/>
                    <a:pt x="1883" y="2081"/>
                    <a:pt x="1879" y="2077"/>
                  </a:cubicBezTo>
                  <a:cubicBezTo>
                    <a:pt x="1858" y="2052"/>
                    <a:pt x="1837" y="2027"/>
                    <a:pt x="1816" y="2003"/>
                  </a:cubicBezTo>
                  <a:cubicBezTo>
                    <a:pt x="1770" y="1948"/>
                    <a:pt x="1724" y="1894"/>
                    <a:pt x="1678" y="1840"/>
                  </a:cubicBezTo>
                  <a:cubicBezTo>
                    <a:pt x="1676" y="1837"/>
                    <a:pt x="1674" y="1834"/>
                    <a:pt x="1671" y="1832"/>
                  </a:cubicBezTo>
                  <a:cubicBezTo>
                    <a:pt x="1662" y="1820"/>
                    <a:pt x="1647" y="1813"/>
                    <a:pt x="1633" y="1809"/>
                  </a:cubicBezTo>
                  <a:cubicBezTo>
                    <a:pt x="1618" y="1804"/>
                    <a:pt x="1603" y="1801"/>
                    <a:pt x="1587" y="1800"/>
                  </a:cubicBezTo>
                  <a:cubicBezTo>
                    <a:pt x="1642" y="1785"/>
                    <a:pt x="1682" y="1735"/>
                    <a:pt x="1682" y="1676"/>
                  </a:cubicBezTo>
                  <a:cubicBezTo>
                    <a:pt x="1682" y="1462"/>
                    <a:pt x="1682" y="1462"/>
                    <a:pt x="1682" y="1462"/>
                  </a:cubicBezTo>
                  <a:cubicBezTo>
                    <a:pt x="1698" y="1455"/>
                    <a:pt x="1714" y="1448"/>
                    <a:pt x="1730" y="1441"/>
                  </a:cubicBezTo>
                  <a:cubicBezTo>
                    <a:pt x="1801" y="1408"/>
                    <a:pt x="1863" y="1368"/>
                    <a:pt x="1916" y="1325"/>
                  </a:cubicBezTo>
                  <a:cubicBezTo>
                    <a:pt x="1946" y="1300"/>
                    <a:pt x="1972" y="1273"/>
                    <a:pt x="1995" y="1246"/>
                  </a:cubicBezTo>
                  <a:cubicBezTo>
                    <a:pt x="2018" y="1218"/>
                    <a:pt x="2037" y="1187"/>
                    <a:pt x="2054" y="1154"/>
                  </a:cubicBezTo>
                  <a:cubicBezTo>
                    <a:pt x="2068" y="1124"/>
                    <a:pt x="2079" y="1090"/>
                    <a:pt x="2084" y="1054"/>
                  </a:cubicBezTo>
                  <a:cubicBezTo>
                    <a:pt x="2086" y="1040"/>
                    <a:pt x="2087" y="1026"/>
                    <a:pt x="2089" y="1013"/>
                  </a:cubicBezTo>
                  <a:cubicBezTo>
                    <a:pt x="2089" y="1008"/>
                    <a:pt x="2090" y="1003"/>
                    <a:pt x="2090" y="998"/>
                  </a:cubicBezTo>
                  <a:cubicBezTo>
                    <a:pt x="2102" y="877"/>
                    <a:pt x="2102" y="877"/>
                    <a:pt x="2102" y="877"/>
                  </a:cubicBezTo>
                  <a:cubicBezTo>
                    <a:pt x="2103" y="874"/>
                    <a:pt x="2103" y="870"/>
                    <a:pt x="2103" y="867"/>
                  </a:cubicBezTo>
                  <a:cubicBezTo>
                    <a:pt x="2105" y="848"/>
                    <a:pt x="2107" y="829"/>
                    <a:pt x="2107" y="809"/>
                  </a:cubicBezTo>
                  <a:close/>
                  <a:moveTo>
                    <a:pt x="1474" y="1837"/>
                  </a:moveTo>
                  <a:cubicBezTo>
                    <a:pt x="1475" y="1836"/>
                    <a:pt x="1476" y="1836"/>
                    <a:pt x="1478" y="1836"/>
                  </a:cubicBezTo>
                  <a:cubicBezTo>
                    <a:pt x="1481" y="1835"/>
                    <a:pt x="1483" y="1835"/>
                    <a:pt x="1487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502" y="1835"/>
                    <a:pt x="1511" y="1835"/>
                    <a:pt x="1521" y="1835"/>
                  </a:cubicBezTo>
                  <a:cubicBezTo>
                    <a:pt x="1521" y="1835"/>
                    <a:pt x="1521" y="1835"/>
                    <a:pt x="1521" y="1835"/>
                  </a:cubicBezTo>
                  <a:cubicBezTo>
                    <a:pt x="1531" y="1835"/>
                    <a:pt x="1531" y="1835"/>
                    <a:pt x="1531" y="1835"/>
                  </a:cubicBezTo>
                  <a:cubicBezTo>
                    <a:pt x="1534" y="1834"/>
                    <a:pt x="1538" y="1835"/>
                    <a:pt x="1541" y="1835"/>
                  </a:cubicBezTo>
                  <a:cubicBezTo>
                    <a:pt x="1543" y="1836"/>
                    <a:pt x="1546" y="1836"/>
                    <a:pt x="1548" y="1837"/>
                  </a:cubicBezTo>
                  <a:cubicBezTo>
                    <a:pt x="1548" y="1837"/>
                    <a:pt x="1548" y="1837"/>
                    <a:pt x="1548" y="1837"/>
                  </a:cubicBezTo>
                  <a:cubicBezTo>
                    <a:pt x="1549" y="1837"/>
                    <a:pt x="1549" y="1838"/>
                    <a:pt x="1549" y="1838"/>
                  </a:cubicBezTo>
                  <a:cubicBezTo>
                    <a:pt x="1550" y="1838"/>
                    <a:pt x="1550" y="1838"/>
                    <a:pt x="1550" y="1838"/>
                  </a:cubicBezTo>
                  <a:cubicBezTo>
                    <a:pt x="1553" y="1839"/>
                    <a:pt x="1556" y="1840"/>
                    <a:pt x="1558" y="1842"/>
                  </a:cubicBezTo>
                  <a:cubicBezTo>
                    <a:pt x="1560" y="1843"/>
                    <a:pt x="1562" y="1845"/>
                    <a:pt x="1563" y="1847"/>
                  </a:cubicBezTo>
                  <a:cubicBezTo>
                    <a:pt x="1571" y="1858"/>
                    <a:pt x="1571" y="1858"/>
                    <a:pt x="1571" y="1858"/>
                  </a:cubicBezTo>
                  <a:cubicBezTo>
                    <a:pt x="1573" y="1861"/>
                    <a:pt x="1577" y="1865"/>
                    <a:pt x="1579" y="1870"/>
                  </a:cubicBezTo>
                  <a:cubicBezTo>
                    <a:pt x="1579" y="1870"/>
                    <a:pt x="1579" y="1870"/>
                    <a:pt x="1579" y="1870"/>
                  </a:cubicBezTo>
                  <a:cubicBezTo>
                    <a:pt x="1581" y="1872"/>
                    <a:pt x="1581" y="1874"/>
                    <a:pt x="1581" y="1876"/>
                  </a:cubicBezTo>
                  <a:cubicBezTo>
                    <a:pt x="1581" y="1877"/>
                    <a:pt x="1580" y="1878"/>
                    <a:pt x="1579" y="1879"/>
                  </a:cubicBezTo>
                  <a:cubicBezTo>
                    <a:pt x="1579" y="1879"/>
                    <a:pt x="1579" y="1880"/>
                    <a:pt x="1579" y="1880"/>
                  </a:cubicBezTo>
                  <a:cubicBezTo>
                    <a:pt x="1579" y="1880"/>
                    <a:pt x="1579" y="1880"/>
                    <a:pt x="1579" y="1880"/>
                  </a:cubicBezTo>
                  <a:cubicBezTo>
                    <a:pt x="1578" y="1880"/>
                    <a:pt x="1578" y="1880"/>
                    <a:pt x="1578" y="1880"/>
                  </a:cubicBezTo>
                  <a:cubicBezTo>
                    <a:pt x="1578" y="1880"/>
                    <a:pt x="1578" y="1881"/>
                    <a:pt x="1577" y="1881"/>
                  </a:cubicBezTo>
                  <a:cubicBezTo>
                    <a:pt x="1577" y="1881"/>
                    <a:pt x="1577" y="1881"/>
                    <a:pt x="1576" y="1881"/>
                  </a:cubicBezTo>
                  <a:cubicBezTo>
                    <a:pt x="1576" y="1881"/>
                    <a:pt x="1576" y="1882"/>
                    <a:pt x="1575" y="1882"/>
                  </a:cubicBezTo>
                  <a:cubicBezTo>
                    <a:pt x="1569" y="1885"/>
                    <a:pt x="1560" y="1884"/>
                    <a:pt x="1553" y="1884"/>
                  </a:cubicBezTo>
                  <a:cubicBezTo>
                    <a:pt x="1516" y="1884"/>
                    <a:pt x="1516" y="1884"/>
                    <a:pt x="1516" y="1884"/>
                  </a:cubicBezTo>
                  <a:cubicBezTo>
                    <a:pt x="1509" y="1884"/>
                    <a:pt x="1501" y="1883"/>
                    <a:pt x="1494" y="1879"/>
                  </a:cubicBezTo>
                  <a:cubicBezTo>
                    <a:pt x="1492" y="1878"/>
                    <a:pt x="1490" y="1877"/>
                    <a:pt x="1488" y="1876"/>
                  </a:cubicBezTo>
                  <a:cubicBezTo>
                    <a:pt x="1486" y="1874"/>
                    <a:pt x="1484" y="1872"/>
                    <a:pt x="1483" y="1871"/>
                  </a:cubicBezTo>
                  <a:cubicBezTo>
                    <a:pt x="1481" y="1868"/>
                    <a:pt x="1481" y="1868"/>
                    <a:pt x="1481" y="1868"/>
                  </a:cubicBezTo>
                  <a:cubicBezTo>
                    <a:pt x="1478" y="1861"/>
                    <a:pt x="1473" y="1854"/>
                    <a:pt x="1470" y="1847"/>
                  </a:cubicBezTo>
                  <a:cubicBezTo>
                    <a:pt x="1467" y="1842"/>
                    <a:pt x="1469" y="1839"/>
                    <a:pt x="1474" y="1837"/>
                  </a:cubicBezTo>
                  <a:close/>
                  <a:moveTo>
                    <a:pt x="965" y="1871"/>
                  </a:moveTo>
                  <a:cubicBezTo>
                    <a:pt x="966" y="1869"/>
                    <a:pt x="966" y="1868"/>
                    <a:pt x="966" y="1866"/>
                  </a:cubicBezTo>
                  <a:cubicBezTo>
                    <a:pt x="966" y="1866"/>
                    <a:pt x="966" y="1866"/>
                    <a:pt x="966" y="1866"/>
                  </a:cubicBezTo>
                  <a:cubicBezTo>
                    <a:pt x="967" y="1861"/>
                    <a:pt x="966" y="1855"/>
                    <a:pt x="968" y="1850"/>
                  </a:cubicBezTo>
                  <a:cubicBezTo>
                    <a:pt x="968" y="1848"/>
                    <a:pt x="968" y="1848"/>
                    <a:pt x="968" y="1848"/>
                  </a:cubicBezTo>
                  <a:cubicBezTo>
                    <a:pt x="968" y="1846"/>
                    <a:pt x="969" y="1845"/>
                    <a:pt x="970" y="1843"/>
                  </a:cubicBezTo>
                  <a:cubicBezTo>
                    <a:pt x="971" y="1842"/>
                    <a:pt x="973" y="1841"/>
                    <a:pt x="974" y="1841"/>
                  </a:cubicBezTo>
                  <a:cubicBezTo>
                    <a:pt x="974" y="1840"/>
                    <a:pt x="974" y="1840"/>
                    <a:pt x="974" y="1840"/>
                  </a:cubicBezTo>
                  <a:cubicBezTo>
                    <a:pt x="975" y="1840"/>
                    <a:pt x="975" y="1840"/>
                    <a:pt x="975" y="1840"/>
                  </a:cubicBezTo>
                  <a:cubicBezTo>
                    <a:pt x="976" y="1840"/>
                    <a:pt x="976" y="1839"/>
                    <a:pt x="976" y="1839"/>
                  </a:cubicBezTo>
                  <a:cubicBezTo>
                    <a:pt x="976" y="1839"/>
                    <a:pt x="977" y="1839"/>
                    <a:pt x="977" y="1839"/>
                  </a:cubicBezTo>
                  <a:cubicBezTo>
                    <a:pt x="978" y="1839"/>
                    <a:pt x="978" y="1838"/>
                    <a:pt x="979" y="1838"/>
                  </a:cubicBezTo>
                  <a:cubicBezTo>
                    <a:pt x="980" y="1838"/>
                    <a:pt x="980" y="1838"/>
                    <a:pt x="980" y="1838"/>
                  </a:cubicBezTo>
                  <a:cubicBezTo>
                    <a:pt x="981" y="1837"/>
                    <a:pt x="982" y="1837"/>
                    <a:pt x="983" y="1837"/>
                  </a:cubicBezTo>
                  <a:cubicBezTo>
                    <a:pt x="983" y="1837"/>
                    <a:pt x="984" y="1837"/>
                    <a:pt x="984" y="1837"/>
                  </a:cubicBezTo>
                  <a:cubicBezTo>
                    <a:pt x="984" y="1837"/>
                    <a:pt x="984" y="1837"/>
                    <a:pt x="985" y="1837"/>
                  </a:cubicBezTo>
                  <a:cubicBezTo>
                    <a:pt x="985" y="1837"/>
                    <a:pt x="985" y="1837"/>
                    <a:pt x="986" y="1836"/>
                  </a:cubicBezTo>
                  <a:cubicBezTo>
                    <a:pt x="988" y="1836"/>
                    <a:pt x="991" y="1836"/>
                    <a:pt x="993" y="1836"/>
                  </a:cubicBezTo>
                  <a:cubicBezTo>
                    <a:pt x="995" y="1836"/>
                    <a:pt x="995" y="1836"/>
                    <a:pt x="995" y="1836"/>
                  </a:cubicBezTo>
                  <a:cubicBezTo>
                    <a:pt x="998" y="1836"/>
                    <a:pt x="1000" y="1836"/>
                    <a:pt x="1003" y="1836"/>
                  </a:cubicBezTo>
                  <a:cubicBezTo>
                    <a:pt x="1038" y="1836"/>
                    <a:pt x="1038" y="1836"/>
                    <a:pt x="1038" y="1836"/>
                  </a:cubicBezTo>
                  <a:cubicBezTo>
                    <a:pt x="1038" y="1836"/>
                    <a:pt x="1039" y="1836"/>
                    <a:pt x="1040" y="1836"/>
                  </a:cubicBezTo>
                  <a:cubicBezTo>
                    <a:pt x="1040" y="1836"/>
                    <a:pt x="1040" y="1836"/>
                    <a:pt x="1041" y="1836"/>
                  </a:cubicBezTo>
                  <a:cubicBezTo>
                    <a:pt x="1042" y="1836"/>
                    <a:pt x="1042" y="1836"/>
                    <a:pt x="1043" y="1836"/>
                  </a:cubicBezTo>
                  <a:cubicBezTo>
                    <a:pt x="1050" y="1837"/>
                    <a:pt x="1058" y="1839"/>
                    <a:pt x="1061" y="1844"/>
                  </a:cubicBezTo>
                  <a:cubicBezTo>
                    <a:pt x="1061" y="1845"/>
                    <a:pt x="1061" y="1845"/>
                    <a:pt x="1061" y="1846"/>
                  </a:cubicBezTo>
                  <a:cubicBezTo>
                    <a:pt x="1061" y="1846"/>
                    <a:pt x="1061" y="1846"/>
                    <a:pt x="1061" y="1846"/>
                  </a:cubicBezTo>
                  <a:cubicBezTo>
                    <a:pt x="1063" y="1853"/>
                    <a:pt x="1062" y="1863"/>
                    <a:pt x="1062" y="1870"/>
                  </a:cubicBezTo>
                  <a:cubicBezTo>
                    <a:pt x="1062" y="1872"/>
                    <a:pt x="1062" y="1872"/>
                    <a:pt x="1062" y="1872"/>
                  </a:cubicBezTo>
                  <a:cubicBezTo>
                    <a:pt x="1062" y="1873"/>
                    <a:pt x="1062" y="1874"/>
                    <a:pt x="1061" y="1876"/>
                  </a:cubicBezTo>
                  <a:cubicBezTo>
                    <a:pt x="1054" y="1889"/>
                    <a:pt x="1022" y="1885"/>
                    <a:pt x="1010" y="1885"/>
                  </a:cubicBezTo>
                  <a:cubicBezTo>
                    <a:pt x="1003" y="1885"/>
                    <a:pt x="996" y="1885"/>
                    <a:pt x="989" y="1885"/>
                  </a:cubicBezTo>
                  <a:cubicBezTo>
                    <a:pt x="983" y="1885"/>
                    <a:pt x="974" y="1884"/>
                    <a:pt x="969" y="1879"/>
                  </a:cubicBezTo>
                  <a:cubicBezTo>
                    <a:pt x="969" y="1879"/>
                    <a:pt x="969" y="1879"/>
                    <a:pt x="968" y="1879"/>
                  </a:cubicBezTo>
                  <a:cubicBezTo>
                    <a:pt x="968" y="1879"/>
                    <a:pt x="968" y="1878"/>
                    <a:pt x="968" y="1878"/>
                  </a:cubicBezTo>
                  <a:cubicBezTo>
                    <a:pt x="967" y="1878"/>
                    <a:pt x="967" y="1878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6" y="1876"/>
                    <a:pt x="966" y="1876"/>
                    <a:pt x="966" y="1875"/>
                  </a:cubicBezTo>
                  <a:cubicBezTo>
                    <a:pt x="965" y="1874"/>
                    <a:pt x="965" y="1873"/>
                    <a:pt x="965" y="1872"/>
                  </a:cubicBezTo>
                  <a:lnTo>
                    <a:pt x="965" y="1871"/>
                  </a:lnTo>
                  <a:close/>
                  <a:moveTo>
                    <a:pt x="956" y="1955"/>
                  </a:moveTo>
                  <a:cubicBezTo>
                    <a:pt x="956" y="1952"/>
                    <a:pt x="956" y="1952"/>
                    <a:pt x="956" y="1952"/>
                  </a:cubicBezTo>
                  <a:cubicBezTo>
                    <a:pt x="956" y="1952"/>
                    <a:pt x="956" y="1951"/>
                    <a:pt x="956" y="1951"/>
                  </a:cubicBezTo>
                  <a:cubicBezTo>
                    <a:pt x="957" y="1943"/>
                    <a:pt x="958" y="1935"/>
                    <a:pt x="959" y="1926"/>
                  </a:cubicBezTo>
                  <a:cubicBezTo>
                    <a:pt x="959" y="1926"/>
                    <a:pt x="959" y="1926"/>
                    <a:pt x="959" y="1926"/>
                  </a:cubicBezTo>
                  <a:cubicBezTo>
                    <a:pt x="959" y="1926"/>
                    <a:pt x="959" y="1926"/>
                    <a:pt x="959" y="1925"/>
                  </a:cubicBezTo>
                  <a:cubicBezTo>
                    <a:pt x="963" y="1907"/>
                    <a:pt x="999" y="1911"/>
                    <a:pt x="1013" y="1911"/>
                  </a:cubicBezTo>
                  <a:cubicBezTo>
                    <a:pt x="1025" y="1911"/>
                    <a:pt x="1055" y="1908"/>
                    <a:pt x="1061" y="1921"/>
                  </a:cubicBezTo>
                  <a:cubicBezTo>
                    <a:pt x="1062" y="1923"/>
                    <a:pt x="1063" y="1924"/>
                    <a:pt x="1063" y="1926"/>
                  </a:cubicBezTo>
                  <a:cubicBezTo>
                    <a:pt x="1063" y="1940"/>
                    <a:pt x="1063" y="1940"/>
                    <a:pt x="1063" y="1940"/>
                  </a:cubicBezTo>
                  <a:cubicBezTo>
                    <a:pt x="1063" y="1945"/>
                    <a:pt x="1063" y="1949"/>
                    <a:pt x="1063" y="1953"/>
                  </a:cubicBezTo>
                  <a:cubicBezTo>
                    <a:pt x="1063" y="1953"/>
                    <a:pt x="1063" y="1953"/>
                    <a:pt x="1063" y="1953"/>
                  </a:cubicBezTo>
                  <a:cubicBezTo>
                    <a:pt x="1063" y="1955"/>
                    <a:pt x="1063" y="1955"/>
                    <a:pt x="1063" y="1955"/>
                  </a:cubicBezTo>
                  <a:cubicBezTo>
                    <a:pt x="1063" y="1957"/>
                    <a:pt x="1062" y="1959"/>
                    <a:pt x="1061" y="1961"/>
                  </a:cubicBezTo>
                  <a:cubicBezTo>
                    <a:pt x="1061" y="1962"/>
                    <a:pt x="1060" y="1962"/>
                    <a:pt x="1060" y="1962"/>
                  </a:cubicBezTo>
                  <a:cubicBezTo>
                    <a:pt x="1060" y="1963"/>
                    <a:pt x="1059" y="1963"/>
                    <a:pt x="1059" y="1964"/>
                  </a:cubicBezTo>
                  <a:cubicBezTo>
                    <a:pt x="1058" y="1964"/>
                    <a:pt x="1058" y="1964"/>
                    <a:pt x="1058" y="1964"/>
                  </a:cubicBezTo>
                  <a:cubicBezTo>
                    <a:pt x="1055" y="1967"/>
                    <a:pt x="1051" y="1969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4" y="1971"/>
                    <a:pt x="1043" y="1971"/>
                    <a:pt x="1041" y="1971"/>
                  </a:cubicBezTo>
                  <a:cubicBezTo>
                    <a:pt x="1041" y="1971"/>
                    <a:pt x="1040" y="1971"/>
                    <a:pt x="1040" y="1971"/>
                  </a:cubicBezTo>
                  <a:cubicBezTo>
                    <a:pt x="1038" y="1971"/>
                    <a:pt x="1037" y="1972"/>
                    <a:pt x="1035" y="1972"/>
                  </a:cubicBezTo>
                  <a:cubicBezTo>
                    <a:pt x="1035" y="1972"/>
                    <a:pt x="1035" y="1972"/>
                    <a:pt x="1035" y="1972"/>
                  </a:cubicBezTo>
                  <a:cubicBezTo>
                    <a:pt x="982" y="1972"/>
                    <a:pt x="982" y="1972"/>
                    <a:pt x="982" y="1972"/>
                  </a:cubicBezTo>
                  <a:cubicBezTo>
                    <a:pt x="976" y="1972"/>
                    <a:pt x="969" y="1971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2" y="1966"/>
                    <a:pt x="961" y="1965"/>
                    <a:pt x="960" y="1964"/>
                  </a:cubicBezTo>
                  <a:cubicBezTo>
                    <a:pt x="959" y="1964"/>
                    <a:pt x="958" y="1963"/>
                    <a:pt x="958" y="1962"/>
                  </a:cubicBezTo>
                  <a:cubicBezTo>
                    <a:pt x="958" y="1962"/>
                    <a:pt x="958" y="1962"/>
                    <a:pt x="957" y="1962"/>
                  </a:cubicBezTo>
                  <a:cubicBezTo>
                    <a:pt x="956" y="1960"/>
                    <a:pt x="956" y="1957"/>
                    <a:pt x="956" y="1955"/>
                  </a:cubicBezTo>
                  <a:close/>
                  <a:moveTo>
                    <a:pt x="820" y="1872"/>
                  </a:moveTo>
                  <a:cubicBezTo>
                    <a:pt x="820" y="1872"/>
                    <a:pt x="820" y="1872"/>
                    <a:pt x="820" y="1872"/>
                  </a:cubicBezTo>
                  <a:cubicBezTo>
                    <a:pt x="820" y="1872"/>
                    <a:pt x="820" y="1872"/>
                    <a:pt x="820" y="1872"/>
                  </a:cubicBezTo>
                  <a:cubicBezTo>
                    <a:pt x="820" y="1870"/>
                    <a:pt x="821" y="1868"/>
                    <a:pt x="822" y="1866"/>
                  </a:cubicBezTo>
                  <a:cubicBezTo>
                    <a:pt x="823" y="1861"/>
                    <a:pt x="824" y="1854"/>
                    <a:pt x="827" y="1849"/>
                  </a:cubicBezTo>
                  <a:cubicBezTo>
                    <a:pt x="827" y="1848"/>
                    <a:pt x="827" y="1848"/>
                    <a:pt x="827" y="1848"/>
                  </a:cubicBezTo>
                  <a:cubicBezTo>
                    <a:pt x="827" y="1847"/>
                    <a:pt x="829" y="1845"/>
                    <a:pt x="830" y="1844"/>
                  </a:cubicBezTo>
                  <a:cubicBezTo>
                    <a:pt x="831" y="1843"/>
                    <a:pt x="832" y="1842"/>
                    <a:pt x="833" y="1841"/>
                  </a:cubicBezTo>
                  <a:cubicBezTo>
                    <a:pt x="837" y="1839"/>
                    <a:pt x="840" y="1838"/>
                    <a:pt x="844" y="1837"/>
                  </a:cubicBezTo>
                  <a:cubicBezTo>
                    <a:pt x="845" y="1837"/>
                    <a:pt x="845" y="1837"/>
                    <a:pt x="845" y="1837"/>
                  </a:cubicBezTo>
                  <a:cubicBezTo>
                    <a:pt x="848" y="1836"/>
                    <a:pt x="851" y="1836"/>
                    <a:pt x="855" y="1836"/>
                  </a:cubicBezTo>
                  <a:cubicBezTo>
                    <a:pt x="859" y="1836"/>
                    <a:pt x="859" y="1836"/>
                    <a:pt x="859" y="1836"/>
                  </a:cubicBezTo>
                  <a:cubicBezTo>
                    <a:pt x="861" y="1836"/>
                    <a:pt x="862" y="1836"/>
                    <a:pt x="864" y="1836"/>
                  </a:cubicBezTo>
                  <a:cubicBezTo>
                    <a:pt x="873" y="1836"/>
                    <a:pt x="883" y="1836"/>
                    <a:pt x="893" y="1836"/>
                  </a:cubicBezTo>
                  <a:cubicBezTo>
                    <a:pt x="894" y="1836"/>
                    <a:pt x="896" y="1836"/>
                    <a:pt x="897" y="1836"/>
                  </a:cubicBezTo>
                  <a:cubicBezTo>
                    <a:pt x="899" y="1836"/>
                    <a:pt x="899" y="1836"/>
                    <a:pt x="899" y="1836"/>
                  </a:cubicBezTo>
                  <a:cubicBezTo>
                    <a:pt x="899" y="1836"/>
                    <a:pt x="899" y="1836"/>
                    <a:pt x="900" y="1836"/>
                  </a:cubicBezTo>
                  <a:cubicBezTo>
                    <a:pt x="901" y="1836"/>
                    <a:pt x="902" y="1836"/>
                    <a:pt x="904" y="1836"/>
                  </a:cubicBezTo>
                  <a:cubicBezTo>
                    <a:pt x="904" y="1836"/>
                    <a:pt x="904" y="1836"/>
                    <a:pt x="904" y="1836"/>
                  </a:cubicBezTo>
                  <a:cubicBezTo>
                    <a:pt x="911" y="1837"/>
                    <a:pt x="919" y="1839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54"/>
                    <a:pt x="918" y="1863"/>
                    <a:pt x="917" y="1870"/>
                  </a:cubicBezTo>
                  <a:cubicBezTo>
                    <a:pt x="917" y="1870"/>
                    <a:pt x="917" y="1870"/>
                    <a:pt x="917" y="1870"/>
                  </a:cubicBezTo>
                  <a:cubicBezTo>
                    <a:pt x="917" y="1872"/>
                    <a:pt x="917" y="1872"/>
                    <a:pt x="917" y="1872"/>
                  </a:cubicBezTo>
                  <a:cubicBezTo>
                    <a:pt x="916" y="1873"/>
                    <a:pt x="916" y="1875"/>
                    <a:pt x="914" y="1876"/>
                  </a:cubicBezTo>
                  <a:cubicBezTo>
                    <a:pt x="914" y="1876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04" y="1889"/>
                    <a:pt x="878" y="1886"/>
                    <a:pt x="865" y="1886"/>
                  </a:cubicBezTo>
                  <a:cubicBezTo>
                    <a:pt x="857" y="1886"/>
                    <a:pt x="849" y="1886"/>
                    <a:pt x="841" y="1886"/>
                  </a:cubicBezTo>
                  <a:cubicBezTo>
                    <a:pt x="834" y="1886"/>
                    <a:pt x="824" y="1884"/>
                    <a:pt x="820" y="1877"/>
                  </a:cubicBezTo>
                  <a:cubicBezTo>
                    <a:pt x="820" y="1877"/>
                    <a:pt x="820" y="1876"/>
                    <a:pt x="820" y="1875"/>
                  </a:cubicBezTo>
                  <a:cubicBezTo>
                    <a:pt x="820" y="1875"/>
                    <a:pt x="820" y="1875"/>
                    <a:pt x="820" y="1874"/>
                  </a:cubicBezTo>
                  <a:cubicBezTo>
                    <a:pt x="820" y="1873"/>
                    <a:pt x="820" y="1873"/>
                    <a:pt x="820" y="1872"/>
                  </a:cubicBezTo>
                  <a:close/>
                  <a:moveTo>
                    <a:pt x="795" y="1956"/>
                  </a:moveTo>
                  <a:cubicBezTo>
                    <a:pt x="796" y="1952"/>
                    <a:pt x="796" y="1952"/>
                    <a:pt x="796" y="1952"/>
                  </a:cubicBezTo>
                  <a:cubicBezTo>
                    <a:pt x="796" y="1952"/>
                    <a:pt x="796" y="1952"/>
                    <a:pt x="796" y="1952"/>
                  </a:cubicBezTo>
                  <a:cubicBezTo>
                    <a:pt x="796" y="1951"/>
                    <a:pt x="796" y="1951"/>
                    <a:pt x="796" y="1950"/>
                  </a:cubicBezTo>
                  <a:cubicBezTo>
                    <a:pt x="803" y="1926"/>
                    <a:pt x="803" y="1926"/>
                    <a:pt x="803" y="1926"/>
                  </a:cubicBezTo>
                  <a:cubicBezTo>
                    <a:pt x="804" y="1926"/>
                    <a:pt x="804" y="1926"/>
                    <a:pt x="804" y="1925"/>
                  </a:cubicBezTo>
                  <a:cubicBezTo>
                    <a:pt x="811" y="1908"/>
                    <a:pt x="843" y="1911"/>
                    <a:pt x="859" y="1911"/>
                  </a:cubicBezTo>
                  <a:cubicBezTo>
                    <a:pt x="865" y="1911"/>
                    <a:pt x="877" y="1910"/>
                    <a:pt x="888" y="1912"/>
                  </a:cubicBezTo>
                  <a:cubicBezTo>
                    <a:pt x="890" y="1912"/>
                    <a:pt x="891" y="1912"/>
                    <a:pt x="893" y="1913"/>
                  </a:cubicBezTo>
                  <a:cubicBezTo>
                    <a:pt x="894" y="1913"/>
                    <a:pt x="894" y="1913"/>
                    <a:pt x="894" y="1913"/>
                  </a:cubicBezTo>
                  <a:cubicBezTo>
                    <a:pt x="899" y="1914"/>
                    <a:pt x="903" y="1916"/>
                    <a:pt x="905" y="1920"/>
                  </a:cubicBezTo>
                  <a:cubicBezTo>
                    <a:pt x="906" y="1920"/>
                    <a:pt x="906" y="1920"/>
                    <a:pt x="906" y="1920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7" y="1923"/>
                    <a:pt x="907" y="1924"/>
                    <a:pt x="907" y="1926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6" y="1932"/>
                    <a:pt x="905" y="1936"/>
                    <a:pt x="904" y="1941"/>
                  </a:cubicBezTo>
                  <a:cubicBezTo>
                    <a:pt x="902" y="1955"/>
                    <a:pt x="902" y="1955"/>
                    <a:pt x="902" y="1955"/>
                  </a:cubicBezTo>
                  <a:cubicBezTo>
                    <a:pt x="901" y="1958"/>
                    <a:pt x="900" y="1960"/>
                    <a:pt x="899" y="1962"/>
                  </a:cubicBezTo>
                  <a:cubicBezTo>
                    <a:pt x="898" y="1962"/>
                    <a:pt x="898" y="1962"/>
                    <a:pt x="898" y="1962"/>
                  </a:cubicBezTo>
                  <a:cubicBezTo>
                    <a:pt x="898" y="1963"/>
                    <a:pt x="897" y="1963"/>
                    <a:pt x="897" y="1963"/>
                  </a:cubicBezTo>
                  <a:cubicBezTo>
                    <a:pt x="897" y="1964"/>
                    <a:pt x="896" y="1964"/>
                    <a:pt x="895" y="1965"/>
                  </a:cubicBezTo>
                  <a:cubicBezTo>
                    <a:pt x="891" y="1968"/>
                    <a:pt x="887" y="1969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0" y="1971"/>
                    <a:pt x="879" y="1971"/>
                    <a:pt x="877" y="1971"/>
                  </a:cubicBezTo>
                  <a:cubicBezTo>
                    <a:pt x="877" y="1972"/>
                    <a:pt x="876" y="1972"/>
                    <a:pt x="876" y="1972"/>
                  </a:cubicBezTo>
                  <a:cubicBezTo>
                    <a:pt x="874" y="1972"/>
                    <a:pt x="872" y="1972"/>
                    <a:pt x="871" y="1972"/>
                  </a:cubicBezTo>
                  <a:cubicBezTo>
                    <a:pt x="871" y="1972"/>
                    <a:pt x="871" y="1972"/>
                    <a:pt x="871" y="1972"/>
                  </a:cubicBezTo>
                  <a:cubicBezTo>
                    <a:pt x="818" y="1972"/>
                    <a:pt x="818" y="1972"/>
                    <a:pt x="818" y="1972"/>
                  </a:cubicBezTo>
                  <a:cubicBezTo>
                    <a:pt x="812" y="1972"/>
                    <a:pt x="805" y="1971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8" y="1967"/>
                    <a:pt x="797" y="1966"/>
                    <a:pt x="797" y="1965"/>
                  </a:cubicBezTo>
                  <a:cubicBezTo>
                    <a:pt x="796" y="1964"/>
                    <a:pt x="796" y="1963"/>
                    <a:pt x="795" y="1963"/>
                  </a:cubicBezTo>
                  <a:cubicBezTo>
                    <a:pt x="795" y="1962"/>
                    <a:pt x="795" y="1962"/>
                    <a:pt x="795" y="1962"/>
                  </a:cubicBezTo>
                  <a:cubicBezTo>
                    <a:pt x="794" y="1960"/>
                    <a:pt x="794" y="1958"/>
                    <a:pt x="795" y="1956"/>
                  </a:cubicBezTo>
                  <a:close/>
                  <a:moveTo>
                    <a:pt x="674" y="1875"/>
                  </a:moveTo>
                  <a:cubicBezTo>
                    <a:pt x="674" y="1872"/>
                    <a:pt x="676" y="1869"/>
                    <a:pt x="677" y="1867"/>
                  </a:cubicBezTo>
                  <a:cubicBezTo>
                    <a:pt x="680" y="1861"/>
                    <a:pt x="683" y="1852"/>
                    <a:pt x="687" y="1847"/>
                  </a:cubicBezTo>
                  <a:cubicBezTo>
                    <a:pt x="688" y="1846"/>
                    <a:pt x="688" y="1846"/>
                    <a:pt x="688" y="1846"/>
                  </a:cubicBezTo>
                  <a:cubicBezTo>
                    <a:pt x="688" y="1846"/>
                    <a:pt x="689" y="1845"/>
                    <a:pt x="689" y="1845"/>
                  </a:cubicBezTo>
                  <a:cubicBezTo>
                    <a:pt x="689" y="1845"/>
                    <a:pt x="689" y="1845"/>
                    <a:pt x="690" y="1844"/>
                  </a:cubicBezTo>
                  <a:cubicBezTo>
                    <a:pt x="690" y="1844"/>
                    <a:pt x="690" y="1844"/>
                    <a:pt x="690" y="1844"/>
                  </a:cubicBezTo>
                  <a:cubicBezTo>
                    <a:pt x="690" y="1844"/>
                    <a:pt x="691" y="1844"/>
                    <a:pt x="691" y="1843"/>
                  </a:cubicBezTo>
                  <a:cubicBezTo>
                    <a:pt x="695" y="1840"/>
                    <a:pt x="700" y="1838"/>
                    <a:pt x="706" y="1838"/>
                  </a:cubicBezTo>
                  <a:cubicBezTo>
                    <a:pt x="706" y="1837"/>
                    <a:pt x="706" y="1837"/>
                    <a:pt x="706" y="1837"/>
                  </a:cubicBezTo>
                  <a:cubicBezTo>
                    <a:pt x="709" y="1837"/>
                    <a:pt x="713" y="1836"/>
                    <a:pt x="716" y="1836"/>
                  </a:cubicBezTo>
                  <a:cubicBezTo>
                    <a:pt x="734" y="1836"/>
                    <a:pt x="734" y="1836"/>
                    <a:pt x="734" y="1836"/>
                  </a:cubicBezTo>
                  <a:cubicBezTo>
                    <a:pt x="740" y="1836"/>
                    <a:pt x="746" y="1836"/>
                    <a:pt x="751" y="1836"/>
                  </a:cubicBezTo>
                  <a:cubicBezTo>
                    <a:pt x="759" y="1836"/>
                    <a:pt x="771" y="1835"/>
                    <a:pt x="777" y="1841"/>
                  </a:cubicBezTo>
                  <a:cubicBezTo>
                    <a:pt x="778" y="1841"/>
                    <a:pt x="778" y="1842"/>
                    <a:pt x="778" y="1842"/>
                  </a:cubicBezTo>
                  <a:cubicBezTo>
                    <a:pt x="778" y="1842"/>
                    <a:pt x="779" y="1842"/>
                    <a:pt x="779" y="1842"/>
                  </a:cubicBezTo>
                  <a:cubicBezTo>
                    <a:pt x="779" y="1842"/>
                    <a:pt x="779" y="1843"/>
                    <a:pt x="779" y="1843"/>
                  </a:cubicBezTo>
                  <a:cubicBezTo>
                    <a:pt x="779" y="1843"/>
                    <a:pt x="779" y="1843"/>
                    <a:pt x="780" y="1844"/>
                  </a:cubicBezTo>
                  <a:cubicBezTo>
                    <a:pt x="780" y="1845"/>
                    <a:pt x="780" y="1846"/>
                    <a:pt x="780" y="1847"/>
                  </a:cubicBezTo>
                  <a:cubicBezTo>
                    <a:pt x="779" y="1854"/>
                    <a:pt x="774" y="1863"/>
                    <a:pt x="773" y="1867"/>
                  </a:cubicBezTo>
                  <a:cubicBezTo>
                    <a:pt x="773" y="1867"/>
                    <a:pt x="773" y="1867"/>
                    <a:pt x="773" y="1867"/>
                  </a:cubicBezTo>
                  <a:cubicBezTo>
                    <a:pt x="772" y="1869"/>
                    <a:pt x="772" y="1870"/>
                    <a:pt x="771" y="1871"/>
                  </a:cubicBezTo>
                  <a:cubicBezTo>
                    <a:pt x="771" y="1872"/>
                    <a:pt x="771" y="1872"/>
                    <a:pt x="771" y="1872"/>
                  </a:cubicBezTo>
                  <a:cubicBezTo>
                    <a:pt x="771" y="1873"/>
                    <a:pt x="771" y="1873"/>
                    <a:pt x="770" y="1873"/>
                  </a:cubicBezTo>
                  <a:cubicBezTo>
                    <a:pt x="770" y="1874"/>
                    <a:pt x="770" y="1874"/>
                    <a:pt x="770" y="1874"/>
                  </a:cubicBezTo>
                  <a:cubicBezTo>
                    <a:pt x="770" y="1875"/>
                    <a:pt x="769" y="1875"/>
                    <a:pt x="769" y="1876"/>
                  </a:cubicBezTo>
                  <a:cubicBezTo>
                    <a:pt x="769" y="1876"/>
                    <a:pt x="769" y="1876"/>
                    <a:pt x="768" y="1876"/>
                  </a:cubicBezTo>
                  <a:cubicBezTo>
                    <a:pt x="768" y="1876"/>
                    <a:pt x="768" y="1877"/>
                    <a:pt x="768" y="1877"/>
                  </a:cubicBezTo>
                  <a:cubicBezTo>
                    <a:pt x="768" y="1877"/>
                    <a:pt x="767" y="1877"/>
                    <a:pt x="767" y="1877"/>
                  </a:cubicBezTo>
                  <a:cubicBezTo>
                    <a:pt x="766" y="1878"/>
                    <a:pt x="765" y="1879"/>
                    <a:pt x="764" y="1880"/>
                  </a:cubicBezTo>
                  <a:cubicBezTo>
                    <a:pt x="763" y="1880"/>
                    <a:pt x="762" y="1881"/>
                    <a:pt x="761" y="1881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56" y="1883"/>
                    <a:pt x="752" y="1885"/>
                    <a:pt x="749" y="1885"/>
                  </a:cubicBezTo>
                  <a:cubicBezTo>
                    <a:pt x="748" y="1885"/>
                    <a:pt x="746" y="1885"/>
                    <a:pt x="745" y="1886"/>
                  </a:cubicBezTo>
                  <a:cubicBezTo>
                    <a:pt x="745" y="1886"/>
                    <a:pt x="745" y="1886"/>
                    <a:pt x="745" y="1886"/>
                  </a:cubicBezTo>
                  <a:cubicBezTo>
                    <a:pt x="738" y="1886"/>
                    <a:pt x="730" y="1886"/>
                    <a:pt x="723" y="1886"/>
                  </a:cubicBezTo>
                  <a:cubicBezTo>
                    <a:pt x="693" y="1886"/>
                    <a:pt x="693" y="1886"/>
                    <a:pt x="693" y="1886"/>
                  </a:cubicBezTo>
                  <a:cubicBezTo>
                    <a:pt x="687" y="1886"/>
                    <a:pt x="676" y="1885"/>
                    <a:pt x="674" y="1878"/>
                  </a:cubicBezTo>
                  <a:cubicBezTo>
                    <a:pt x="673" y="1877"/>
                    <a:pt x="673" y="1876"/>
                    <a:pt x="673" y="1876"/>
                  </a:cubicBezTo>
                  <a:cubicBezTo>
                    <a:pt x="673" y="1875"/>
                    <a:pt x="674" y="1875"/>
                    <a:pt x="674" y="1875"/>
                  </a:cubicBezTo>
                  <a:close/>
                  <a:moveTo>
                    <a:pt x="647" y="1928"/>
                  </a:moveTo>
                  <a:cubicBezTo>
                    <a:pt x="648" y="1927"/>
                    <a:pt x="648" y="1927"/>
                    <a:pt x="648" y="1927"/>
                  </a:cubicBezTo>
                  <a:cubicBezTo>
                    <a:pt x="648" y="1926"/>
                    <a:pt x="648" y="1926"/>
                    <a:pt x="648" y="1926"/>
                  </a:cubicBezTo>
                  <a:cubicBezTo>
                    <a:pt x="649" y="1925"/>
                    <a:pt x="649" y="1924"/>
                    <a:pt x="650" y="1924"/>
                  </a:cubicBezTo>
                  <a:cubicBezTo>
                    <a:pt x="650" y="1924"/>
                    <a:pt x="650" y="1924"/>
                    <a:pt x="650" y="1924"/>
                  </a:cubicBezTo>
                  <a:cubicBezTo>
                    <a:pt x="661" y="1909"/>
                    <a:pt x="687" y="1912"/>
                    <a:pt x="703" y="1912"/>
                  </a:cubicBezTo>
                  <a:cubicBezTo>
                    <a:pt x="703" y="1912"/>
                    <a:pt x="703" y="1912"/>
                    <a:pt x="703" y="1912"/>
                  </a:cubicBezTo>
                  <a:cubicBezTo>
                    <a:pt x="708" y="1912"/>
                    <a:pt x="720" y="1911"/>
                    <a:pt x="730" y="1912"/>
                  </a:cubicBezTo>
                  <a:cubicBezTo>
                    <a:pt x="734" y="1912"/>
                    <a:pt x="737" y="1912"/>
                    <a:pt x="740" y="1913"/>
                  </a:cubicBezTo>
                  <a:cubicBezTo>
                    <a:pt x="742" y="1913"/>
                    <a:pt x="744" y="1914"/>
                    <a:pt x="745" y="1915"/>
                  </a:cubicBezTo>
                  <a:cubicBezTo>
                    <a:pt x="749" y="1917"/>
                    <a:pt x="752" y="1919"/>
                    <a:pt x="752" y="1923"/>
                  </a:cubicBezTo>
                  <a:cubicBezTo>
                    <a:pt x="752" y="1923"/>
                    <a:pt x="752" y="1924"/>
                    <a:pt x="752" y="1924"/>
                  </a:cubicBezTo>
                  <a:cubicBezTo>
                    <a:pt x="752" y="1924"/>
                    <a:pt x="752" y="1924"/>
                    <a:pt x="752" y="1924"/>
                  </a:cubicBezTo>
                  <a:cubicBezTo>
                    <a:pt x="752" y="1925"/>
                    <a:pt x="751" y="1926"/>
                    <a:pt x="751" y="1927"/>
                  </a:cubicBezTo>
                  <a:cubicBezTo>
                    <a:pt x="741" y="1956"/>
                    <a:pt x="741" y="1956"/>
                    <a:pt x="741" y="1956"/>
                  </a:cubicBezTo>
                  <a:cubicBezTo>
                    <a:pt x="740" y="1958"/>
                    <a:pt x="738" y="1960"/>
                    <a:pt x="736" y="1962"/>
                  </a:cubicBezTo>
                  <a:cubicBezTo>
                    <a:pt x="734" y="1964"/>
                    <a:pt x="731" y="1966"/>
                    <a:pt x="728" y="1967"/>
                  </a:cubicBezTo>
                  <a:cubicBezTo>
                    <a:pt x="728" y="1968"/>
                    <a:pt x="727" y="1968"/>
                    <a:pt x="727" y="1968"/>
                  </a:cubicBezTo>
                  <a:cubicBezTo>
                    <a:pt x="723" y="1970"/>
                    <a:pt x="718" y="1971"/>
                    <a:pt x="713" y="1972"/>
                  </a:cubicBezTo>
                  <a:cubicBezTo>
                    <a:pt x="713" y="1972"/>
                    <a:pt x="713" y="1972"/>
                    <a:pt x="713" y="1972"/>
                  </a:cubicBezTo>
                  <a:cubicBezTo>
                    <a:pt x="712" y="1972"/>
                    <a:pt x="711" y="1972"/>
                    <a:pt x="710" y="1972"/>
                  </a:cubicBezTo>
                  <a:cubicBezTo>
                    <a:pt x="701" y="1973"/>
                    <a:pt x="692" y="1972"/>
                    <a:pt x="682" y="1972"/>
                  </a:cubicBezTo>
                  <a:cubicBezTo>
                    <a:pt x="673" y="1973"/>
                    <a:pt x="663" y="1973"/>
                    <a:pt x="654" y="1973"/>
                  </a:cubicBezTo>
                  <a:cubicBezTo>
                    <a:pt x="647" y="1973"/>
                    <a:pt x="638" y="1971"/>
                    <a:pt x="634" y="1966"/>
                  </a:cubicBezTo>
                  <a:cubicBezTo>
                    <a:pt x="634" y="1965"/>
                    <a:pt x="634" y="1965"/>
                    <a:pt x="633" y="1965"/>
                  </a:cubicBezTo>
                  <a:cubicBezTo>
                    <a:pt x="633" y="1964"/>
                    <a:pt x="633" y="1964"/>
                    <a:pt x="633" y="1964"/>
                  </a:cubicBezTo>
                  <a:cubicBezTo>
                    <a:pt x="633" y="1963"/>
                    <a:pt x="633" y="1963"/>
                    <a:pt x="632" y="1963"/>
                  </a:cubicBezTo>
                  <a:cubicBezTo>
                    <a:pt x="632" y="1963"/>
                    <a:pt x="632" y="1962"/>
                    <a:pt x="632" y="1962"/>
                  </a:cubicBezTo>
                  <a:cubicBezTo>
                    <a:pt x="632" y="1962"/>
                    <a:pt x="632" y="1962"/>
                    <a:pt x="632" y="1962"/>
                  </a:cubicBezTo>
                  <a:cubicBezTo>
                    <a:pt x="632" y="1962"/>
                    <a:pt x="632" y="1961"/>
                    <a:pt x="632" y="1960"/>
                  </a:cubicBezTo>
                  <a:cubicBezTo>
                    <a:pt x="632" y="1959"/>
                    <a:pt x="632" y="1959"/>
                    <a:pt x="633" y="1959"/>
                  </a:cubicBezTo>
                  <a:cubicBezTo>
                    <a:pt x="633" y="1958"/>
                    <a:pt x="633" y="1957"/>
                    <a:pt x="633" y="1956"/>
                  </a:cubicBezTo>
                  <a:cubicBezTo>
                    <a:pt x="633" y="1956"/>
                    <a:pt x="633" y="1956"/>
                    <a:pt x="633" y="1956"/>
                  </a:cubicBezTo>
                  <a:cubicBezTo>
                    <a:pt x="634" y="1955"/>
                    <a:pt x="634" y="1955"/>
                    <a:pt x="634" y="1955"/>
                  </a:cubicBezTo>
                  <a:cubicBezTo>
                    <a:pt x="634" y="1954"/>
                    <a:pt x="635" y="1953"/>
                    <a:pt x="635" y="1952"/>
                  </a:cubicBezTo>
                  <a:cubicBezTo>
                    <a:pt x="639" y="1944"/>
                    <a:pt x="643" y="1936"/>
                    <a:pt x="647" y="1928"/>
                  </a:cubicBezTo>
                  <a:cubicBezTo>
                    <a:pt x="647" y="1928"/>
                    <a:pt x="647" y="1928"/>
                    <a:pt x="647" y="1928"/>
                  </a:cubicBezTo>
                  <a:close/>
                  <a:moveTo>
                    <a:pt x="527" y="1875"/>
                  </a:moveTo>
                  <a:cubicBezTo>
                    <a:pt x="528" y="1873"/>
                    <a:pt x="531" y="1870"/>
                    <a:pt x="532" y="1868"/>
                  </a:cubicBezTo>
                  <a:cubicBezTo>
                    <a:pt x="536" y="1861"/>
                    <a:pt x="541" y="1854"/>
                    <a:pt x="546" y="1848"/>
                  </a:cubicBezTo>
                  <a:cubicBezTo>
                    <a:pt x="546" y="1847"/>
                    <a:pt x="546" y="1847"/>
                    <a:pt x="547" y="1847"/>
                  </a:cubicBezTo>
                  <a:cubicBezTo>
                    <a:pt x="547" y="1847"/>
                    <a:pt x="547" y="1847"/>
                    <a:pt x="547" y="1846"/>
                  </a:cubicBezTo>
                  <a:cubicBezTo>
                    <a:pt x="561" y="1833"/>
                    <a:pt x="590" y="1837"/>
                    <a:pt x="608" y="1837"/>
                  </a:cubicBezTo>
                  <a:cubicBezTo>
                    <a:pt x="616" y="1837"/>
                    <a:pt x="626" y="1835"/>
                    <a:pt x="634" y="1839"/>
                  </a:cubicBezTo>
                  <a:cubicBezTo>
                    <a:pt x="634" y="1839"/>
                    <a:pt x="634" y="1839"/>
                    <a:pt x="634" y="1839"/>
                  </a:cubicBezTo>
                  <a:cubicBezTo>
                    <a:pt x="634" y="1839"/>
                    <a:pt x="635" y="1839"/>
                    <a:pt x="636" y="1840"/>
                  </a:cubicBezTo>
                  <a:cubicBezTo>
                    <a:pt x="636" y="1840"/>
                    <a:pt x="636" y="1840"/>
                    <a:pt x="636" y="1840"/>
                  </a:cubicBezTo>
                  <a:cubicBezTo>
                    <a:pt x="638" y="1841"/>
                    <a:pt x="639" y="1843"/>
                    <a:pt x="639" y="1844"/>
                  </a:cubicBezTo>
                  <a:cubicBezTo>
                    <a:pt x="640" y="1845"/>
                    <a:pt x="640" y="1847"/>
                    <a:pt x="639" y="1849"/>
                  </a:cubicBezTo>
                  <a:cubicBezTo>
                    <a:pt x="638" y="1850"/>
                    <a:pt x="638" y="1850"/>
                    <a:pt x="638" y="1850"/>
                  </a:cubicBezTo>
                  <a:cubicBezTo>
                    <a:pt x="637" y="1854"/>
                    <a:pt x="633" y="1858"/>
                    <a:pt x="631" y="1862"/>
                  </a:cubicBezTo>
                  <a:cubicBezTo>
                    <a:pt x="631" y="1862"/>
                    <a:pt x="631" y="1862"/>
                    <a:pt x="631" y="1862"/>
                  </a:cubicBezTo>
                  <a:cubicBezTo>
                    <a:pt x="625" y="1873"/>
                    <a:pt x="625" y="1873"/>
                    <a:pt x="625" y="1873"/>
                  </a:cubicBezTo>
                  <a:cubicBezTo>
                    <a:pt x="624" y="1874"/>
                    <a:pt x="623" y="1876"/>
                    <a:pt x="621" y="1878"/>
                  </a:cubicBezTo>
                  <a:cubicBezTo>
                    <a:pt x="618" y="1879"/>
                    <a:pt x="616" y="1881"/>
                    <a:pt x="613" y="1882"/>
                  </a:cubicBezTo>
                  <a:cubicBezTo>
                    <a:pt x="612" y="1882"/>
                    <a:pt x="611" y="1883"/>
                    <a:pt x="610" y="1883"/>
                  </a:cubicBezTo>
                  <a:cubicBezTo>
                    <a:pt x="610" y="1883"/>
                    <a:pt x="609" y="1883"/>
                    <a:pt x="609" y="1884"/>
                  </a:cubicBezTo>
                  <a:cubicBezTo>
                    <a:pt x="609" y="1884"/>
                    <a:pt x="609" y="1884"/>
                    <a:pt x="609" y="1884"/>
                  </a:cubicBezTo>
                  <a:cubicBezTo>
                    <a:pt x="607" y="1884"/>
                    <a:pt x="605" y="1885"/>
                    <a:pt x="603" y="1885"/>
                  </a:cubicBezTo>
                  <a:cubicBezTo>
                    <a:pt x="599" y="1886"/>
                    <a:pt x="596" y="1886"/>
                    <a:pt x="59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70" y="1886"/>
                    <a:pt x="557" y="1886"/>
                    <a:pt x="545" y="1886"/>
                  </a:cubicBezTo>
                  <a:cubicBezTo>
                    <a:pt x="540" y="1886"/>
                    <a:pt x="528" y="1885"/>
                    <a:pt x="527" y="1878"/>
                  </a:cubicBezTo>
                  <a:cubicBezTo>
                    <a:pt x="527" y="1877"/>
                    <a:pt x="527" y="1876"/>
                    <a:pt x="527" y="1875"/>
                  </a:cubicBezTo>
                  <a:close/>
                  <a:moveTo>
                    <a:pt x="545" y="2017"/>
                  </a:moveTo>
                  <a:cubicBezTo>
                    <a:pt x="545" y="2017"/>
                    <a:pt x="545" y="2017"/>
                    <a:pt x="545" y="2017"/>
                  </a:cubicBezTo>
                  <a:cubicBezTo>
                    <a:pt x="543" y="2024"/>
                    <a:pt x="538" y="2031"/>
                    <a:pt x="534" y="2038"/>
                  </a:cubicBezTo>
                  <a:cubicBezTo>
                    <a:pt x="534" y="2038"/>
                    <a:pt x="534" y="2038"/>
                    <a:pt x="534" y="2038"/>
                  </a:cubicBezTo>
                  <a:cubicBezTo>
                    <a:pt x="530" y="2045"/>
                    <a:pt x="527" y="2053"/>
                    <a:pt x="521" y="2060"/>
                  </a:cubicBezTo>
                  <a:cubicBezTo>
                    <a:pt x="521" y="2061"/>
                    <a:pt x="520" y="2061"/>
                    <a:pt x="520" y="2062"/>
                  </a:cubicBezTo>
                  <a:cubicBezTo>
                    <a:pt x="520" y="2062"/>
                    <a:pt x="520" y="2062"/>
                    <a:pt x="520" y="2062"/>
                  </a:cubicBezTo>
                  <a:cubicBezTo>
                    <a:pt x="519" y="2063"/>
                    <a:pt x="518" y="2064"/>
                    <a:pt x="517" y="2064"/>
                  </a:cubicBezTo>
                  <a:cubicBezTo>
                    <a:pt x="517" y="2065"/>
                    <a:pt x="517" y="2065"/>
                    <a:pt x="516" y="2065"/>
                  </a:cubicBezTo>
                  <a:cubicBezTo>
                    <a:pt x="516" y="2065"/>
                    <a:pt x="516" y="2066"/>
                    <a:pt x="516" y="2066"/>
                  </a:cubicBezTo>
                  <a:cubicBezTo>
                    <a:pt x="510" y="2071"/>
                    <a:pt x="503" y="2074"/>
                    <a:pt x="496" y="2076"/>
                  </a:cubicBezTo>
                  <a:cubicBezTo>
                    <a:pt x="495" y="2076"/>
                    <a:pt x="494" y="2076"/>
                    <a:pt x="493" y="2077"/>
                  </a:cubicBezTo>
                  <a:cubicBezTo>
                    <a:pt x="489" y="2078"/>
                    <a:pt x="484" y="2078"/>
                    <a:pt x="480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58" y="2078"/>
                    <a:pt x="439" y="2078"/>
                    <a:pt x="421" y="2079"/>
                  </a:cubicBezTo>
                  <a:cubicBezTo>
                    <a:pt x="419" y="2079"/>
                    <a:pt x="418" y="2078"/>
                    <a:pt x="416" y="2078"/>
                  </a:cubicBezTo>
                  <a:cubicBezTo>
                    <a:pt x="414" y="2078"/>
                    <a:pt x="412" y="2078"/>
                    <a:pt x="410" y="2077"/>
                  </a:cubicBezTo>
                  <a:cubicBezTo>
                    <a:pt x="406" y="2076"/>
                    <a:pt x="404" y="2074"/>
                    <a:pt x="402" y="2072"/>
                  </a:cubicBezTo>
                  <a:cubicBezTo>
                    <a:pt x="401" y="2070"/>
                    <a:pt x="400" y="2068"/>
                    <a:pt x="400" y="2066"/>
                  </a:cubicBezTo>
                  <a:cubicBezTo>
                    <a:pt x="400" y="2064"/>
                    <a:pt x="401" y="2062"/>
                    <a:pt x="402" y="2060"/>
                  </a:cubicBezTo>
                  <a:cubicBezTo>
                    <a:pt x="402" y="2059"/>
                    <a:pt x="402" y="2059"/>
                    <a:pt x="403" y="2059"/>
                  </a:cubicBezTo>
                  <a:cubicBezTo>
                    <a:pt x="403" y="2058"/>
                    <a:pt x="403" y="2058"/>
                    <a:pt x="403" y="2058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9" y="2050"/>
                    <a:pt x="413" y="2043"/>
                    <a:pt x="418" y="2035"/>
                  </a:cubicBezTo>
                  <a:cubicBezTo>
                    <a:pt x="422" y="2030"/>
                    <a:pt x="425" y="2024"/>
                    <a:pt x="430" y="2019"/>
                  </a:cubicBezTo>
                  <a:cubicBezTo>
                    <a:pt x="430" y="2018"/>
                    <a:pt x="431" y="2018"/>
                    <a:pt x="431" y="2017"/>
                  </a:cubicBezTo>
                  <a:cubicBezTo>
                    <a:pt x="431" y="2017"/>
                    <a:pt x="432" y="2017"/>
                    <a:pt x="432" y="2017"/>
                  </a:cubicBezTo>
                  <a:cubicBezTo>
                    <a:pt x="433" y="2016"/>
                    <a:pt x="434" y="2015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41" y="2009"/>
                    <a:pt x="449" y="2006"/>
                    <a:pt x="457" y="2004"/>
                  </a:cubicBezTo>
                  <a:cubicBezTo>
                    <a:pt x="457" y="2004"/>
                    <a:pt x="457" y="2004"/>
                    <a:pt x="457" y="2004"/>
                  </a:cubicBezTo>
                  <a:cubicBezTo>
                    <a:pt x="457" y="2004"/>
                    <a:pt x="458" y="2004"/>
                    <a:pt x="458" y="2004"/>
                  </a:cubicBezTo>
                  <a:cubicBezTo>
                    <a:pt x="459" y="2004"/>
                    <a:pt x="461" y="2004"/>
                    <a:pt x="462" y="2004"/>
                  </a:cubicBezTo>
                  <a:cubicBezTo>
                    <a:pt x="463" y="2003"/>
                    <a:pt x="464" y="2003"/>
                    <a:pt x="465" y="2003"/>
                  </a:cubicBezTo>
                  <a:cubicBezTo>
                    <a:pt x="466" y="2003"/>
                    <a:pt x="467" y="2003"/>
                    <a:pt x="468" y="2003"/>
                  </a:cubicBezTo>
                  <a:cubicBezTo>
                    <a:pt x="468" y="2003"/>
                    <a:pt x="469" y="2003"/>
                    <a:pt x="470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88" y="2003"/>
                    <a:pt x="504" y="2003"/>
                    <a:pt x="521" y="2003"/>
                  </a:cubicBezTo>
                  <a:cubicBezTo>
                    <a:pt x="521" y="2003"/>
                    <a:pt x="521" y="2003"/>
                    <a:pt x="521" y="2003"/>
                  </a:cubicBezTo>
                  <a:cubicBezTo>
                    <a:pt x="524" y="2003"/>
                    <a:pt x="524" y="2003"/>
                    <a:pt x="524" y="2003"/>
                  </a:cubicBezTo>
                  <a:cubicBezTo>
                    <a:pt x="528" y="2003"/>
                    <a:pt x="532" y="2003"/>
                    <a:pt x="535" y="2004"/>
                  </a:cubicBezTo>
                  <a:cubicBezTo>
                    <a:pt x="536" y="2004"/>
                    <a:pt x="536" y="2005"/>
                    <a:pt x="537" y="2005"/>
                  </a:cubicBezTo>
                  <a:cubicBezTo>
                    <a:pt x="537" y="2005"/>
                    <a:pt x="538" y="2005"/>
                    <a:pt x="538" y="2006"/>
                  </a:cubicBezTo>
                  <a:cubicBezTo>
                    <a:pt x="538" y="2006"/>
                    <a:pt x="539" y="2006"/>
                    <a:pt x="539" y="2006"/>
                  </a:cubicBezTo>
                  <a:cubicBezTo>
                    <a:pt x="543" y="2008"/>
                    <a:pt x="546" y="2012"/>
                    <a:pt x="545" y="2017"/>
                  </a:cubicBezTo>
                  <a:close/>
                  <a:moveTo>
                    <a:pt x="579" y="1956"/>
                  </a:move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8" y="1957"/>
                    <a:pt x="578" y="1958"/>
                    <a:pt x="577" y="1959"/>
                  </a:cubicBezTo>
                  <a:cubicBezTo>
                    <a:pt x="577" y="1959"/>
                    <a:pt x="577" y="1960"/>
                    <a:pt x="577" y="1960"/>
                  </a:cubicBezTo>
                  <a:cubicBezTo>
                    <a:pt x="572" y="1964"/>
                    <a:pt x="566" y="1968"/>
                    <a:pt x="560" y="1970"/>
                  </a:cubicBezTo>
                  <a:cubicBezTo>
                    <a:pt x="560" y="1970"/>
                    <a:pt x="560" y="1970"/>
                    <a:pt x="560" y="1970"/>
                  </a:cubicBezTo>
                  <a:cubicBezTo>
                    <a:pt x="559" y="1970"/>
                    <a:pt x="558" y="1970"/>
                    <a:pt x="557" y="1971"/>
                  </a:cubicBezTo>
                  <a:cubicBezTo>
                    <a:pt x="556" y="1971"/>
                    <a:pt x="556" y="1971"/>
                    <a:pt x="555" y="1971"/>
                  </a:cubicBezTo>
                  <a:cubicBezTo>
                    <a:pt x="554" y="1971"/>
                    <a:pt x="554" y="1971"/>
                    <a:pt x="553" y="1971"/>
                  </a:cubicBezTo>
                  <a:cubicBezTo>
                    <a:pt x="550" y="1972"/>
                    <a:pt x="546" y="1973"/>
                    <a:pt x="542" y="1973"/>
                  </a:cubicBezTo>
                  <a:cubicBezTo>
                    <a:pt x="541" y="1973"/>
                    <a:pt x="541" y="1973"/>
                    <a:pt x="541" y="1973"/>
                  </a:cubicBezTo>
                  <a:cubicBezTo>
                    <a:pt x="534" y="1973"/>
                    <a:pt x="527" y="1973"/>
                    <a:pt x="520" y="1973"/>
                  </a:cubicBezTo>
                  <a:cubicBezTo>
                    <a:pt x="510" y="1973"/>
                    <a:pt x="499" y="1973"/>
                    <a:pt x="489" y="1973"/>
                  </a:cubicBezTo>
                  <a:cubicBezTo>
                    <a:pt x="488" y="1973"/>
                    <a:pt x="486" y="1973"/>
                    <a:pt x="484" y="1973"/>
                  </a:cubicBezTo>
                  <a:cubicBezTo>
                    <a:pt x="484" y="1973"/>
                    <a:pt x="484" y="1973"/>
                    <a:pt x="483" y="1973"/>
                  </a:cubicBezTo>
                  <a:cubicBezTo>
                    <a:pt x="482" y="1972"/>
                    <a:pt x="480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4" y="1970"/>
                    <a:pt x="470" y="1968"/>
                    <a:pt x="470" y="1963"/>
                  </a:cubicBezTo>
                  <a:cubicBezTo>
                    <a:pt x="470" y="1962"/>
                    <a:pt x="470" y="1961"/>
                    <a:pt x="470" y="1960"/>
                  </a:cubicBezTo>
                  <a:cubicBezTo>
                    <a:pt x="470" y="1960"/>
                    <a:pt x="470" y="1959"/>
                    <a:pt x="471" y="1959"/>
                  </a:cubicBezTo>
                  <a:cubicBezTo>
                    <a:pt x="471" y="1958"/>
                    <a:pt x="471" y="1957"/>
                    <a:pt x="472" y="1957"/>
                  </a:cubicBezTo>
                  <a:cubicBezTo>
                    <a:pt x="472" y="1957"/>
                    <a:pt x="472" y="1956"/>
                    <a:pt x="472" y="1956"/>
                  </a:cubicBezTo>
                  <a:cubicBezTo>
                    <a:pt x="472" y="1956"/>
                    <a:pt x="472" y="1956"/>
                    <a:pt x="472" y="1956"/>
                  </a:cubicBezTo>
                  <a:cubicBezTo>
                    <a:pt x="473" y="1955"/>
                    <a:pt x="474" y="1954"/>
                    <a:pt x="474" y="1953"/>
                  </a:cubicBezTo>
                  <a:cubicBezTo>
                    <a:pt x="479" y="1945"/>
                    <a:pt x="485" y="1938"/>
                    <a:pt x="490" y="1930"/>
                  </a:cubicBezTo>
                  <a:cubicBezTo>
                    <a:pt x="490" y="1930"/>
                    <a:pt x="490" y="1930"/>
                    <a:pt x="490" y="1930"/>
                  </a:cubicBezTo>
                  <a:cubicBezTo>
                    <a:pt x="492" y="1927"/>
                    <a:pt x="492" y="1927"/>
                    <a:pt x="492" y="1927"/>
                  </a:cubicBezTo>
                  <a:cubicBezTo>
                    <a:pt x="493" y="1925"/>
                    <a:pt x="495" y="1923"/>
                    <a:pt x="498" y="1921"/>
                  </a:cubicBezTo>
                  <a:cubicBezTo>
                    <a:pt x="499" y="1920"/>
                    <a:pt x="501" y="1919"/>
                    <a:pt x="503" y="1918"/>
                  </a:cubicBezTo>
                  <a:cubicBezTo>
                    <a:pt x="504" y="1918"/>
                    <a:pt x="505" y="1917"/>
                    <a:pt x="506" y="1917"/>
                  </a:cubicBezTo>
                  <a:cubicBezTo>
                    <a:pt x="506" y="1917"/>
                    <a:pt x="506" y="1917"/>
                    <a:pt x="507" y="1917"/>
                  </a:cubicBezTo>
                  <a:cubicBezTo>
                    <a:pt x="507" y="1917"/>
                    <a:pt x="507" y="1916"/>
                    <a:pt x="507" y="1916"/>
                  </a:cubicBezTo>
                  <a:cubicBezTo>
                    <a:pt x="508" y="1916"/>
                    <a:pt x="508" y="1916"/>
                    <a:pt x="508" y="1916"/>
                  </a:cubicBezTo>
                  <a:cubicBezTo>
                    <a:pt x="511" y="1915"/>
                    <a:pt x="514" y="1914"/>
                    <a:pt x="517" y="1913"/>
                  </a:cubicBezTo>
                  <a:cubicBezTo>
                    <a:pt x="521" y="1913"/>
                    <a:pt x="525" y="1912"/>
                    <a:pt x="528" y="1912"/>
                  </a:cubicBezTo>
                  <a:cubicBezTo>
                    <a:pt x="538" y="1912"/>
                    <a:pt x="538" y="1912"/>
                    <a:pt x="538" y="1912"/>
                  </a:cubicBezTo>
                  <a:cubicBezTo>
                    <a:pt x="541" y="1912"/>
                    <a:pt x="543" y="1912"/>
                    <a:pt x="545" y="1912"/>
                  </a:cubicBezTo>
                  <a:cubicBezTo>
                    <a:pt x="555" y="1912"/>
                    <a:pt x="564" y="1912"/>
                    <a:pt x="573" y="1912"/>
                  </a:cubicBezTo>
                  <a:cubicBezTo>
                    <a:pt x="573" y="1912"/>
                    <a:pt x="573" y="1912"/>
                    <a:pt x="573" y="1912"/>
                  </a:cubicBezTo>
                  <a:cubicBezTo>
                    <a:pt x="577" y="1912"/>
                    <a:pt x="577" y="1912"/>
                    <a:pt x="577" y="1912"/>
                  </a:cubicBezTo>
                  <a:cubicBezTo>
                    <a:pt x="581" y="1912"/>
                    <a:pt x="584" y="1913"/>
                    <a:pt x="587" y="1913"/>
                  </a:cubicBezTo>
                  <a:cubicBezTo>
                    <a:pt x="589" y="1914"/>
                    <a:pt x="590" y="1915"/>
                    <a:pt x="592" y="1915"/>
                  </a:cubicBezTo>
                  <a:cubicBezTo>
                    <a:pt x="596" y="1918"/>
                    <a:pt x="599" y="1921"/>
                    <a:pt x="595" y="1927"/>
                  </a:cubicBezTo>
                  <a:cubicBezTo>
                    <a:pt x="592" y="1934"/>
                    <a:pt x="588" y="1941"/>
                    <a:pt x="584" y="1948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lose/>
                  <a:moveTo>
                    <a:pt x="1064" y="2056"/>
                  </a:moveTo>
                  <a:cubicBezTo>
                    <a:pt x="1064" y="2057"/>
                    <a:pt x="1064" y="2059"/>
                    <a:pt x="1064" y="2060"/>
                  </a:cubicBezTo>
                  <a:cubicBezTo>
                    <a:pt x="1064" y="2060"/>
                    <a:pt x="1064" y="2060"/>
                    <a:pt x="1064" y="2061"/>
                  </a:cubicBezTo>
                  <a:cubicBezTo>
                    <a:pt x="1063" y="2062"/>
                    <a:pt x="1063" y="2063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1" y="2065"/>
                    <a:pt x="1060" y="2066"/>
                    <a:pt x="1059" y="2067"/>
                  </a:cubicBezTo>
                  <a:cubicBezTo>
                    <a:pt x="1059" y="2067"/>
                    <a:pt x="1059" y="2067"/>
                    <a:pt x="1059" y="2068"/>
                  </a:cubicBezTo>
                  <a:cubicBezTo>
                    <a:pt x="1058" y="2069"/>
                    <a:pt x="1057" y="2069"/>
                    <a:pt x="1056" y="2070"/>
                  </a:cubicBezTo>
                  <a:cubicBezTo>
                    <a:pt x="1056" y="2070"/>
                    <a:pt x="1055" y="2071"/>
                    <a:pt x="1055" y="2071"/>
                  </a:cubicBezTo>
                  <a:cubicBezTo>
                    <a:pt x="1055" y="2071"/>
                    <a:pt x="1055" y="2071"/>
                    <a:pt x="1055" y="2071"/>
                  </a:cubicBezTo>
                  <a:cubicBezTo>
                    <a:pt x="1053" y="2072"/>
                    <a:pt x="1052" y="2072"/>
                    <a:pt x="1051" y="2073"/>
                  </a:cubicBezTo>
                  <a:cubicBezTo>
                    <a:pt x="1051" y="2073"/>
                    <a:pt x="1051" y="2073"/>
                    <a:pt x="1050" y="2073"/>
                  </a:cubicBezTo>
                  <a:cubicBezTo>
                    <a:pt x="1049" y="2074"/>
                    <a:pt x="1048" y="2074"/>
                    <a:pt x="1047" y="2074"/>
                  </a:cubicBezTo>
                  <a:cubicBezTo>
                    <a:pt x="1047" y="2075"/>
                    <a:pt x="1046" y="2075"/>
                    <a:pt x="1046" y="2075"/>
                  </a:cubicBezTo>
                  <a:cubicBezTo>
                    <a:pt x="1046" y="2075"/>
                    <a:pt x="1045" y="2075"/>
                    <a:pt x="1045" y="2075"/>
                  </a:cubicBezTo>
                  <a:cubicBezTo>
                    <a:pt x="1045" y="2075"/>
                    <a:pt x="1045" y="2075"/>
                    <a:pt x="1044" y="2075"/>
                  </a:cubicBezTo>
                  <a:cubicBezTo>
                    <a:pt x="1043" y="2076"/>
                    <a:pt x="1042" y="2076"/>
                    <a:pt x="1041" y="2076"/>
                  </a:cubicBezTo>
                  <a:cubicBezTo>
                    <a:pt x="1039" y="2076"/>
                    <a:pt x="1038" y="2076"/>
                    <a:pt x="1037" y="2077"/>
                  </a:cubicBezTo>
                  <a:cubicBezTo>
                    <a:pt x="1036" y="2077"/>
                    <a:pt x="1035" y="2077"/>
                    <a:pt x="1034" y="2077"/>
                  </a:cubicBezTo>
                  <a:cubicBezTo>
                    <a:pt x="1033" y="2077"/>
                    <a:pt x="1033" y="2077"/>
                    <a:pt x="1033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25" y="2077"/>
                    <a:pt x="1018" y="2077"/>
                    <a:pt x="1011" y="2077"/>
                  </a:cubicBezTo>
                  <a:cubicBezTo>
                    <a:pt x="981" y="2077"/>
                    <a:pt x="630" y="2078"/>
                    <a:pt x="605" y="2078"/>
                  </a:cubicBezTo>
                  <a:cubicBezTo>
                    <a:pt x="604" y="2078"/>
                    <a:pt x="602" y="2078"/>
                    <a:pt x="600" y="2078"/>
                  </a:cubicBezTo>
                  <a:cubicBezTo>
                    <a:pt x="598" y="2077"/>
                    <a:pt x="596" y="2077"/>
                    <a:pt x="594" y="2076"/>
                  </a:cubicBezTo>
                  <a:cubicBezTo>
                    <a:pt x="590" y="2075"/>
                    <a:pt x="588" y="2074"/>
                    <a:pt x="586" y="2072"/>
                  </a:cubicBezTo>
                  <a:cubicBezTo>
                    <a:pt x="584" y="2070"/>
                    <a:pt x="583" y="2068"/>
                    <a:pt x="582" y="2065"/>
                  </a:cubicBezTo>
                  <a:cubicBezTo>
                    <a:pt x="582" y="2063"/>
                    <a:pt x="582" y="2060"/>
                    <a:pt x="584" y="2057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8" y="2048"/>
                    <a:pt x="592" y="2040"/>
                    <a:pt x="596" y="2031"/>
                  </a:cubicBezTo>
                  <a:cubicBezTo>
                    <a:pt x="597" y="2030"/>
                    <a:pt x="598" y="2029"/>
                    <a:pt x="598" y="2027"/>
                  </a:cubicBezTo>
                  <a:cubicBezTo>
                    <a:pt x="601" y="2021"/>
                    <a:pt x="601" y="2021"/>
                    <a:pt x="601" y="2021"/>
                  </a:cubicBezTo>
                  <a:cubicBezTo>
                    <a:pt x="603" y="2018"/>
                    <a:pt x="605" y="2016"/>
                    <a:pt x="607" y="2014"/>
                  </a:cubicBezTo>
                  <a:cubicBezTo>
                    <a:pt x="608" y="2013"/>
                    <a:pt x="609" y="2013"/>
                    <a:pt x="609" y="2012"/>
                  </a:cubicBezTo>
                  <a:cubicBezTo>
                    <a:pt x="610" y="2012"/>
                    <a:pt x="610" y="2012"/>
                    <a:pt x="610" y="2011"/>
                  </a:cubicBezTo>
                  <a:cubicBezTo>
                    <a:pt x="611" y="2011"/>
                    <a:pt x="612" y="2011"/>
                    <a:pt x="612" y="2010"/>
                  </a:cubicBezTo>
                  <a:cubicBezTo>
                    <a:pt x="612" y="2010"/>
                    <a:pt x="612" y="2010"/>
                    <a:pt x="613" y="2010"/>
                  </a:cubicBezTo>
                  <a:cubicBezTo>
                    <a:pt x="613" y="2010"/>
                    <a:pt x="613" y="2010"/>
                    <a:pt x="614" y="2009"/>
                  </a:cubicBezTo>
                  <a:cubicBezTo>
                    <a:pt x="615" y="2009"/>
                    <a:pt x="616" y="2008"/>
                    <a:pt x="617" y="2008"/>
                  </a:cubicBezTo>
                  <a:cubicBezTo>
                    <a:pt x="617" y="2008"/>
                    <a:pt x="618" y="2007"/>
                    <a:pt x="618" y="2007"/>
                  </a:cubicBezTo>
                  <a:cubicBezTo>
                    <a:pt x="619" y="2007"/>
                    <a:pt x="620" y="2007"/>
                    <a:pt x="621" y="2006"/>
                  </a:cubicBezTo>
                  <a:cubicBezTo>
                    <a:pt x="622" y="2006"/>
                    <a:pt x="623" y="2005"/>
                    <a:pt x="625" y="2005"/>
                  </a:cubicBezTo>
                  <a:cubicBezTo>
                    <a:pt x="625" y="2005"/>
                    <a:pt x="626" y="2004"/>
                    <a:pt x="627" y="2004"/>
                  </a:cubicBezTo>
                  <a:cubicBezTo>
                    <a:pt x="627" y="2004"/>
                    <a:pt x="628" y="2004"/>
                    <a:pt x="628" y="2004"/>
                  </a:cubicBezTo>
                  <a:cubicBezTo>
                    <a:pt x="632" y="2003"/>
                    <a:pt x="636" y="2002"/>
                    <a:pt x="640" y="2002"/>
                  </a:cubicBezTo>
                  <a:cubicBezTo>
                    <a:pt x="640" y="2002"/>
                    <a:pt x="1008" y="2001"/>
                    <a:pt x="1021" y="2001"/>
                  </a:cubicBezTo>
                  <a:cubicBezTo>
                    <a:pt x="1026" y="2001"/>
                    <a:pt x="1030" y="2001"/>
                    <a:pt x="1034" y="2001"/>
                  </a:cubicBezTo>
                  <a:cubicBezTo>
                    <a:pt x="1036" y="2001"/>
                    <a:pt x="1038" y="2002"/>
                    <a:pt x="1040" y="2002"/>
                  </a:cubicBezTo>
                  <a:cubicBezTo>
                    <a:pt x="1040" y="2002"/>
                    <a:pt x="1040" y="2002"/>
                    <a:pt x="1041" y="2002"/>
                  </a:cubicBezTo>
                  <a:cubicBezTo>
                    <a:pt x="1042" y="2002"/>
                    <a:pt x="1044" y="2002"/>
                    <a:pt x="1045" y="2003"/>
                  </a:cubicBezTo>
                  <a:cubicBezTo>
                    <a:pt x="1045" y="2003"/>
                    <a:pt x="1046" y="2003"/>
                    <a:pt x="1046" y="2003"/>
                  </a:cubicBezTo>
                  <a:cubicBezTo>
                    <a:pt x="1046" y="2003"/>
                    <a:pt x="1046" y="2003"/>
                    <a:pt x="1046" y="2003"/>
                  </a:cubicBezTo>
                  <a:cubicBezTo>
                    <a:pt x="1048" y="2003"/>
                    <a:pt x="1049" y="2004"/>
                    <a:pt x="1050" y="2004"/>
                  </a:cubicBezTo>
                  <a:cubicBezTo>
                    <a:pt x="1050" y="2004"/>
                    <a:pt x="1051" y="2005"/>
                    <a:pt x="1051" y="2005"/>
                  </a:cubicBezTo>
                  <a:cubicBezTo>
                    <a:pt x="1052" y="2005"/>
                    <a:pt x="1053" y="2006"/>
                    <a:pt x="1054" y="2006"/>
                  </a:cubicBezTo>
                  <a:cubicBezTo>
                    <a:pt x="1055" y="2006"/>
                    <a:pt x="1055" y="2007"/>
                    <a:pt x="1055" y="2007"/>
                  </a:cubicBezTo>
                  <a:cubicBezTo>
                    <a:pt x="1055" y="2007"/>
                    <a:pt x="1055" y="2007"/>
                    <a:pt x="1056" y="2007"/>
                  </a:cubicBezTo>
                  <a:cubicBezTo>
                    <a:pt x="1056" y="2008"/>
                    <a:pt x="1057" y="2008"/>
                    <a:pt x="1058" y="2009"/>
                  </a:cubicBezTo>
                  <a:cubicBezTo>
                    <a:pt x="1059" y="2010"/>
                    <a:pt x="1061" y="2011"/>
                    <a:pt x="1061" y="2013"/>
                  </a:cubicBezTo>
                  <a:cubicBezTo>
                    <a:pt x="1063" y="2015"/>
                    <a:pt x="1064" y="2017"/>
                    <a:pt x="1064" y="2020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31"/>
                    <a:pt x="1064" y="2040"/>
                    <a:pt x="1064" y="2049"/>
                  </a:cubicBezTo>
                  <a:cubicBezTo>
                    <a:pt x="1064" y="2051"/>
                    <a:pt x="1064" y="2054"/>
                    <a:pt x="1064" y="2056"/>
                  </a:cubicBezTo>
                  <a:close/>
                  <a:moveTo>
                    <a:pt x="1114" y="1878"/>
                  </a:moveTo>
                  <a:cubicBezTo>
                    <a:pt x="1114" y="1878"/>
                    <a:pt x="1114" y="1877"/>
                    <a:pt x="1113" y="1877"/>
                  </a:cubicBezTo>
                  <a:cubicBezTo>
                    <a:pt x="1113" y="1877"/>
                    <a:pt x="1113" y="1877"/>
                    <a:pt x="1113" y="1877"/>
                  </a:cubicBezTo>
                  <a:cubicBezTo>
                    <a:pt x="1112" y="1875"/>
                    <a:pt x="1111" y="1873"/>
                    <a:pt x="1111" y="1871"/>
                  </a:cubicBezTo>
                  <a:cubicBezTo>
                    <a:pt x="1111" y="1870"/>
                    <a:pt x="1111" y="1870"/>
                    <a:pt x="1111" y="1870"/>
                  </a:cubicBezTo>
                  <a:cubicBezTo>
                    <a:pt x="1110" y="1868"/>
                    <a:pt x="1110" y="1867"/>
                    <a:pt x="1110" y="1866"/>
                  </a:cubicBezTo>
                  <a:cubicBezTo>
                    <a:pt x="1110" y="1866"/>
                    <a:pt x="1110" y="1866"/>
                    <a:pt x="1110" y="1866"/>
                  </a:cubicBezTo>
                  <a:cubicBezTo>
                    <a:pt x="1110" y="1861"/>
                    <a:pt x="1109" y="1855"/>
                    <a:pt x="1109" y="1849"/>
                  </a:cubicBezTo>
                  <a:cubicBezTo>
                    <a:pt x="1109" y="1848"/>
                    <a:pt x="1109" y="1848"/>
                    <a:pt x="1109" y="1848"/>
                  </a:cubicBezTo>
                  <a:cubicBezTo>
                    <a:pt x="1109" y="1846"/>
                    <a:pt x="1109" y="1844"/>
                    <a:pt x="1110" y="1843"/>
                  </a:cubicBezTo>
                  <a:cubicBezTo>
                    <a:pt x="1112" y="1841"/>
                    <a:pt x="1113" y="1840"/>
                    <a:pt x="1115" y="1839"/>
                  </a:cubicBezTo>
                  <a:cubicBezTo>
                    <a:pt x="1118" y="1838"/>
                    <a:pt x="1120" y="1837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4" y="1836"/>
                    <a:pt x="1125" y="1836"/>
                    <a:pt x="1126" y="1836"/>
                  </a:cubicBezTo>
                  <a:cubicBezTo>
                    <a:pt x="1127" y="1836"/>
                    <a:pt x="1127" y="1836"/>
                    <a:pt x="1128" y="1836"/>
                  </a:cubicBezTo>
                  <a:cubicBezTo>
                    <a:pt x="1133" y="1835"/>
                    <a:pt x="1138" y="1835"/>
                    <a:pt x="1143" y="1835"/>
                  </a:cubicBezTo>
                  <a:cubicBezTo>
                    <a:pt x="1176" y="1835"/>
                    <a:pt x="1176" y="1835"/>
                    <a:pt x="1176" y="1835"/>
                  </a:cubicBezTo>
                  <a:cubicBezTo>
                    <a:pt x="1178" y="1835"/>
                    <a:pt x="1180" y="1835"/>
                    <a:pt x="1182" y="1836"/>
                  </a:cubicBezTo>
                  <a:cubicBezTo>
                    <a:pt x="1191" y="1837"/>
                    <a:pt x="1201" y="1839"/>
                    <a:pt x="1203" y="1848"/>
                  </a:cubicBezTo>
                  <a:cubicBezTo>
                    <a:pt x="1205" y="1855"/>
                    <a:pt x="1206" y="1863"/>
                    <a:pt x="1207" y="1870"/>
                  </a:cubicBezTo>
                  <a:cubicBezTo>
                    <a:pt x="1207" y="1871"/>
                    <a:pt x="1207" y="1871"/>
                    <a:pt x="1207" y="1871"/>
                  </a:cubicBezTo>
                  <a:cubicBezTo>
                    <a:pt x="1208" y="1873"/>
                    <a:pt x="1207" y="1874"/>
                    <a:pt x="1207" y="1876"/>
                  </a:cubicBezTo>
                  <a:cubicBezTo>
                    <a:pt x="1207" y="1876"/>
                    <a:pt x="1207" y="1876"/>
                    <a:pt x="1206" y="1876"/>
                  </a:cubicBezTo>
                  <a:cubicBezTo>
                    <a:pt x="1206" y="1876"/>
                    <a:pt x="1206" y="1876"/>
                    <a:pt x="1206" y="1876"/>
                  </a:cubicBezTo>
                  <a:cubicBezTo>
                    <a:pt x="1206" y="1877"/>
                    <a:pt x="1206" y="1877"/>
                    <a:pt x="1206" y="1877"/>
                  </a:cubicBezTo>
                  <a:cubicBezTo>
                    <a:pt x="1204" y="1880"/>
                    <a:pt x="1200" y="1882"/>
                    <a:pt x="1195" y="1883"/>
                  </a:cubicBezTo>
                  <a:cubicBezTo>
                    <a:pt x="1195" y="1883"/>
                    <a:pt x="1195" y="1884"/>
                    <a:pt x="1194" y="1884"/>
                  </a:cubicBezTo>
                  <a:cubicBezTo>
                    <a:pt x="1194" y="1884"/>
                    <a:pt x="1193" y="1884"/>
                    <a:pt x="1193" y="1884"/>
                  </a:cubicBezTo>
                  <a:cubicBezTo>
                    <a:pt x="1192" y="1884"/>
                    <a:pt x="1192" y="1884"/>
                    <a:pt x="1192" y="1884"/>
                  </a:cubicBezTo>
                  <a:cubicBezTo>
                    <a:pt x="1191" y="1884"/>
                    <a:pt x="1190" y="1884"/>
                    <a:pt x="1189" y="1885"/>
                  </a:cubicBezTo>
                  <a:cubicBezTo>
                    <a:pt x="1178" y="1886"/>
                    <a:pt x="1164" y="1885"/>
                    <a:pt x="1158" y="1885"/>
                  </a:cubicBezTo>
                  <a:cubicBezTo>
                    <a:pt x="1137" y="1885"/>
                    <a:pt x="1137" y="1885"/>
                    <a:pt x="1137" y="1885"/>
                  </a:cubicBezTo>
                  <a:cubicBezTo>
                    <a:pt x="1135" y="1885"/>
                    <a:pt x="1134" y="1885"/>
                    <a:pt x="1132" y="1885"/>
                  </a:cubicBezTo>
                  <a:cubicBezTo>
                    <a:pt x="1131" y="1884"/>
                    <a:pt x="1130" y="1884"/>
                    <a:pt x="1128" y="1884"/>
                  </a:cubicBezTo>
                  <a:cubicBezTo>
                    <a:pt x="1128" y="1884"/>
                    <a:pt x="1128" y="1884"/>
                    <a:pt x="1127" y="1884"/>
                  </a:cubicBezTo>
                  <a:cubicBezTo>
                    <a:pt x="1127" y="1884"/>
                    <a:pt x="1127" y="1884"/>
                    <a:pt x="1127" y="1884"/>
                  </a:cubicBezTo>
                  <a:cubicBezTo>
                    <a:pt x="1126" y="1883"/>
                    <a:pt x="1125" y="1883"/>
                    <a:pt x="1123" y="1883"/>
                  </a:cubicBezTo>
                  <a:cubicBezTo>
                    <a:pt x="1123" y="1883"/>
                    <a:pt x="1122" y="1882"/>
                    <a:pt x="1122" y="1882"/>
                  </a:cubicBezTo>
                  <a:cubicBezTo>
                    <a:pt x="1121" y="1882"/>
                    <a:pt x="1120" y="1881"/>
                    <a:pt x="1119" y="1881"/>
                  </a:cubicBezTo>
                  <a:cubicBezTo>
                    <a:pt x="1117" y="1880"/>
                    <a:pt x="1116" y="1879"/>
                    <a:pt x="1115" y="1878"/>
                  </a:cubicBezTo>
                  <a:cubicBezTo>
                    <a:pt x="1115" y="1878"/>
                    <a:pt x="1114" y="1878"/>
                    <a:pt x="1114" y="1878"/>
                  </a:cubicBezTo>
                  <a:close/>
                  <a:moveTo>
                    <a:pt x="1120" y="1961"/>
                  </a:moveTo>
                  <a:cubicBezTo>
                    <a:pt x="1118" y="1959"/>
                    <a:pt x="1117" y="1957"/>
                    <a:pt x="1117" y="1955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6" y="1943"/>
                    <a:pt x="1116" y="1935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5"/>
                    <a:pt x="1115" y="1925"/>
                    <a:pt x="1115" y="1924"/>
                  </a:cubicBezTo>
                  <a:cubicBezTo>
                    <a:pt x="1117" y="1906"/>
                    <a:pt x="1155" y="1911"/>
                    <a:pt x="1167" y="1911"/>
                  </a:cubicBezTo>
                  <a:cubicBezTo>
                    <a:pt x="1181" y="1911"/>
                    <a:pt x="1208" y="1907"/>
                    <a:pt x="1216" y="1921"/>
                  </a:cubicBezTo>
                  <a:cubicBezTo>
                    <a:pt x="1217" y="1923"/>
                    <a:pt x="1218" y="1924"/>
                    <a:pt x="1218" y="1925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31"/>
                    <a:pt x="1220" y="1936"/>
                    <a:pt x="1221" y="1940"/>
                  </a:cubicBezTo>
                  <a:cubicBezTo>
                    <a:pt x="1224" y="1955"/>
                    <a:pt x="1224" y="1955"/>
                    <a:pt x="1224" y="1955"/>
                  </a:cubicBezTo>
                  <a:cubicBezTo>
                    <a:pt x="1225" y="1957"/>
                    <a:pt x="1224" y="1959"/>
                    <a:pt x="1223" y="1961"/>
                  </a:cubicBezTo>
                  <a:cubicBezTo>
                    <a:pt x="1223" y="1962"/>
                    <a:pt x="1222" y="1963"/>
                    <a:pt x="1220" y="1964"/>
                  </a:cubicBezTo>
                  <a:cubicBezTo>
                    <a:pt x="1220" y="1965"/>
                    <a:pt x="1219" y="1965"/>
                    <a:pt x="1219" y="1966"/>
                  </a:cubicBezTo>
                  <a:cubicBezTo>
                    <a:pt x="1219" y="1966"/>
                    <a:pt x="1218" y="1966"/>
                    <a:pt x="1218" y="1966"/>
                  </a:cubicBezTo>
                  <a:cubicBezTo>
                    <a:pt x="1218" y="1966"/>
                    <a:pt x="1218" y="1966"/>
                    <a:pt x="1218" y="1967"/>
                  </a:cubicBezTo>
                  <a:cubicBezTo>
                    <a:pt x="1217" y="1967"/>
                    <a:pt x="1216" y="1967"/>
                    <a:pt x="1215" y="1968"/>
                  </a:cubicBezTo>
                  <a:cubicBezTo>
                    <a:pt x="1215" y="1968"/>
                    <a:pt x="1214" y="1968"/>
                    <a:pt x="1213" y="1969"/>
                  </a:cubicBezTo>
                  <a:cubicBezTo>
                    <a:pt x="1213" y="1969"/>
                    <a:pt x="1212" y="1969"/>
                    <a:pt x="1212" y="1969"/>
                  </a:cubicBezTo>
                  <a:cubicBezTo>
                    <a:pt x="1211" y="1969"/>
                    <a:pt x="1211" y="1970"/>
                    <a:pt x="1210" y="1970"/>
                  </a:cubicBezTo>
                  <a:cubicBezTo>
                    <a:pt x="1209" y="1970"/>
                    <a:pt x="1209" y="1970"/>
                    <a:pt x="1208" y="1970"/>
                  </a:cubicBezTo>
                  <a:cubicBezTo>
                    <a:pt x="1208" y="1970"/>
                    <a:pt x="1207" y="1970"/>
                    <a:pt x="1207" y="1970"/>
                  </a:cubicBezTo>
                  <a:cubicBezTo>
                    <a:pt x="1206" y="1971"/>
                    <a:pt x="1205" y="1971"/>
                    <a:pt x="1204" y="1971"/>
                  </a:cubicBezTo>
                  <a:cubicBezTo>
                    <a:pt x="1202" y="1971"/>
                    <a:pt x="1201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81" y="1971"/>
                    <a:pt x="1164" y="1971"/>
                    <a:pt x="1147" y="1971"/>
                  </a:cubicBezTo>
                  <a:cubicBezTo>
                    <a:pt x="1145" y="1971"/>
                    <a:pt x="1143" y="1971"/>
                    <a:pt x="1141" y="1971"/>
                  </a:cubicBezTo>
                  <a:cubicBezTo>
                    <a:pt x="1141" y="1971"/>
                    <a:pt x="1140" y="1971"/>
                    <a:pt x="1140" y="1971"/>
                  </a:cubicBezTo>
                  <a:cubicBezTo>
                    <a:pt x="1139" y="1971"/>
                    <a:pt x="1137" y="1970"/>
                    <a:pt x="1136" y="1970"/>
                  </a:cubicBezTo>
                  <a:cubicBezTo>
                    <a:pt x="1136" y="1970"/>
                    <a:pt x="1136" y="1970"/>
                    <a:pt x="1136" y="1970"/>
                  </a:cubicBezTo>
                  <a:cubicBezTo>
                    <a:pt x="1135" y="1970"/>
                    <a:pt x="1135" y="1970"/>
                    <a:pt x="1135" y="1970"/>
                  </a:cubicBezTo>
                  <a:cubicBezTo>
                    <a:pt x="1134" y="1969"/>
                    <a:pt x="1132" y="1969"/>
                    <a:pt x="1131" y="1969"/>
                  </a:cubicBezTo>
                  <a:cubicBezTo>
                    <a:pt x="1130" y="1968"/>
                    <a:pt x="1130" y="1968"/>
                    <a:pt x="1129" y="1968"/>
                  </a:cubicBezTo>
                  <a:cubicBezTo>
                    <a:pt x="1128" y="1967"/>
                    <a:pt x="1128" y="1967"/>
                    <a:pt x="1127" y="1967"/>
                  </a:cubicBezTo>
                  <a:cubicBezTo>
                    <a:pt x="1127" y="1967"/>
                    <a:pt x="1126" y="1967"/>
                    <a:pt x="1126" y="1966"/>
                  </a:cubicBezTo>
                  <a:cubicBezTo>
                    <a:pt x="1124" y="1965"/>
                    <a:pt x="1121" y="1963"/>
                    <a:pt x="1120" y="1961"/>
                  </a:cubicBezTo>
                  <a:close/>
                  <a:moveTo>
                    <a:pt x="1244" y="2063"/>
                  </a:moveTo>
                  <a:cubicBezTo>
                    <a:pt x="1243" y="2066"/>
                    <a:pt x="1241" y="2068"/>
                    <a:pt x="1238" y="2070"/>
                  </a:cubicBezTo>
                  <a:cubicBezTo>
                    <a:pt x="1236" y="2072"/>
                    <a:pt x="1233" y="2074"/>
                    <a:pt x="1229" y="2075"/>
                  </a:cubicBezTo>
                  <a:cubicBezTo>
                    <a:pt x="1225" y="2076"/>
                    <a:pt x="1221" y="2076"/>
                    <a:pt x="1217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189" y="2076"/>
                    <a:pt x="1174" y="2076"/>
                    <a:pt x="1158" y="2077"/>
                  </a:cubicBezTo>
                  <a:cubicBezTo>
                    <a:pt x="1156" y="2077"/>
                    <a:pt x="1154" y="2076"/>
                    <a:pt x="1152" y="2076"/>
                  </a:cubicBezTo>
                  <a:cubicBezTo>
                    <a:pt x="1152" y="2076"/>
                    <a:pt x="1151" y="2076"/>
                    <a:pt x="1151" y="2076"/>
                  </a:cubicBezTo>
                  <a:cubicBezTo>
                    <a:pt x="1149" y="2076"/>
                    <a:pt x="1148" y="2075"/>
                    <a:pt x="1146" y="2075"/>
                  </a:cubicBezTo>
                  <a:cubicBezTo>
                    <a:pt x="1146" y="2075"/>
                    <a:pt x="1146" y="2075"/>
                    <a:pt x="1146" y="2075"/>
                  </a:cubicBezTo>
                  <a:cubicBezTo>
                    <a:pt x="1145" y="2075"/>
                    <a:pt x="1145" y="2075"/>
                    <a:pt x="1145" y="2075"/>
                  </a:cubicBezTo>
                  <a:cubicBezTo>
                    <a:pt x="1138" y="2073"/>
                    <a:pt x="1132" y="2069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7" y="2063"/>
                    <a:pt x="1126" y="2062"/>
                    <a:pt x="1126" y="2060"/>
                  </a:cubicBezTo>
                  <a:cubicBezTo>
                    <a:pt x="1126" y="2060"/>
                    <a:pt x="1126" y="2059"/>
                    <a:pt x="1125" y="2059"/>
                  </a:cubicBezTo>
                  <a:cubicBezTo>
                    <a:pt x="1125" y="2058"/>
                    <a:pt x="1125" y="2057"/>
                    <a:pt x="1125" y="2057"/>
                  </a:cubicBezTo>
                  <a:cubicBezTo>
                    <a:pt x="1125" y="2056"/>
                    <a:pt x="1125" y="2056"/>
                    <a:pt x="1125" y="2056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4" y="2046"/>
                    <a:pt x="1123" y="2037"/>
                    <a:pt x="1123" y="2029"/>
                  </a:cubicBezTo>
                  <a:cubicBezTo>
                    <a:pt x="1123" y="2027"/>
                    <a:pt x="1122" y="2026"/>
                    <a:pt x="1122" y="2024"/>
                  </a:cubicBezTo>
                  <a:cubicBezTo>
                    <a:pt x="1122" y="2020"/>
                    <a:pt x="1122" y="2020"/>
                    <a:pt x="1122" y="2020"/>
                  </a:cubicBezTo>
                  <a:cubicBezTo>
                    <a:pt x="1122" y="2019"/>
                    <a:pt x="1122" y="2019"/>
                    <a:pt x="1122" y="2019"/>
                  </a:cubicBezTo>
                  <a:cubicBezTo>
                    <a:pt x="1122" y="2018"/>
                    <a:pt x="1122" y="2017"/>
                    <a:pt x="1122" y="2016"/>
                  </a:cubicBezTo>
                  <a:cubicBezTo>
                    <a:pt x="1122" y="2016"/>
                    <a:pt x="1123" y="2016"/>
                    <a:pt x="1123" y="2015"/>
                  </a:cubicBezTo>
                  <a:cubicBezTo>
                    <a:pt x="1123" y="2014"/>
                    <a:pt x="1123" y="2014"/>
                    <a:pt x="1123" y="2013"/>
                  </a:cubicBezTo>
                  <a:cubicBezTo>
                    <a:pt x="1124" y="2013"/>
                    <a:pt x="1124" y="2013"/>
                    <a:pt x="1124" y="2012"/>
                  </a:cubicBezTo>
                  <a:cubicBezTo>
                    <a:pt x="1124" y="2012"/>
                    <a:pt x="1124" y="2012"/>
                    <a:pt x="1124" y="2012"/>
                  </a:cubicBezTo>
                  <a:cubicBezTo>
                    <a:pt x="1125" y="2011"/>
                    <a:pt x="1125" y="2010"/>
                    <a:pt x="1126" y="2010"/>
                  </a:cubicBezTo>
                  <a:cubicBezTo>
                    <a:pt x="1126" y="2009"/>
                    <a:pt x="1127" y="2009"/>
                    <a:pt x="1127" y="2009"/>
                  </a:cubicBezTo>
                  <a:cubicBezTo>
                    <a:pt x="1128" y="2008"/>
                    <a:pt x="1128" y="2008"/>
                    <a:pt x="1129" y="2007"/>
                  </a:cubicBezTo>
                  <a:cubicBezTo>
                    <a:pt x="1129" y="2007"/>
                    <a:pt x="1129" y="2007"/>
                    <a:pt x="1130" y="2006"/>
                  </a:cubicBezTo>
                  <a:cubicBezTo>
                    <a:pt x="1130" y="2006"/>
                    <a:pt x="1130" y="2006"/>
                    <a:pt x="1130" y="2006"/>
                  </a:cubicBezTo>
                  <a:cubicBezTo>
                    <a:pt x="1131" y="2006"/>
                    <a:pt x="1132" y="2005"/>
                    <a:pt x="1133" y="2004"/>
                  </a:cubicBezTo>
                  <a:cubicBezTo>
                    <a:pt x="1134" y="2004"/>
                    <a:pt x="1134" y="2004"/>
                    <a:pt x="1134" y="2004"/>
                  </a:cubicBezTo>
                  <a:cubicBezTo>
                    <a:pt x="1134" y="2004"/>
                    <a:pt x="1135" y="2004"/>
                    <a:pt x="1135" y="2004"/>
                  </a:cubicBezTo>
                  <a:cubicBezTo>
                    <a:pt x="1135" y="2004"/>
                    <a:pt x="1135" y="2004"/>
                    <a:pt x="1136" y="2004"/>
                  </a:cubicBezTo>
                  <a:cubicBezTo>
                    <a:pt x="1137" y="2003"/>
                    <a:pt x="1138" y="2003"/>
                    <a:pt x="1139" y="2003"/>
                  </a:cubicBezTo>
                  <a:cubicBezTo>
                    <a:pt x="1139" y="2002"/>
                    <a:pt x="1140" y="2002"/>
                    <a:pt x="1140" y="2002"/>
                  </a:cubicBezTo>
                  <a:cubicBezTo>
                    <a:pt x="1141" y="2002"/>
                    <a:pt x="1141" y="2002"/>
                    <a:pt x="1142" y="2002"/>
                  </a:cubicBezTo>
                  <a:cubicBezTo>
                    <a:pt x="1143" y="2002"/>
                    <a:pt x="1145" y="2001"/>
                    <a:pt x="1147" y="2001"/>
                  </a:cubicBezTo>
                  <a:cubicBezTo>
                    <a:pt x="1147" y="2001"/>
                    <a:pt x="1148" y="2001"/>
                    <a:pt x="1148" y="2001"/>
                  </a:cubicBezTo>
                  <a:cubicBezTo>
                    <a:pt x="1149" y="2001"/>
                    <a:pt x="1149" y="2001"/>
                    <a:pt x="1150" y="2001"/>
                  </a:cubicBezTo>
                  <a:cubicBezTo>
                    <a:pt x="1153" y="2001"/>
                    <a:pt x="1153" y="2001"/>
                    <a:pt x="1153" y="2001"/>
                  </a:cubicBezTo>
                  <a:cubicBezTo>
                    <a:pt x="1155" y="2001"/>
                    <a:pt x="1158" y="2001"/>
                    <a:pt x="1160" y="2001"/>
                  </a:cubicBezTo>
                  <a:cubicBezTo>
                    <a:pt x="1163" y="2001"/>
                    <a:pt x="1165" y="2001"/>
                    <a:pt x="1168" y="2001"/>
                  </a:cubicBezTo>
                  <a:cubicBezTo>
                    <a:pt x="1191" y="2001"/>
                    <a:pt x="1191" y="2001"/>
                    <a:pt x="1191" y="2001"/>
                  </a:cubicBezTo>
                  <a:cubicBezTo>
                    <a:pt x="1197" y="2001"/>
                    <a:pt x="1203" y="2001"/>
                    <a:pt x="1209" y="2001"/>
                  </a:cubicBezTo>
                  <a:cubicBezTo>
                    <a:pt x="1210" y="2001"/>
                    <a:pt x="1211" y="2001"/>
                    <a:pt x="1212" y="2002"/>
                  </a:cubicBezTo>
                  <a:cubicBezTo>
                    <a:pt x="1212" y="2002"/>
                    <a:pt x="1213" y="2002"/>
                    <a:pt x="1214" y="2002"/>
                  </a:cubicBezTo>
                  <a:cubicBezTo>
                    <a:pt x="1214" y="2002"/>
                    <a:pt x="1214" y="2002"/>
                    <a:pt x="1215" y="2002"/>
                  </a:cubicBezTo>
                  <a:cubicBezTo>
                    <a:pt x="1215" y="2002"/>
                    <a:pt x="1216" y="2002"/>
                    <a:pt x="1216" y="2002"/>
                  </a:cubicBezTo>
                  <a:cubicBezTo>
                    <a:pt x="1216" y="2002"/>
                    <a:pt x="1216" y="2003"/>
                    <a:pt x="1217" y="2003"/>
                  </a:cubicBezTo>
                  <a:cubicBezTo>
                    <a:pt x="1218" y="2003"/>
                    <a:pt x="1219" y="2003"/>
                    <a:pt x="1220" y="2004"/>
                  </a:cubicBezTo>
                  <a:cubicBezTo>
                    <a:pt x="1221" y="2004"/>
                    <a:pt x="1221" y="2004"/>
                    <a:pt x="1222" y="2004"/>
                  </a:cubicBezTo>
                  <a:cubicBezTo>
                    <a:pt x="1222" y="2005"/>
                    <a:pt x="1223" y="2005"/>
                    <a:pt x="1223" y="2005"/>
                  </a:cubicBezTo>
                  <a:cubicBezTo>
                    <a:pt x="1224" y="2005"/>
                    <a:pt x="1225" y="2006"/>
                    <a:pt x="1226" y="2006"/>
                  </a:cubicBezTo>
                  <a:cubicBezTo>
                    <a:pt x="1229" y="2008"/>
                    <a:pt x="1231" y="2010"/>
                    <a:pt x="1233" y="2012"/>
                  </a:cubicBezTo>
                  <a:cubicBezTo>
                    <a:pt x="1235" y="2014"/>
                    <a:pt x="1237" y="2017"/>
                    <a:pt x="1237" y="2019"/>
                  </a:cubicBezTo>
                  <a:cubicBezTo>
                    <a:pt x="1240" y="2034"/>
                    <a:pt x="1240" y="2034"/>
                    <a:pt x="1240" y="2034"/>
                  </a:cubicBezTo>
                  <a:cubicBezTo>
                    <a:pt x="1241" y="2040"/>
                    <a:pt x="1243" y="2046"/>
                    <a:pt x="1244" y="2052"/>
                  </a:cubicBezTo>
                  <a:cubicBezTo>
                    <a:pt x="1244" y="2052"/>
                    <a:pt x="1244" y="2052"/>
                    <a:pt x="1244" y="2052"/>
                  </a:cubicBezTo>
                  <a:cubicBezTo>
                    <a:pt x="1244" y="2055"/>
                    <a:pt x="1244" y="2055"/>
                    <a:pt x="1244" y="2055"/>
                  </a:cubicBezTo>
                  <a:cubicBezTo>
                    <a:pt x="1245" y="2058"/>
                    <a:pt x="1245" y="2061"/>
                    <a:pt x="1244" y="2063"/>
                  </a:cubicBezTo>
                  <a:close/>
                  <a:moveTo>
                    <a:pt x="1349" y="1880"/>
                  </a:moveTo>
                  <a:cubicBezTo>
                    <a:pt x="1346" y="1879"/>
                    <a:pt x="1344" y="1878"/>
                    <a:pt x="1342" y="1876"/>
                  </a:cubicBezTo>
                  <a:cubicBezTo>
                    <a:pt x="1340" y="1875"/>
                    <a:pt x="1338" y="1873"/>
                    <a:pt x="1338" y="1871"/>
                  </a:cubicBezTo>
                  <a:cubicBezTo>
                    <a:pt x="1337" y="1868"/>
                    <a:pt x="1337" y="1868"/>
                    <a:pt x="1337" y="1868"/>
                  </a:cubicBezTo>
                  <a:cubicBezTo>
                    <a:pt x="1335" y="1863"/>
                    <a:pt x="1333" y="1859"/>
                    <a:pt x="1332" y="1854"/>
                  </a:cubicBezTo>
                  <a:cubicBezTo>
                    <a:pt x="1331" y="1852"/>
                    <a:pt x="1329" y="1848"/>
                    <a:pt x="1329" y="1845"/>
                  </a:cubicBezTo>
                  <a:cubicBezTo>
                    <a:pt x="1329" y="1845"/>
                    <a:pt x="1329" y="1845"/>
                    <a:pt x="1329" y="1844"/>
                  </a:cubicBezTo>
                  <a:cubicBezTo>
                    <a:pt x="1329" y="1844"/>
                    <a:pt x="1329" y="1844"/>
                    <a:pt x="1329" y="1844"/>
                  </a:cubicBezTo>
                  <a:cubicBezTo>
                    <a:pt x="1329" y="1844"/>
                    <a:pt x="1329" y="1843"/>
                    <a:pt x="1329" y="1843"/>
                  </a:cubicBezTo>
                  <a:cubicBezTo>
                    <a:pt x="1329" y="1843"/>
                    <a:pt x="1329" y="1843"/>
                    <a:pt x="1329" y="1842"/>
                  </a:cubicBezTo>
                  <a:cubicBezTo>
                    <a:pt x="1329" y="1842"/>
                    <a:pt x="1329" y="1842"/>
                    <a:pt x="1329" y="1842"/>
                  </a:cubicBezTo>
                  <a:cubicBezTo>
                    <a:pt x="1333" y="1834"/>
                    <a:pt x="1348" y="1835"/>
                    <a:pt x="1355" y="1835"/>
                  </a:cubicBezTo>
                  <a:cubicBezTo>
                    <a:pt x="1392" y="1835"/>
                    <a:pt x="1392" y="1835"/>
                    <a:pt x="1392" y="1835"/>
                  </a:cubicBezTo>
                  <a:cubicBezTo>
                    <a:pt x="1396" y="1835"/>
                    <a:pt x="1399" y="1835"/>
                    <a:pt x="1402" y="1836"/>
                  </a:cubicBezTo>
                  <a:cubicBezTo>
                    <a:pt x="1403" y="1836"/>
                    <a:pt x="1404" y="1836"/>
                    <a:pt x="1405" y="1836"/>
                  </a:cubicBezTo>
                  <a:cubicBezTo>
                    <a:pt x="1405" y="1836"/>
                    <a:pt x="1405" y="1837"/>
                    <a:pt x="1406" y="1837"/>
                  </a:cubicBezTo>
                  <a:cubicBezTo>
                    <a:pt x="1406" y="1837"/>
                    <a:pt x="1407" y="1837"/>
                    <a:pt x="1408" y="1837"/>
                  </a:cubicBezTo>
                  <a:cubicBezTo>
                    <a:pt x="1409" y="1837"/>
                    <a:pt x="1410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2" y="1839"/>
                    <a:pt x="1413" y="1839"/>
                    <a:pt x="1414" y="1840"/>
                  </a:cubicBezTo>
                  <a:cubicBezTo>
                    <a:pt x="1415" y="1840"/>
                    <a:pt x="1415" y="1840"/>
                    <a:pt x="1416" y="1841"/>
                  </a:cubicBezTo>
                  <a:cubicBezTo>
                    <a:pt x="1416" y="1841"/>
                    <a:pt x="1416" y="1841"/>
                    <a:pt x="1417" y="1841"/>
                  </a:cubicBezTo>
                  <a:cubicBezTo>
                    <a:pt x="1417" y="1841"/>
                    <a:pt x="1417" y="1841"/>
                    <a:pt x="1417" y="1842"/>
                  </a:cubicBezTo>
                  <a:cubicBezTo>
                    <a:pt x="1418" y="1842"/>
                    <a:pt x="1418" y="1842"/>
                    <a:pt x="1418" y="1842"/>
                  </a:cubicBezTo>
                  <a:cubicBezTo>
                    <a:pt x="1420" y="1844"/>
                    <a:pt x="1422" y="1845"/>
                    <a:pt x="1423" y="1847"/>
                  </a:cubicBezTo>
                  <a:cubicBezTo>
                    <a:pt x="1423" y="1847"/>
                    <a:pt x="1423" y="1847"/>
                    <a:pt x="1423" y="1847"/>
                  </a:cubicBezTo>
                  <a:cubicBezTo>
                    <a:pt x="1426" y="1852"/>
                    <a:pt x="1428" y="1859"/>
                    <a:pt x="1431" y="1864"/>
                  </a:cubicBezTo>
                  <a:cubicBezTo>
                    <a:pt x="1431" y="1864"/>
                    <a:pt x="1431" y="1864"/>
                    <a:pt x="1431" y="1864"/>
                  </a:cubicBezTo>
                  <a:cubicBezTo>
                    <a:pt x="1432" y="1867"/>
                    <a:pt x="1434" y="1870"/>
                    <a:pt x="1435" y="1873"/>
                  </a:cubicBezTo>
                  <a:cubicBezTo>
                    <a:pt x="1435" y="1873"/>
                    <a:pt x="1435" y="1873"/>
                    <a:pt x="1435" y="1873"/>
                  </a:cubicBezTo>
                  <a:cubicBezTo>
                    <a:pt x="1435" y="1873"/>
                    <a:pt x="1435" y="1873"/>
                    <a:pt x="1435" y="1874"/>
                  </a:cubicBezTo>
                  <a:cubicBezTo>
                    <a:pt x="1436" y="1879"/>
                    <a:pt x="1431" y="1882"/>
                    <a:pt x="1425" y="1883"/>
                  </a:cubicBezTo>
                  <a:cubicBezTo>
                    <a:pt x="1425" y="1883"/>
                    <a:pt x="1425" y="1883"/>
                    <a:pt x="1425" y="1883"/>
                  </a:cubicBezTo>
                  <a:cubicBezTo>
                    <a:pt x="1425" y="1883"/>
                    <a:pt x="1424" y="1883"/>
                    <a:pt x="1424" y="1883"/>
                  </a:cubicBezTo>
                  <a:cubicBezTo>
                    <a:pt x="1423" y="1884"/>
                    <a:pt x="1422" y="1884"/>
                    <a:pt x="1421" y="1884"/>
                  </a:cubicBezTo>
                  <a:cubicBezTo>
                    <a:pt x="1421" y="1884"/>
                    <a:pt x="1420" y="1884"/>
                    <a:pt x="1420" y="1884"/>
                  </a:cubicBezTo>
                  <a:cubicBezTo>
                    <a:pt x="1419" y="1884"/>
                    <a:pt x="1418" y="1884"/>
                    <a:pt x="1417" y="1884"/>
                  </a:cubicBezTo>
                  <a:cubicBezTo>
                    <a:pt x="1417" y="1884"/>
                    <a:pt x="1416" y="1884"/>
                    <a:pt x="1416" y="1884"/>
                  </a:cubicBezTo>
                  <a:cubicBezTo>
                    <a:pt x="1416" y="1884"/>
                    <a:pt x="1416" y="1884"/>
                    <a:pt x="1415" y="1884"/>
                  </a:cubicBezTo>
                  <a:cubicBezTo>
                    <a:pt x="1414" y="1884"/>
                    <a:pt x="1414" y="1884"/>
                    <a:pt x="1414" y="1884"/>
                  </a:cubicBezTo>
                  <a:cubicBezTo>
                    <a:pt x="1408" y="1884"/>
                    <a:pt x="1403" y="1884"/>
                    <a:pt x="1397" y="1884"/>
                  </a:cubicBezTo>
                  <a:cubicBezTo>
                    <a:pt x="1387" y="1884"/>
                    <a:pt x="1378" y="1884"/>
                    <a:pt x="1368" y="1884"/>
                  </a:cubicBezTo>
                  <a:cubicBezTo>
                    <a:pt x="1362" y="1884"/>
                    <a:pt x="1355" y="1883"/>
                    <a:pt x="1349" y="1880"/>
                  </a:cubicBezTo>
                  <a:cubicBezTo>
                    <a:pt x="1349" y="1880"/>
                    <a:pt x="1349" y="1880"/>
                    <a:pt x="1349" y="1880"/>
                  </a:cubicBezTo>
                  <a:close/>
                  <a:moveTo>
                    <a:pt x="1373" y="1961"/>
                  </a:moveTo>
                  <a:cubicBezTo>
                    <a:pt x="1371" y="1959"/>
                    <a:pt x="1369" y="1956"/>
                    <a:pt x="1369" y="1954"/>
                  </a:cubicBezTo>
                  <a:cubicBezTo>
                    <a:pt x="1363" y="1940"/>
                    <a:pt x="1363" y="1940"/>
                    <a:pt x="1363" y="1940"/>
                  </a:cubicBezTo>
                  <a:cubicBezTo>
                    <a:pt x="1362" y="1935"/>
                    <a:pt x="1360" y="1931"/>
                    <a:pt x="1359" y="1927"/>
                  </a:cubicBezTo>
                  <a:cubicBezTo>
                    <a:pt x="1359" y="1927"/>
                    <a:pt x="1359" y="1927"/>
                    <a:pt x="1359" y="1927"/>
                  </a:cubicBezTo>
                  <a:cubicBezTo>
                    <a:pt x="1358" y="1925"/>
                    <a:pt x="1358" y="1925"/>
                    <a:pt x="1358" y="1925"/>
                  </a:cubicBezTo>
                  <a:cubicBezTo>
                    <a:pt x="1357" y="1923"/>
                    <a:pt x="1357" y="1921"/>
                    <a:pt x="1358" y="1919"/>
                  </a:cubicBezTo>
                  <a:cubicBezTo>
                    <a:pt x="1358" y="1918"/>
                    <a:pt x="1359" y="1917"/>
                    <a:pt x="1360" y="1916"/>
                  </a:cubicBezTo>
                  <a:cubicBezTo>
                    <a:pt x="1360" y="1916"/>
                    <a:pt x="1361" y="1916"/>
                    <a:pt x="1361" y="1915"/>
                  </a:cubicBezTo>
                  <a:cubicBezTo>
                    <a:pt x="1361" y="1915"/>
                    <a:pt x="1361" y="1915"/>
                    <a:pt x="1362" y="1915"/>
                  </a:cubicBezTo>
                  <a:cubicBezTo>
                    <a:pt x="1364" y="1913"/>
                    <a:pt x="1366" y="1912"/>
                    <a:pt x="1369" y="1911"/>
                  </a:cubicBezTo>
                  <a:cubicBezTo>
                    <a:pt x="1371" y="1911"/>
                    <a:pt x="1374" y="1910"/>
                    <a:pt x="1376" y="1910"/>
                  </a:cubicBezTo>
                  <a:cubicBezTo>
                    <a:pt x="1386" y="1909"/>
                    <a:pt x="1397" y="1910"/>
                    <a:pt x="1402" y="1910"/>
                  </a:cubicBezTo>
                  <a:cubicBezTo>
                    <a:pt x="1420" y="1910"/>
                    <a:pt x="1451" y="1906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5" y="1933"/>
                    <a:pt x="1469" y="1940"/>
                    <a:pt x="1473" y="1948"/>
                  </a:cubicBezTo>
                  <a:cubicBezTo>
                    <a:pt x="1474" y="1951"/>
                    <a:pt x="1476" y="1953"/>
                    <a:pt x="1476" y="1956"/>
                  </a:cubicBezTo>
                  <a:cubicBezTo>
                    <a:pt x="1476" y="1956"/>
                    <a:pt x="1476" y="1956"/>
                    <a:pt x="1476" y="1957"/>
                  </a:cubicBezTo>
                  <a:cubicBezTo>
                    <a:pt x="1477" y="1957"/>
                    <a:pt x="1477" y="1958"/>
                    <a:pt x="1477" y="1958"/>
                  </a:cubicBezTo>
                  <a:cubicBezTo>
                    <a:pt x="1477" y="1959"/>
                    <a:pt x="1477" y="1959"/>
                    <a:pt x="1477" y="1960"/>
                  </a:cubicBezTo>
                  <a:cubicBezTo>
                    <a:pt x="1477" y="1960"/>
                    <a:pt x="1477" y="1960"/>
                    <a:pt x="1477" y="1960"/>
                  </a:cubicBezTo>
                  <a:cubicBezTo>
                    <a:pt x="1477" y="1960"/>
                    <a:pt x="1476" y="1961"/>
                    <a:pt x="1476" y="1961"/>
                  </a:cubicBezTo>
                  <a:cubicBezTo>
                    <a:pt x="1476" y="1962"/>
                    <a:pt x="1476" y="1962"/>
                    <a:pt x="1475" y="1963"/>
                  </a:cubicBezTo>
                  <a:cubicBezTo>
                    <a:pt x="1475" y="1963"/>
                    <a:pt x="1475" y="1963"/>
                    <a:pt x="1475" y="1963"/>
                  </a:cubicBezTo>
                  <a:cubicBezTo>
                    <a:pt x="1475" y="1964"/>
                    <a:pt x="1474" y="1965"/>
                    <a:pt x="1474" y="1965"/>
                  </a:cubicBezTo>
                  <a:cubicBezTo>
                    <a:pt x="1473" y="1965"/>
                    <a:pt x="1473" y="1965"/>
                    <a:pt x="1473" y="1966"/>
                  </a:cubicBezTo>
                  <a:cubicBezTo>
                    <a:pt x="1473" y="1966"/>
                    <a:pt x="1473" y="1966"/>
                    <a:pt x="1472" y="1966"/>
                  </a:cubicBezTo>
                  <a:cubicBezTo>
                    <a:pt x="1472" y="1966"/>
                    <a:pt x="1472" y="1967"/>
                    <a:pt x="1471" y="1967"/>
                  </a:cubicBezTo>
                  <a:cubicBezTo>
                    <a:pt x="1470" y="1968"/>
                    <a:pt x="1468" y="1969"/>
                    <a:pt x="1466" y="1969"/>
                  </a:cubicBezTo>
                  <a:cubicBezTo>
                    <a:pt x="1465" y="1969"/>
                    <a:pt x="1465" y="1969"/>
                    <a:pt x="1464" y="1970"/>
                  </a:cubicBezTo>
                  <a:cubicBezTo>
                    <a:pt x="1463" y="1970"/>
                    <a:pt x="1462" y="1970"/>
                    <a:pt x="1462" y="1970"/>
                  </a:cubicBezTo>
                  <a:cubicBezTo>
                    <a:pt x="1461" y="1970"/>
                    <a:pt x="1461" y="1970"/>
                    <a:pt x="1461" y="1970"/>
                  </a:cubicBezTo>
                  <a:cubicBezTo>
                    <a:pt x="1460" y="1970"/>
                    <a:pt x="1460" y="1970"/>
                    <a:pt x="1460" y="1970"/>
                  </a:cubicBezTo>
                  <a:cubicBezTo>
                    <a:pt x="1441" y="1972"/>
                    <a:pt x="1422" y="1971"/>
                    <a:pt x="1403" y="1971"/>
                  </a:cubicBezTo>
                  <a:cubicBezTo>
                    <a:pt x="1401" y="1971"/>
                    <a:pt x="1399" y="1971"/>
                    <a:pt x="1397" y="1970"/>
                  </a:cubicBezTo>
                  <a:cubicBezTo>
                    <a:pt x="1397" y="1970"/>
                    <a:pt x="1397" y="1970"/>
                    <a:pt x="1397" y="1970"/>
                  </a:cubicBezTo>
                  <a:cubicBezTo>
                    <a:pt x="1390" y="1970"/>
                    <a:pt x="1383" y="1967"/>
                    <a:pt x="1377" y="1964"/>
                  </a:cubicBezTo>
                  <a:cubicBezTo>
                    <a:pt x="1376" y="1963"/>
                    <a:pt x="1374" y="1962"/>
                    <a:pt x="1373" y="1961"/>
                  </a:cubicBezTo>
                  <a:close/>
                  <a:moveTo>
                    <a:pt x="1527" y="2063"/>
                  </a:moveTo>
                  <a:cubicBezTo>
                    <a:pt x="1527" y="2063"/>
                    <a:pt x="1527" y="2064"/>
                    <a:pt x="1527" y="2064"/>
                  </a:cubicBezTo>
                  <a:cubicBezTo>
                    <a:pt x="1527" y="2065"/>
                    <a:pt x="1526" y="2065"/>
                    <a:pt x="1526" y="2065"/>
                  </a:cubicBezTo>
                  <a:cubicBezTo>
                    <a:pt x="1526" y="2066"/>
                    <a:pt x="1526" y="2066"/>
                    <a:pt x="1525" y="2067"/>
                  </a:cubicBezTo>
                  <a:cubicBezTo>
                    <a:pt x="1525" y="2067"/>
                    <a:pt x="1525" y="2068"/>
                    <a:pt x="1525" y="2068"/>
                  </a:cubicBezTo>
                  <a:cubicBezTo>
                    <a:pt x="1525" y="2068"/>
                    <a:pt x="1524" y="2068"/>
                    <a:pt x="1524" y="2069"/>
                  </a:cubicBezTo>
                  <a:cubicBezTo>
                    <a:pt x="1524" y="2069"/>
                    <a:pt x="1524" y="2069"/>
                    <a:pt x="1524" y="2069"/>
                  </a:cubicBezTo>
                  <a:cubicBezTo>
                    <a:pt x="1524" y="2069"/>
                    <a:pt x="1523" y="2070"/>
                    <a:pt x="1523" y="2070"/>
                  </a:cubicBezTo>
                  <a:cubicBezTo>
                    <a:pt x="1520" y="2073"/>
                    <a:pt x="1515" y="2074"/>
                    <a:pt x="1511" y="2075"/>
                  </a:cubicBezTo>
                  <a:cubicBezTo>
                    <a:pt x="1510" y="2075"/>
                    <a:pt x="1510" y="2075"/>
                    <a:pt x="1510" y="2075"/>
                  </a:cubicBezTo>
                  <a:cubicBezTo>
                    <a:pt x="1508" y="2075"/>
                    <a:pt x="1506" y="2076"/>
                    <a:pt x="1504" y="2076"/>
                  </a:cubicBezTo>
                  <a:cubicBezTo>
                    <a:pt x="1504" y="2076"/>
                    <a:pt x="1504" y="2076"/>
                    <a:pt x="1504" y="2076"/>
                  </a:cubicBezTo>
                  <a:cubicBezTo>
                    <a:pt x="1503" y="2076"/>
                    <a:pt x="1503" y="2076"/>
                    <a:pt x="1503" y="2076"/>
                  </a:cubicBezTo>
                  <a:cubicBezTo>
                    <a:pt x="1501" y="2076"/>
                    <a:pt x="1499" y="2076"/>
                    <a:pt x="1497" y="2076"/>
                  </a:cubicBezTo>
                  <a:cubicBezTo>
                    <a:pt x="1446" y="2076"/>
                    <a:pt x="1446" y="2076"/>
                    <a:pt x="1446" y="2076"/>
                  </a:cubicBezTo>
                  <a:cubicBezTo>
                    <a:pt x="1444" y="2076"/>
                    <a:pt x="1441" y="2076"/>
                    <a:pt x="1439" y="2075"/>
                  </a:cubicBezTo>
                  <a:cubicBezTo>
                    <a:pt x="1439" y="2075"/>
                    <a:pt x="1438" y="2075"/>
                    <a:pt x="1438" y="2075"/>
                  </a:cubicBezTo>
                  <a:cubicBezTo>
                    <a:pt x="1427" y="2074"/>
                    <a:pt x="1414" y="2069"/>
                    <a:pt x="1408" y="2059"/>
                  </a:cubicBezTo>
                  <a:cubicBezTo>
                    <a:pt x="1407" y="2058"/>
                    <a:pt x="1407" y="2056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3" y="2047"/>
                    <a:pt x="1400" y="2040"/>
                    <a:pt x="1398" y="2032"/>
                  </a:cubicBezTo>
                  <a:cubicBezTo>
                    <a:pt x="1396" y="2029"/>
                    <a:pt x="1394" y="2024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2" y="2018"/>
                    <a:pt x="1392" y="2018"/>
                    <a:pt x="1392" y="2017"/>
                  </a:cubicBezTo>
                  <a:cubicBezTo>
                    <a:pt x="1392" y="2015"/>
                    <a:pt x="1392" y="2013"/>
                    <a:pt x="1392" y="2012"/>
                  </a:cubicBezTo>
                  <a:cubicBezTo>
                    <a:pt x="1393" y="2011"/>
                    <a:pt x="1393" y="2010"/>
                    <a:pt x="1394" y="2009"/>
                  </a:cubicBezTo>
                  <a:cubicBezTo>
                    <a:pt x="1394" y="2009"/>
                    <a:pt x="1394" y="2009"/>
                    <a:pt x="1394" y="2009"/>
                  </a:cubicBezTo>
                  <a:cubicBezTo>
                    <a:pt x="1397" y="2004"/>
                    <a:pt x="1403" y="2002"/>
                    <a:pt x="1409" y="2001"/>
                  </a:cubicBezTo>
                  <a:cubicBezTo>
                    <a:pt x="1409" y="2001"/>
                    <a:pt x="1409" y="2001"/>
                    <a:pt x="1410" y="2001"/>
                  </a:cubicBezTo>
                  <a:cubicBezTo>
                    <a:pt x="1411" y="2001"/>
                    <a:pt x="1413" y="2001"/>
                    <a:pt x="1414" y="2000"/>
                  </a:cubicBezTo>
                  <a:cubicBezTo>
                    <a:pt x="1414" y="2000"/>
                    <a:pt x="1415" y="2000"/>
                    <a:pt x="1415" y="2000"/>
                  </a:cubicBezTo>
                  <a:cubicBezTo>
                    <a:pt x="1418" y="2000"/>
                    <a:pt x="1418" y="2000"/>
                    <a:pt x="1418" y="2000"/>
                  </a:cubicBezTo>
                  <a:cubicBezTo>
                    <a:pt x="1419" y="2000"/>
                    <a:pt x="1420" y="2000"/>
                    <a:pt x="1421" y="2000"/>
                  </a:cubicBezTo>
                  <a:cubicBezTo>
                    <a:pt x="1437" y="2000"/>
                    <a:pt x="1453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71" y="2000"/>
                    <a:pt x="1473" y="2000"/>
                    <a:pt x="1475" y="2001"/>
                  </a:cubicBezTo>
                  <a:cubicBezTo>
                    <a:pt x="1475" y="2001"/>
                    <a:pt x="1476" y="2001"/>
                    <a:pt x="1476" y="2001"/>
                  </a:cubicBezTo>
                  <a:cubicBezTo>
                    <a:pt x="1487" y="2002"/>
                    <a:pt x="1499" y="2006"/>
                    <a:pt x="1505" y="2015"/>
                  </a:cubicBezTo>
                  <a:cubicBezTo>
                    <a:pt x="1506" y="2016"/>
                    <a:pt x="1507" y="2017"/>
                    <a:pt x="1508" y="2019"/>
                  </a:cubicBezTo>
                  <a:cubicBezTo>
                    <a:pt x="1509" y="2022"/>
                    <a:pt x="1509" y="2022"/>
                    <a:pt x="1509" y="2022"/>
                  </a:cubicBezTo>
                  <a:cubicBezTo>
                    <a:pt x="1512" y="2028"/>
                    <a:pt x="1516" y="2035"/>
                    <a:pt x="1519" y="2041"/>
                  </a:cubicBezTo>
                  <a:cubicBezTo>
                    <a:pt x="1521" y="2045"/>
                    <a:pt x="1524" y="2051"/>
                    <a:pt x="1526" y="2056"/>
                  </a:cubicBezTo>
                  <a:cubicBezTo>
                    <a:pt x="1527" y="2058"/>
                    <a:pt x="1527" y="2061"/>
                    <a:pt x="1527" y="2063"/>
                  </a:cubicBezTo>
                  <a:close/>
                  <a:moveTo>
                    <a:pt x="1640" y="2000"/>
                  </a:moveTo>
                  <a:cubicBezTo>
                    <a:pt x="1642" y="2000"/>
                    <a:pt x="1643" y="2000"/>
                    <a:pt x="1645" y="2000"/>
                  </a:cubicBezTo>
                  <a:cubicBezTo>
                    <a:pt x="1645" y="2000"/>
                    <a:pt x="1645" y="2000"/>
                    <a:pt x="1646" y="2000"/>
                  </a:cubicBezTo>
                  <a:cubicBezTo>
                    <a:pt x="1657" y="2002"/>
                    <a:pt x="1669" y="2006"/>
                    <a:pt x="1677" y="2014"/>
                  </a:cubicBezTo>
                  <a:cubicBezTo>
                    <a:pt x="1678" y="2014"/>
                    <a:pt x="1678" y="2015"/>
                    <a:pt x="1678" y="2015"/>
                  </a:cubicBezTo>
                  <a:cubicBezTo>
                    <a:pt x="1679" y="2016"/>
                    <a:pt x="1679" y="2016"/>
                    <a:pt x="1680" y="2017"/>
                  </a:cubicBezTo>
                  <a:cubicBezTo>
                    <a:pt x="1680" y="2017"/>
                    <a:pt x="1680" y="2017"/>
                    <a:pt x="1680" y="2018"/>
                  </a:cubicBezTo>
                  <a:cubicBezTo>
                    <a:pt x="1681" y="2018"/>
                    <a:pt x="1681" y="2018"/>
                    <a:pt x="1681" y="2018"/>
                  </a:cubicBezTo>
                  <a:cubicBezTo>
                    <a:pt x="1682" y="2019"/>
                    <a:pt x="1682" y="2019"/>
                    <a:pt x="1682" y="2019"/>
                  </a:cubicBezTo>
                  <a:cubicBezTo>
                    <a:pt x="1685" y="2024"/>
                    <a:pt x="1688" y="2029"/>
                    <a:pt x="1692" y="2034"/>
                  </a:cubicBezTo>
                  <a:cubicBezTo>
                    <a:pt x="1692" y="2034"/>
                    <a:pt x="1692" y="2034"/>
                    <a:pt x="1692" y="2034"/>
                  </a:cubicBezTo>
                  <a:cubicBezTo>
                    <a:pt x="1697" y="2041"/>
                    <a:pt x="1703" y="2049"/>
                    <a:pt x="1707" y="2056"/>
                  </a:cubicBezTo>
                  <a:cubicBezTo>
                    <a:pt x="1707" y="2057"/>
                    <a:pt x="1707" y="2057"/>
                    <a:pt x="1708" y="2058"/>
                  </a:cubicBezTo>
                  <a:cubicBezTo>
                    <a:pt x="1708" y="2058"/>
                    <a:pt x="1708" y="2058"/>
                    <a:pt x="1708" y="2058"/>
                  </a:cubicBezTo>
                  <a:cubicBezTo>
                    <a:pt x="1709" y="2063"/>
                    <a:pt x="1709" y="2066"/>
                    <a:pt x="1707" y="2068"/>
                  </a:cubicBezTo>
                  <a:cubicBezTo>
                    <a:pt x="1706" y="2069"/>
                    <a:pt x="1706" y="2069"/>
                    <a:pt x="1706" y="2069"/>
                  </a:cubicBezTo>
                  <a:cubicBezTo>
                    <a:pt x="1705" y="2071"/>
                    <a:pt x="1702" y="2072"/>
                    <a:pt x="1699" y="2073"/>
                  </a:cubicBezTo>
                  <a:cubicBezTo>
                    <a:pt x="1696" y="2074"/>
                    <a:pt x="1692" y="2075"/>
                    <a:pt x="1688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66" y="2075"/>
                    <a:pt x="1648" y="2075"/>
                    <a:pt x="1629" y="2075"/>
                  </a:cubicBezTo>
                  <a:cubicBezTo>
                    <a:pt x="1627" y="2075"/>
                    <a:pt x="1625" y="2075"/>
                    <a:pt x="1623" y="2075"/>
                  </a:cubicBezTo>
                  <a:cubicBezTo>
                    <a:pt x="1623" y="2075"/>
                    <a:pt x="1623" y="2075"/>
                    <a:pt x="1623" y="2075"/>
                  </a:cubicBezTo>
                  <a:cubicBezTo>
                    <a:pt x="1610" y="2073"/>
                    <a:pt x="1597" y="2068"/>
                    <a:pt x="1589" y="2059"/>
                  </a:cubicBezTo>
                  <a:cubicBezTo>
                    <a:pt x="1588" y="2057"/>
                    <a:pt x="1587" y="2056"/>
                    <a:pt x="1586" y="2055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2" y="2047"/>
                    <a:pt x="1578" y="2041"/>
                    <a:pt x="1574" y="2034"/>
                  </a:cubicBezTo>
                  <a:cubicBezTo>
                    <a:pt x="1571" y="2029"/>
                    <a:pt x="1566" y="2021"/>
                    <a:pt x="1564" y="2015"/>
                  </a:cubicBezTo>
                  <a:cubicBezTo>
                    <a:pt x="1564" y="2015"/>
                    <a:pt x="1564" y="2015"/>
                    <a:pt x="1564" y="2014"/>
                  </a:cubicBezTo>
                  <a:cubicBezTo>
                    <a:pt x="1564" y="2014"/>
                    <a:pt x="1564" y="2013"/>
                    <a:pt x="1564" y="2013"/>
                  </a:cubicBezTo>
                  <a:cubicBezTo>
                    <a:pt x="1564" y="2006"/>
                    <a:pt x="1568" y="2003"/>
                    <a:pt x="1574" y="2002"/>
                  </a:cubicBezTo>
                  <a:cubicBezTo>
                    <a:pt x="1574" y="2001"/>
                    <a:pt x="1574" y="2001"/>
                    <a:pt x="1574" y="2001"/>
                  </a:cubicBezTo>
                  <a:cubicBezTo>
                    <a:pt x="1574" y="2001"/>
                    <a:pt x="1575" y="2001"/>
                    <a:pt x="1575" y="2001"/>
                  </a:cubicBezTo>
                  <a:cubicBezTo>
                    <a:pt x="1575" y="2001"/>
                    <a:pt x="1576" y="2001"/>
                    <a:pt x="1576" y="2001"/>
                  </a:cubicBezTo>
                  <a:cubicBezTo>
                    <a:pt x="1579" y="2000"/>
                    <a:pt x="1581" y="2000"/>
                    <a:pt x="1585" y="2000"/>
                  </a:cubicBezTo>
                  <a:cubicBezTo>
                    <a:pt x="1621" y="2000"/>
                    <a:pt x="1621" y="2000"/>
                    <a:pt x="1621" y="2000"/>
                  </a:cubicBezTo>
                  <a:cubicBezTo>
                    <a:pt x="1627" y="2000"/>
                    <a:pt x="1633" y="2000"/>
                    <a:pt x="1639" y="2000"/>
                  </a:cubicBezTo>
                  <a:cubicBezTo>
                    <a:pt x="1639" y="2000"/>
                    <a:pt x="1639" y="2000"/>
                    <a:pt x="1639" y="2000"/>
                  </a:cubicBezTo>
                  <a:cubicBezTo>
                    <a:pt x="1639" y="2000"/>
                    <a:pt x="1640" y="2000"/>
                    <a:pt x="1640" y="2000"/>
                  </a:cubicBezTo>
                  <a:close/>
                  <a:moveTo>
                    <a:pt x="1617" y="1924"/>
                  </a:moveTo>
                  <a:cubicBezTo>
                    <a:pt x="1621" y="1930"/>
                    <a:pt x="1625" y="1937"/>
                    <a:pt x="1629" y="1943"/>
                  </a:cubicBezTo>
                  <a:cubicBezTo>
                    <a:pt x="1631" y="1946"/>
                    <a:pt x="1635" y="1950"/>
                    <a:pt x="1637" y="1955"/>
                  </a:cubicBezTo>
                  <a:cubicBezTo>
                    <a:pt x="1638" y="1956"/>
                    <a:pt x="1639" y="1958"/>
                    <a:pt x="1639" y="1960"/>
                  </a:cubicBezTo>
                  <a:cubicBezTo>
                    <a:pt x="1639" y="1961"/>
                    <a:pt x="1638" y="1962"/>
                    <a:pt x="1638" y="1963"/>
                  </a:cubicBezTo>
                  <a:cubicBezTo>
                    <a:pt x="1637" y="1964"/>
                    <a:pt x="1637" y="1964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6"/>
                    <a:pt x="1635" y="1966"/>
                    <a:pt x="1635" y="1966"/>
                  </a:cubicBezTo>
                  <a:cubicBezTo>
                    <a:pt x="1635" y="1966"/>
                    <a:pt x="1634" y="1967"/>
                    <a:pt x="1634" y="1967"/>
                  </a:cubicBezTo>
                  <a:cubicBezTo>
                    <a:pt x="1634" y="1967"/>
                    <a:pt x="1633" y="1967"/>
                    <a:pt x="1632" y="1968"/>
                  </a:cubicBezTo>
                  <a:cubicBezTo>
                    <a:pt x="1632" y="1968"/>
                    <a:pt x="1631" y="1968"/>
                    <a:pt x="1630" y="1969"/>
                  </a:cubicBezTo>
                  <a:cubicBezTo>
                    <a:pt x="1630" y="1969"/>
                    <a:pt x="1630" y="1969"/>
                    <a:pt x="1630" y="1969"/>
                  </a:cubicBezTo>
                  <a:cubicBezTo>
                    <a:pt x="1630" y="1969"/>
                    <a:pt x="1630" y="1969"/>
                    <a:pt x="1629" y="1969"/>
                  </a:cubicBezTo>
                  <a:cubicBezTo>
                    <a:pt x="1620" y="1972"/>
                    <a:pt x="1607" y="1970"/>
                    <a:pt x="1598" y="1970"/>
                  </a:cubicBezTo>
                  <a:cubicBezTo>
                    <a:pt x="1588" y="1970"/>
                    <a:pt x="1578" y="1970"/>
                    <a:pt x="1567" y="1970"/>
                  </a:cubicBezTo>
                  <a:cubicBezTo>
                    <a:pt x="1558" y="1970"/>
                    <a:pt x="1547" y="1968"/>
                    <a:pt x="1539" y="1962"/>
                  </a:cubicBezTo>
                  <a:cubicBezTo>
                    <a:pt x="1538" y="1962"/>
                    <a:pt x="1536" y="1961"/>
                    <a:pt x="1535" y="1960"/>
                  </a:cubicBezTo>
                  <a:cubicBezTo>
                    <a:pt x="1533" y="1958"/>
                    <a:pt x="1531" y="1956"/>
                    <a:pt x="1530" y="1954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4" y="1944"/>
                    <a:pt x="1520" y="1936"/>
                    <a:pt x="1515" y="1928"/>
                  </a:cubicBezTo>
                  <a:cubicBezTo>
                    <a:pt x="1513" y="1925"/>
                    <a:pt x="1513" y="1925"/>
                    <a:pt x="1513" y="1925"/>
                  </a:cubicBezTo>
                  <a:cubicBezTo>
                    <a:pt x="1512" y="1923"/>
                    <a:pt x="1512" y="1921"/>
                    <a:pt x="1512" y="1919"/>
                  </a:cubicBezTo>
                  <a:cubicBezTo>
                    <a:pt x="1512" y="1917"/>
                    <a:pt x="1513" y="1915"/>
                    <a:pt x="1515" y="1914"/>
                  </a:cubicBezTo>
                  <a:cubicBezTo>
                    <a:pt x="1517" y="1913"/>
                    <a:pt x="1519" y="1912"/>
                    <a:pt x="1522" y="1911"/>
                  </a:cubicBezTo>
                  <a:cubicBezTo>
                    <a:pt x="1524" y="1910"/>
                    <a:pt x="1528" y="1910"/>
                    <a:pt x="1531" y="1910"/>
                  </a:cubicBezTo>
                  <a:cubicBezTo>
                    <a:pt x="1532" y="1910"/>
                    <a:pt x="1532" y="1910"/>
                    <a:pt x="1532" y="1910"/>
                  </a:cubicBezTo>
                  <a:cubicBezTo>
                    <a:pt x="1540" y="1909"/>
                    <a:pt x="1548" y="1910"/>
                    <a:pt x="1553" y="1910"/>
                  </a:cubicBezTo>
                  <a:cubicBezTo>
                    <a:pt x="1573" y="1910"/>
                    <a:pt x="1604" y="1906"/>
                    <a:pt x="1617" y="1924"/>
                  </a:cubicBezTo>
                  <a:close/>
                  <a:moveTo>
                    <a:pt x="366" y="1441"/>
                  </a:moveTo>
                  <a:cubicBezTo>
                    <a:pt x="372" y="1443"/>
                    <a:pt x="377" y="1446"/>
                    <a:pt x="382" y="1448"/>
                  </a:cubicBezTo>
                  <a:cubicBezTo>
                    <a:pt x="392" y="1453"/>
                    <a:pt x="403" y="1458"/>
                    <a:pt x="413" y="1462"/>
                  </a:cubicBezTo>
                  <a:cubicBezTo>
                    <a:pt x="418" y="1464"/>
                    <a:pt x="422" y="1466"/>
                    <a:pt x="426" y="1468"/>
                  </a:cubicBezTo>
                  <a:cubicBezTo>
                    <a:pt x="430" y="1469"/>
                    <a:pt x="433" y="1470"/>
                    <a:pt x="437" y="1472"/>
                  </a:cubicBezTo>
                  <a:cubicBezTo>
                    <a:pt x="458" y="1479"/>
                    <a:pt x="479" y="1486"/>
                    <a:pt x="502" y="1492"/>
                  </a:cubicBezTo>
                  <a:cubicBezTo>
                    <a:pt x="527" y="1499"/>
                    <a:pt x="552" y="1505"/>
                    <a:pt x="578" y="1510"/>
                  </a:cubicBezTo>
                  <a:cubicBezTo>
                    <a:pt x="683" y="1532"/>
                    <a:pt x="786" y="1541"/>
                    <a:pt x="819" y="1542"/>
                  </a:cubicBezTo>
                  <a:cubicBezTo>
                    <a:pt x="819" y="1610"/>
                    <a:pt x="819" y="1610"/>
                    <a:pt x="819" y="1610"/>
                  </a:cubicBezTo>
                  <a:cubicBezTo>
                    <a:pt x="857" y="1570"/>
                    <a:pt x="857" y="1570"/>
                    <a:pt x="857" y="1570"/>
                  </a:cubicBezTo>
                  <a:cubicBezTo>
                    <a:pt x="906" y="1518"/>
                    <a:pt x="906" y="1518"/>
                    <a:pt x="906" y="1518"/>
                  </a:cubicBezTo>
                  <a:cubicBezTo>
                    <a:pt x="1019" y="1399"/>
                    <a:pt x="1019" y="1399"/>
                    <a:pt x="1019" y="1399"/>
                  </a:cubicBezTo>
                  <a:cubicBezTo>
                    <a:pt x="933" y="1308"/>
                    <a:pt x="933" y="1308"/>
                    <a:pt x="933" y="1308"/>
                  </a:cubicBezTo>
                  <a:cubicBezTo>
                    <a:pt x="819" y="1188"/>
                    <a:pt x="819" y="1188"/>
                    <a:pt x="819" y="1188"/>
                  </a:cubicBezTo>
                  <a:cubicBezTo>
                    <a:pt x="819" y="1271"/>
                    <a:pt x="819" y="1271"/>
                    <a:pt x="819" y="1271"/>
                  </a:cubicBezTo>
                  <a:cubicBezTo>
                    <a:pt x="740" y="1279"/>
                    <a:pt x="653" y="1266"/>
                    <a:pt x="578" y="1249"/>
                  </a:cubicBezTo>
                  <a:cubicBezTo>
                    <a:pt x="550" y="1242"/>
                    <a:pt x="525" y="1235"/>
                    <a:pt x="502" y="1229"/>
                  </a:cubicBezTo>
                  <a:cubicBezTo>
                    <a:pt x="471" y="1219"/>
                    <a:pt x="445" y="1211"/>
                    <a:pt x="426" y="1204"/>
                  </a:cubicBezTo>
                  <a:cubicBezTo>
                    <a:pt x="422" y="1202"/>
                    <a:pt x="418" y="1201"/>
                    <a:pt x="415" y="1199"/>
                  </a:cubicBezTo>
                  <a:cubicBezTo>
                    <a:pt x="414" y="1199"/>
                    <a:pt x="414" y="1199"/>
                    <a:pt x="413" y="1199"/>
                  </a:cubicBezTo>
                  <a:cubicBezTo>
                    <a:pt x="413" y="1199"/>
                    <a:pt x="413" y="1199"/>
                    <a:pt x="413" y="1199"/>
                  </a:cubicBezTo>
                  <a:cubicBezTo>
                    <a:pt x="354" y="1175"/>
                    <a:pt x="300" y="1147"/>
                    <a:pt x="253" y="1115"/>
                  </a:cubicBezTo>
                  <a:cubicBezTo>
                    <a:pt x="189" y="1073"/>
                    <a:pt x="142" y="1028"/>
                    <a:pt x="110" y="981"/>
                  </a:cubicBezTo>
                  <a:cubicBezTo>
                    <a:pt x="94" y="963"/>
                    <a:pt x="80" y="944"/>
                    <a:pt x="68" y="925"/>
                  </a:cubicBezTo>
                  <a:cubicBezTo>
                    <a:pt x="33" y="870"/>
                    <a:pt x="13" y="811"/>
                    <a:pt x="11" y="751"/>
                  </a:cubicBezTo>
                  <a:cubicBezTo>
                    <a:pt x="7" y="768"/>
                    <a:pt x="4" y="785"/>
                    <a:pt x="3" y="802"/>
                  </a:cubicBezTo>
                  <a:cubicBezTo>
                    <a:pt x="0" y="834"/>
                    <a:pt x="4" y="864"/>
                    <a:pt x="7" y="893"/>
                  </a:cubicBezTo>
                  <a:cubicBezTo>
                    <a:pt x="8" y="898"/>
                    <a:pt x="9" y="904"/>
                    <a:pt x="9" y="909"/>
                  </a:cubicBezTo>
                  <a:cubicBezTo>
                    <a:pt x="22" y="1021"/>
                    <a:pt x="22" y="1021"/>
                    <a:pt x="22" y="1021"/>
                  </a:cubicBezTo>
                  <a:cubicBezTo>
                    <a:pt x="23" y="1025"/>
                    <a:pt x="23" y="1029"/>
                    <a:pt x="24" y="1033"/>
                  </a:cubicBezTo>
                  <a:cubicBezTo>
                    <a:pt x="25" y="1048"/>
                    <a:pt x="27" y="1064"/>
                    <a:pt x="30" y="1080"/>
                  </a:cubicBezTo>
                  <a:cubicBezTo>
                    <a:pt x="34" y="1101"/>
                    <a:pt x="40" y="1121"/>
                    <a:pt x="47" y="1140"/>
                  </a:cubicBezTo>
                  <a:cubicBezTo>
                    <a:pt x="61" y="1175"/>
                    <a:pt x="80" y="1208"/>
                    <a:pt x="103" y="1239"/>
                  </a:cubicBezTo>
                  <a:cubicBezTo>
                    <a:pt x="146" y="1295"/>
                    <a:pt x="202" y="1344"/>
                    <a:pt x="275" y="1390"/>
                  </a:cubicBezTo>
                  <a:cubicBezTo>
                    <a:pt x="304" y="1409"/>
                    <a:pt x="335" y="1426"/>
                    <a:pt x="366" y="1441"/>
                  </a:cubicBezTo>
                  <a:close/>
                  <a:moveTo>
                    <a:pt x="64" y="773"/>
                  </a:moveTo>
                  <a:cubicBezTo>
                    <a:pt x="67" y="798"/>
                    <a:pt x="74" y="823"/>
                    <a:pt x="84" y="848"/>
                  </a:cubicBezTo>
                  <a:cubicBezTo>
                    <a:pt x="107" y="785"/>
                    <a:pt x="165" y="713"/>
                    <a:pt x="209" y="677"/>
                  </a:cubicBezTo>
                  <a:cubicBezTo>
                    <a:pt x="272" y="628"/>
                    <a:pt x="353" y="583"/>
                    <a:pt x="451" y="545"/>
                  </a:cubicBezTo>
                  <a:cubicBezTo>
                    <a:pt x="515" y="521"/>
                    <a:pt x="582" y="501"/>
                    <a:pt x="652" y="486"/>
                  </a:cubicBezTo>
                  <a:cubicBezTo>
                    <a:pt x="652" y="314"/>
                    <a:pt x="652" y="314"/>
                    <a:pt x="652" y="314"/>
                  </a:cubicBezTo>
                  <a:cubicBezTo>
                    <a:pt x="640" y="317"/>
                    <a:pt x="627" y="320"/>
                    <a:pt x="615" y="323"/>
                  </a:cubicBezTo>
                  <a:cubicBezTo>
                    <a:pt x="544" y="340"/>
                    <a:pt x="476" y="361"/>
                    <a:pt x="413" y="386"/>
                  </a:cubicBezTo>
                  <a:cubicBezTo>
                    <a:pt x="345" y="413"/>
                    <a:pt x="288" y="442"/>
                    <a:pt x="238" y="474"/>
                  </a:cubicBezTo>
                  <a:cubicBezTo>
                    <a:pt x="204" y="496"/>
                    <a:pt x="178" y="516"/>
                    <a:pt x="153" y="537"/>
                  </a:cubicBezTo>
                  <a:cubicBezTo>
                    <a:pt x="142" y="547"/>
                    <a:pt x="131" y="556"/>
                    <a:pt x="122" y="566"/>
                  </a:cubicBezTo>
                  <a:cubicBezTo>
                    <a:pt x="81" y="622"/>
                    <a:pt x="60" y="684"/>
                    <a:pt x="62" y="747"/>
                  </a:cubicBezTo>
                  <a:cubicBezTo>
                    <a:pt x="62" y="756"/>
                    <a:pt x="63" y="764"/>
                    <a:pt x="64" y="773"/>
                  </a:cubicBezTo>
                  <a:close/>
                  <a:moveTo>
                    <a:pt x="1928" y="693"/>
                  </a:moveTo>
                  <a:cubicBezTo>
                    <a:pt x="1966" y="727"/>
                    <a:pt x="2007" y="795"/>
                    <a:pt x="2021" y="856"/>
                  </a:cubicBezTo>
                  <a:cubicBezTo>
                    <a:pt x="2034" y="828"/>
                    <a:pt x="2042" y="798"/>
                    <a:pt x="2045" y="768"/>
                  </a:cubicBezTo>
                  <a:cubicBezTo>
                    <a:pt x="2046" y="761"/>
                    <a:pt x="2047" y="754"/>
                    <a:pt x="2047" y="747"/>
                  </a:cubicBezTo>
                  <a:cubicBezTo>
                    <a:pt x="2049" y="670"/>
                    <a:pt x="2018" y="595"/>
                    <a:pt x="1958" y="530"/>
                  </a:cubicBezTo>
                  <a:cubicBezTo>
                    <a:pt x="1924" y="501"/>
                    <a:pt x="1884" y="473"/>
                    <a:pt x="1839" y="447"/>
                  </a:cubicBezTo>
                  <a:cubicBezTo>
                    <a:pt x="1782" y="415"/>
                    <a:pt x="1718" y="387"/>
                    <a:pt x="1639" y="359"/>
                  </a:cubicBezTo>
                  <a:cubicBezTo>
                    <a:pt x="1584" y="340"/>
                    <a:pt x="1524" y="324"/>
                    <a:pt x="1457" y="310"/>
                  </a:cubicBezTo>
                  <a:cubicBezTo>
                    <a:pt x="1457" y="482"/>
                    <a:pt x="1457" y="482"/>
                    <a:pt x="1457" y="482"/>
                  </a:cubicBezTo>
                  <a:cubicBezTo>
                    <a:pt x="1542" y="500"/>
                    <a:pt x="1625" y="525"/>
                    <a:pt x="1700" y="556"/>
                  </a:cubicBezTo>
                  <a:cubicBezTo>
                    <a:pt x="1795" y="595"/>
                    <a:pt x="1871" y="642"/>
                    <a:pt x="1928" y="693"/>
                  </a:cubicBezTo>
                  <a:close/>
                  <a:moveTo>
                    <a:pt x="1054" y="814"/>
                  </a:moveTo>
                  <a:cubicBezTo>
                    <a:pt x="1186" y="814"/>
                    <a:pt x="1408" y="789"/>
                    <a:pt x="1408" y="696"/>
                  </a:cubicBezTo>
                  <a:cubicBezTo>
                    <a:pt x="1408" y="118"/>
                    <a:pt x="1408" y="118"/>
                    <a:pt x="1408" y="118"/>
                  </a:cubicBezTo>
                  <a:cubicBezTo>
                    <a:pt x="1408" y="25"/>
                    <a:pt x="1186" y="0"/>
                    <a:pt x="1054" y="0"/>
                  </a:cubicBezTo>
                  <a:cubicBezTo>
                    <a:pt x="923" y="0"/>
                    <a:pt x="701" y="25"/>
                    <a:pt x="701" y="118"/>
                  </a:cubicBezTo>
                  <a:cubicBezTo>
                    <a:pt x="701" y="696"/>
                    <a:pt x="701" y="696"/>
                    <a:pt x="701" y="696"/>
                  </a:cubicBezTo>
                  <a:cubicBezTo>
                    <a:pt x="701" y="789"/>
                    <a:pt x="923" y="814"/>
                    <a:pt x="1054" y="814"/>
                  </a:cubicBezTo>
                  <a:close/>
                  <a:moveTo>
                    <a:pt x="1054" y="35"/>
                  </a:moveTo>
                  <a:cubicBezTo>
                    <a:pt x="1219" y="35"/>
                    <a:pt x="1352" y="71"/>
                    <a:pt x="1352" y="116"/>
                  </a:cubicBezTo>
                  <a:cubicBezTo>
                    <a:pt x="1352" y="161"/>
                    <a:pt x="1219" y="197"/>
                    <a:pt x="1054" y="197"/>
                  </a:cubicBezTo>
                  <a:cubicBezTo>
                    <a:pt x="890" y="197"/>
                    <a:pt x="757" y="161"/>
                    <a:pt x="757" y="116"/>
                  </a:cubicBezTo>
                  <a:cubicBezTo>
                    <a:pt x="757" y="71"/>
                    <a:pt x="890" y="35"/>
                    <a:pt x="1054" y="35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271" tIns="41136" rIns="82271" bIns="41136" numCol="1" anchor="t" anchorCtr="0" compatLnSpc="1">
              <a:prstTxWarp prst="textNoShape">
                <a:avLst/>
              </a:prstTxWarp>
            </a:bodyPr>
            <a:lstStyle/>
            <a:p>
              <a:pPr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928115" y="2956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8229647" y="1402048"/>
            <a:ext cx="792000" cy="792000"/>
            <a:chOff x="9702796" y="530723"/>
            <a:chExt cx="792000" cy="792000"/>
          </a:xfrm>
        </p:grpSpPr>
        <p:sp>
          <p:nvSpPr>
            <p:cNvPr id="109" name="Freeform 9"/>
            <p:cNvSpPr>
              <a:spLocks noChangeAspect="1" noEditPoints="1"/>
            </p:cNvSpPr>
            <p:nvPr/>
          </p:nvSpPr>
          <p:spPr bwMode="black">
            <a:xfrm>
              <a:off x="9738796" y="566723"/>
              <a:ext cx="720001" cy="720000"/>
            </a:xfrm>
            <a:custGeom>
              <a:avLst/>
              <a:gdLst>
                <a:gd name="T0" fmla="*/ 204 w 300"/>
                <a:gd name="T1" fmla="*/ 62 h 300"/>
                <a:gd name="T2" fmla="*/ 232 w 300"/>
                <a:gd name="T3" fmla="*/ 76 h 300"/>
                <a:gd name="T4" fmla="*/ 204 w 300"/>
                <a:gd name="T5" fmla="*/ 89 h 300"/>
                <a:gd name="T6" fmla="*/ 174 w 300"/>
                <a:gd name="T7" fmla="*/ 83 h 300"/>
                <a:gd name="T8" fmla="*/ 178 w 300"/>
                <a:gd name="T9" fmla="*/ 49 h 300"/>
                <a:gd name="T10" fmla="*/ 150 w 300"/>
                <a:gd name="T11" fmla="*/ 35 h 300"/>
                <a:gd name="T12" fmla="*/ 178 w 300"/>
                <a:gd name="T13" fmla="*/ 22 h 300"/>
                <a:gd name="T14" fmla="*/ 208 w 300"/>
                <a:gd name="T15" fmla="*/ 28 h 300"/>
                <a:gd name="T16" fmla="*/ 288 w 300"/>
                <a:gd name="T17" fmla="*/ 199 h 300"/>
                <a:gd name="T18" fmla="*/ 266 w 300"/>
                <a:gd name="T19" fmla="*/ 219 h 300"/>
                <a:gd name="T20" fmla="*/ 169 w 300"/>
                <a:gd name="T21" fmla="*/ 242 h 300"/>
                <a:gd name="T22" fmla="*/ 47 w 300"/>
                <a:gd name="T23" fmla="*/ 175 h 300"/>
                <a:gd name="T24" fmla="*/ 130 w 300"/>
                <a:gd name="T25" fmla="*/ 160 h 300"/>
                <a:gd name="T26" fmla="*/ 198 w 300"/>
                <a:gd name="T27" fmla="*/ 158 h 300"/>
                <a:gd name="T28" fmla="*/ 201 w 300"/>
                <a:gd name="T29" fmla="*/ 183 h 300"/>
                <a:gd name="T30" fmla="*/ 144 w 300"/>
                <a:gd name="T31" fmla="*/ 190 h 300"/>
                <a:gd name="T32" fmla="*/ 223 w 300"/>
                <a:gd name="T33" fmla="*/ 207 h 300"/>
                <a:gd name="T34" fmla="*/ 287 w 300"/>
                <a:gd name="T35" fmla="*/ 182 h 300"/>
                <a:gd name="T36" fmla="*/ 34 w 300"/>
                <a:gd name="T37" fmla="*/ 162 h 300"/>
                <a:gd name="T38" fmla="*/ 0 w 300"/>
                <a:gd name="T39" fmla="*/ 228 h 300"/>
                <a:gd name="T40" fmla="*/ 39 w 300"/>
                <a:gd name="T41" fmla="*/ 224 h 300"/>
                <a:gd name="T42" fmla="*/ 34 w 300"/>
                <a:gd name="T43" fmla="*/ 162 h 300"/>
                <a:gd name="T44" fmla="*/ 300 w 300"/>
                <a:gd name="T45" fmla="*/ 294 h 300"/>
                <a:gd name="T46" fmla="*/ 0 w 300"/>
                <a:gd name="T47" fmla="*/ 300 h 300"/>
                <a:gd name="T48" fmla="*/ 270 w 300"/>
                <a:gd name="T49" fmla="*/ 86 h 300"/>
                <a:gd name="T50" fmla="*/ 274 w 300"/>
                <a:gd name="T51" fmla="*/ 68 h 300"/>
                <a:gd name="T52" fmla="*/ 296 w 300"/>
                <a:gd name="T53" fmla="*/ 44 h 300"/>
                <a:gd name="T54" fmla="*/ 290 w 300"/>
                <a:gd name="T55" fmla="*/ 9 h 300"/>
                <a:gd name="T56" fmla="*/ 239 w 300"/>
                <a:gd name="T57" fmla="*/ 8 h 300"/>
                <a:gd name="T58" fmla="*/ 242 w 300"/>
                <a:gd name="T59" fmla="*/ 34 h 300"/>
                <a:gd name="T60" fmla="*/ 264 w 300"/>
                <a:gd name="T61" fmla="*/ 11 h 300"/>
                <a:gd name="T62" fmla="*/ 286 w 300"/>
                <a:gd name="T63" fmla="*/ 31 h 300"/>
                <a:gd name="T64" fmla="*/ 274 w 300"/>
                <a:gd name="T65" fmla="*/ 50 h 300"/>
                <a:gd name="T66" fmla="*/ 259 w 300"/>
                <a:gd name="T67" fmla="*/ 68 h 300"/>
                <a:gd name="T68" fmla="*/ 256 w 300"/>
                <a:gd name="T69" fmla="*/ 86 h 300"/>
                <a:gd name="T70" fmla="*/ 270 w 300"/>
                <a:gd name="T71" fmla="*/ 111 h 300"/>
                <a:gd name="T72" fmla="*/ 256 w 300"/>
                <a:gd name="T73" fmla="*/ 98 h 300"/>
                <a:gd name="T74" fmla="*/ 270 w 300"/>
                <a:gd name="T75" fmla="*/ 111 h 300"/>
                <a:gd name="T76" fmla="*/ 75 w 300"/>
                <a:gd name="T77" fmla="*/ 111 h 300"/>
                <a:gd name="T78" fmla="*/ 98 w 300"/>
                <a:gd name="T79" fmla="*/ 0 h 300"/>
                <a:gd name="T80" fmla="*/ 153 w 300"/>
                <a:gd name="T81" fmla="*/ 111 h 300"/>
                <a:gd name="T82" fmla="*/ 126 w 300"/>
                <a:gd name="T83" fmla="*/ 76 h 300"/>
                <a:gd name="T84" fmla="*/ 123 w 300"/>
                <a:gd name="T85" fmla="*/ 65 h 300"/>
                <a:gd name="T86" fmla="*/ 106 w 300"/>
                <a:gd name="T87" fmla="*/ 13 h 300"/>
                <a:gd name="T88" fmla="*/ 100 w 300"/>
                <a:gd name="T89" fmla="*/ 33 h 300"/>
                <a:gd name="T90" fmla="*/ 123 w 300"/>
                <a:gd name="T91" fmla="*/ 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0" h="300">
                  <a:moveTo>
                    <a:pt x="174" y="83"/>
                  </a:moveTo>
                  <a:cubicBezTo>
                    <a:pt x="204" y="62"/>
                    <a:pt x="204" y="62"/>
                    <a:pt x="204" y="62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32" y="76"/>
                    <a:pt x="232" y="76"/>
                    <a:pt x="232" y="76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4" y="104"/>
                    <a:pt x="204" y="104"/>
                    <a:pt x="204" y="104"/>
                  </a:cubicBezTo>
                  <a:lnTo>
                    <a:pt x="174" y="83"/>
                  </a:lnTo>
                  <a:close/>
                  <a:moveTo>
                    <a:pt x="208" y="28"/>
                  </a:moveTo>
                  <a:cubicBezTo>
                    <a:pt x="178" y="49"/>
                    <a:pt x="178" y="49"/>
                    <a:pt x="178" y="49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8" y="7"/>
                    <a:pt x="178" y="7"/>
                    <a:pt x="178" y="7"/>
                  </a:cubicBezTo>
                  <a:lnTo>
                    <a:pt x="208" y="28"/>
                  </a:lnTo>
                  <a:close/>
                  <a:moveTo>
                    <a:pt x="300" y="190"/>
                  </a:moveTo>
                  <a:cubicBezTo>
                    <a:pt x="300" y="190"/>
                    <a:pt x="299" y="191"/>
                    <a:pt x="288" y="199"/>
                  </a:cubicBezTo>
                  <a:cubicBezTo>
                    <a:pt x="288" y="199"/>
                    <a:pt x="286" y="203"/>
                    <a:pt x="285" y="203"/>
                  </a:cubicBezTo>
                  <a:cubicBezTo>
                    <a:pt x="280" y="207"/>
                    <a:pt x="275" y="212"/>
                    <a:pt x="266" y="219"/>
                  </a:cubicBezTo>
                  <a:cubicBezTo>
                    <a:pt x="257" y="219"/>
                    <a:pt x="238" y="228"/>
                    <a:pt x="229" y="233"/>
                  </a:cubicBezTo>
                  <a:cubicBezTo>
                    <a:pt x="212" y="233"/>
                    <a:pt x="187" y="237"/>
                    <a:pt x="169" y="242"/>
                  </a:cubicBezTo>
                  <a:cubicBezTo>
                    <a:pt x="143" y="237"/>
                    <a:pt x="140" y="244"/>
                    <a:pt x="47" y="220"/>
                  </a:cubicBezTo>
                  <a:cubicBezTo>
                    <a:pt x="47" y="220"/>
                    <a:pt x="47" y="183"/>
                    <a:pt x="47" y="175"/>
                  </a:cubicBezTo>
                  <a:cubicBezTo>
                    <a:pt x="64" y="170"/>
                    <a:pt x="69" y="160"/>
                    <a:pt x="89" y="157"/>
                  </a:cubicBezTo>
                  <a:cubicBezTo>
                    <a:pt x="103" y="155"/>
                    <a:pt x="116" y="156"/>
                    <a:pt x="130" y="160"/>
                  </a:cubicBezTo>
                  <a:cubicBezTo>
                    <a:pt x="139" y="163"/>
                    <a:pt x="148" y="164"/>
                    <a:pt x="163" y="163"/>
                  </a:cubicBezTo>
                  <a:cubicBezTo>
                    <a:pt x="176" y="162"/>
                    <a:pt x="181" y="158"/>
                    <a:pt x="198" y="158"/>
                  </a:cubicBezTo>
                  <a:cubicBezTo>
                    <a:pt x="209" y="158"/>
                    <a:pt x="220" y="165"/>
                    <a:pt x="219" y="171"/>
                  </a:cubicBezTo>
                  <a:cubicBezTo>
                    <a:pt x="219" y="177"/>
                    <a:pt x="208" y="183"/>
                    <a:pt x="201" y="183"/>
                  </a:cubicBezTo>
                  <a:cubicBezTo>
                    <a:pt x="185" y="184"/>
                    <a:pt x="189" y="183"/>
                    <a:pt x="174" y="183"/>
                  </a:cubicBezTo>
                  <a:cubicBezTo>
                    <a:pt x="156" y="182"/>
                    <a:pt x="155" y="186"/>
                    <a:pt x="144" y="190"/>
                  </a:cubicBezTo>
                  <a:cubicBezTo>
                    <a:pt x="155" y="194"/>
                    <a:pt x="162" y="198"/>
                    <a:pt x="177" y="206"/>
                  </a:cubicBezTo>
                  <a:cubicBezTo>
                    <a:pt x="193" y="204"/>
                    <a:pt x="209" y="206"/>
                    <a:pt x="223" y="207"/>
                  </a:cubicBezTo>
                  <a:cubicBezTo>
                    <a:pt x="235" y="204"/>
                    <a:pt x="241" y="199"/>
                    <a:pt x="255" y="198"/>
                  </a:cubicBezTo>
                  <a:cubicBezTo>
                    <a:pt x="264" y="191"/>
                    <a:pt x="276" y="180"/>
                    <a:pt x="287" y="182"/>
                  </a:cubicBezTo>
                  <a:cubicBezTo>
                    <a:pt x="293" y="183"/>
                    <a:pt x="300" y="190"/>
                    <a:pt x="300" y="190"/>
                  </a:cubicBezTo>
                  <a:close/>
                  <a:moveTo>
                    <a:pt x="34" y="162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34" y="228"/>
                    <a:pt x="34" y="228"/>
                    <a:pt x="34" y="228"/>
                  </a:cubicBezTo>
                  <a:cubicBezTo>
                    <a:pt x="37" y="228"/>
                    <a:pt x="39" y="226"/>
                    <a:pt x="39" y="224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4"/>
                    <a:pt x="37" y="162"/>
                    <a:pt x="34" y="162"/>
                  </a:cubicBezTo>
                  <a:close/>
                  <a:moveTo>
                    <a:pt x="300" y="300"/>
                  </a:moveTo>
                  <a:cubicBezTo>
                    <a:pt x="300" y="294"/>
                    <a:pt x="300" y="294"/>
                    <a:pt x="300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300" y="300"/>
                    <a:pt x="300" y="300"/>
                    <a:pt x="300" y="300"/>
                  </a:cubicBezTo>
                  <a:close/>
                  <a:moveTo>
                    <a:pt x="270" y="86"/>
                  </a:moveTo>
                  <a:cubicBezTo>
                    <a:pt x="270" y="81"/>
                    <a:pt x="270" y="77"/>
                    <a:pt x="271" y="74"/>
                  </a:cubicBezTo>
                  <a:cubicBezTo>
                    <a:pt x="272" y="72"/>
                    <a:pt x="273" y="70"/>
                    <a:pt x="274" y="68"/>
                  </a:cubicBezTo>
                  <a:cubicBezTo>
                    <a:pt x="275" y="66"/>
                    <a:pt x="278" y="63"/>
                    <a:pt x="283" y="59"/>
                  </a:cubicBezTo>
                  <a:cubicBezTo>
                    <a:pt x="289" y="53"/>
                    <a:pt x="294" y="48"/>
                    <a:pt x="296" y="44"/>
                  </a:cubicBezTo>
                  <a:cubicBezTo>
                    <a:pt x="299" y="40"/>
                    <a:pt x="300" y="35"/>
                    <a:pt x="300" y="31"/>
                  </a:cubicBezTo>
                  <a:cubicBezTo>
                    <a:pt x="300" y="22"/>
                    <a:pt x="296" y="15"/>
                    <a:pt x="290" y="9"/>
                  </a:cubicBezTo>
                  <a:cubicBezTo>
                    <a:pt x="283" y="3"/>
                    <a:pt x="275" y="0"/>
                    <a:pt x="264" y="0"/>
                  </a:cubicBezTo>
                  <a:cubicBezTo>
                    <a:pt x="253" y="0"/>
                    <a:pt x="245" y="3"/>
                    <a:pt x="239" y="8"/>
                  </a:cubicBezTo>
                  <a:cubicBezTo>
                    <a:pt x="231" y="15"/>
                    <a:pt x="228" y="24"/>
                    <a:pt x="228" y="34"/>
                  </a:cubicBezTo>
                  <a:cubicBezTo>
                    <a:pt x="242" y="34"/>
                    <a:pt x="242" y="34"/>
                    <a:pt x="242" y="34"/>
                  </a:cubicBezTo>
                  <a:cubicBezTo>
                    <a:pt x="243" y="26"/>
                    <a:pt x="243" y="21"/>
                    <a:pt x="249" y="17"/>
                  </a:cubicBezTo>
                  <a:cubicBezTo>
                    <a:pt x="253" y="13"/>
                    <a:pt x="258" y="11"/>
                    <a:pt x="264" y="11"/>
                  </a:cubicBezTo>
                  <a:cubicBezTo>
                    <a:pt x="270" y="11"/>
                    <a:pt x="277" y="13"/>
                    <a:pt x="281" y="17"/>
                  </a:cubicBezTo>
                  <a:cubicBezTo>
                    <a:pt x="285" y="21"/>
                    <a:pt x="286" y="25"/>
                    <a:pt x="286" y="31"/>
                  </a:cubicBezTo>
                  <a:cubicBezTo>
                    <a:pt x="286" y="34"/>
                    <a:pt x="285" y="37"/>
                    <a:pt x="283" y="40"/>
                  </a:cubicBezTo>
                  <a:cubicBezTo>
                    <a:pt x="282" y="42"/>
                    <a:pt x="279" y="46"/>
                    <a:pt x="274" y="50"/>
                  </a:cubicBezTo>
                  <a:cubicBezTo>
                    <a:pt x="269" y="54"/>
                    <a:pt x="266" y="57"/>
                    <a:pt x="264" y="59"/>
                  </a:cubicBezTo>
                  <a:cubicBezTo>
                    <a:pt x="262" y="62"/>
                    <a:pt x="260" y="65"/>
                    <a:pt x="259" y="68"/>
                  </a:cubicBezTo>
                  <a:cubicBezTo>
                    <a:pt x="257" y="72"/>
                    <a:pt x="256" y="77"/>
                    <a:pt x="256" y="82"/>
                  </a:cubicBezTo>
                  <a:cubicBezTo>
                    <a:pt x="256" y="83"/>
                    <a:pt x="256" y="85"/>
                    <a:pt x="256" y="86"/>
                  </a:cubicBezTo>
                  <a:lnTo>
                    <a:pt x="270" y="86"/>
                  </a:lnTo>
                  <a:close/>
                  <a:moveTo>
                    <a:pt x="270" y="111"/>
                  </a:moveTo>
                  <a:cubicBezTo>
                    <a:pt x="270" y="98"/>
                    <a:pt x="270" y="98"/>
                    <a:pt x="270" y="98"/>
                  </a:cubicBezTo>
                  <a:cubicBezTo>
                    <a:pt x="256" y="98"/>
                    <a:pt x="256" y="98"/>
                    <a:pt x="256" y="98"/>
                  </a:cubicBezTo>
                  <a:cubicBezTo>
                    <a:pt x="256" y="111"/>
                    <a:pt x="256" y="111"/>
                    <a:pt x="256" y="111"/>
                  </a:cubicBezTo>
                  <a:lnTo>
                    <a:pt x="270" y="111"/>
                  </a:lnTo>
                  <a:close/>
                  <a:moveTo>
                    <a:pt x="86" y="76"/>
                  </a:moveTo>
                  <a:cubicBezTo>
                    <a:pt x="75" y="111"/>
                    <a:pt x="75" y="111"/>
                    <a:pt x="75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38" y="111"/>
                    <a:pt x="138" y="111"/>
                    <a:pt x="138" y="111"/>
                  </a:cubicBezTo>
                  <a:cubicBezTo>
                    <a:pt x="126" y="76"/>
                    <a:pt x="126" y="76"/>
                    <a:pt x="126" y="76"/>
                  </a:cubicBezTo>
                  <a:lnTo>
                    <a:pt x="86" y="76"/>
                  </a:lnTo>
                  <a:close/>
                  <a:moveTo>
                    <a:pt x="123" y="65"/>
                  </a:moveTo>
                  <a:cubicBezTo>
                    <a:pt x="112" y="33"/>
                    <a:pt x="112" y="33"/>
                    <a:pt x="112" y="33"/>
                  </a:cubicBezTo>
                  <a:cubicBezTo>
                    <a:pt x="109" y="26"/>
                    <a:pt x="108" y="19"/>
                    <a:pt x="106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4" y="19"/>
                    <a:pt x="102" y="26"/>
                    <a:pt x="100" y="33"/>
                  </a:cubicBezTo>
                  <a:cubicBezTo>
                    <a:pt x="89" y="65"/>
                    <a:pt x="89" y="65"/>
                    <a:pt x="89" y="65"/>
                  </a:cubicBezTo>
                  <a:lnTo>
                    <a:pt x="123" y="65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1218907"/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9702796" y="53072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7262868" y="2188168"/>
            <a:ext cx="792000" cy="792000"/>
            <a:chOff x="10136219" y="902180"/>
            <a:chExt cx="792000" cy="792000"/>
          </a:xfrm>
        </p:grpSpPr>
        <p:sp>
          <p:nvSpPr>
            <p:cNvPr id="112" name="Freeform 81"/>
            <p:cNvSpPr>
              <a:spLocks noEditPoints="1"/>
            </p:cNvSpPr>
            <p:nvPr/>
          </p:nvSpPr>
          <p:spPr bwMode="auto">
            <a:xfrm>
              <a:off x="10136219" y="1038594"/>
              <a:ext cx="792000" cy="519172"/>
            </a:xfrm>
            <a:custGeom>
              <a:avLst/>
              <a:gdLst>
                <a:gd name="T0" fmla="*/ 1588 w 3451"/>
                <a:gd name="T1" fmla="*/ 2110 h 2110"/>
                <a:gd name="T2" fmla="*/ 2100 w 3451"/>
                <a:gd name="T3" fmla="*/ 1951 h 2110"/>
                <a:gd name="T4" fmla="*/ 1141 w 3451"/>
                <a:gd name="T5" fmla="*/ 1911 h 2110"/>
                <a:gd name="T6" fmla="*/ 1215 w 3451"/>
                <a:gd name="T7" fmla="*/ 1929 h 2110"/>
                <a:gd name="T8" fmla="*/ 1799 w 3451"/>
                <a:gd name="T9" fmla="*/ 2021 h 2110"/>
                <a:gd name="T10" fmla="*/ 2036 w 3451"/>
                <a:gd name="T11" fmla="*/ 1911 h 2110"/>
                <a:gd name="T12" fmla="*/ 1121 w 3451"/>
                <a:gd name="T13" fmla="*/ 1193 h 2110"/>
                <a:gd name="T14" fmla="*/ 1992 w 3451"/>
                <a:gd name="T15" fmla="*/ 1211 h 2110"/>
                <a:gd name="T16" fmla="*/ 2497 w 3451"/>
                <a:gd name="T17" fmla="*/ 803 h 2110"/>
                <a:gd name="T18" fmla="*/ 975 w 3451"/>
                <a:gd name="T19" fmla="*/ 240 h 2110"/>
                <a:gd name="T20" fmla="*/ 1616 w 3451"/>
                <a:gd name="T21" fmla="*/ 736 h 2110"/>
                <a:gd name="T22" fmla="*/ 2006 w 3451"/>
                <a:gd name="T23" fmla="*/ 508 h 2110"/>
                <a:gd name="T24" fmla="*/ 1990 w 3451"/>
                <a:gd name="T25" fmla="*/ 320 h 2110"/>
                <a:gd name="T26" fmla="*/ 2004 w 3451"/>
                <a:gd name="T27" fmla="*/ 426 h 2110"/>
                <a:gd name="T28" fmla="*/ 2038 w 3451"/>
                <a:gd name="T29" fmla="*/ 1120 h 2110"/>
                <a:gd name="T30" fmla="*/ 2304 w 3451"/>
                <a:gd name="T31" fmla="*/ 985 h 2110"/>
                <a:gd name="T32" fmla="*/ 2225 w 3451"/>
                <a:gd name="T33" fmla="*/ 465 h 2110"/>
                <a:gd name="T34" fmla="*/ 2219 w 3451"/>
                <a:gd name="T35" fmla="*/ 477 h 2110"/>
                <a:gd name="T36" fmla="*/ 1844 w 3451"/>
                <a:gd name="T37" fmla="*/ 192 h 2110"/>
                <a:gd name="T38" fmla="*/ 1818 w 3451"/>
                <a:gd name="T39" fmla="*/ 109 h 2110"/>
                <a:gd name="T40" fmla="*/ 1133 w 3451"/>
                <a:gd name="T41" fmla="*/ 1121 h 2110"/>
                <a:gd name="T42" fmla="*/ 1171 w 3451"/>
                <a:gd name="T43" fmla="*/ 951 h 2110"/>
                <a:gd name="T44" fmla="*/ 1115 w 3451"/>
                <a:gd name="T45" fmla="*/ 350 h 2110"/>
                <a:gd name="T46" fmla="*/ 1155 w 3451"/>
                <a:gd name="T47" fmla="*/ 517 h 2110"/>
                <a:gd name="T48" fmla="*/ 1265 w 3451"/>
                <a:gd name="T49" fmla="*/ 843 h 2110"/>
                <a:gd name="T50" fmla="*/ 1555 w 3451"/>
                <a:gd name="T51" fmla="*/ 284 h 2110"/>
                <a:gd name="T52" fmla="*/ 1353 w 3451"/>
                <a:gd name="T53" fmla="*/ 109 h 2110"/>
                <a:gd name="T54" fmla="*/ 1221 w 3451"/>
                <a:gd name="T55" fmla="*/ 201 h 2110"/>
                <a:gd name="T56" fmla="*/ 923 w 3451"/>
                <a:gd name="T57" fmla="*/ 379 h 2110"/>
                <a:gd name="T58" fmla="*/ 945 w 3451"/>
                <a:gd name="T59" fmla="*/ 466 h 2110"/>
                <a:gd name="T60" fmla="*/ 447 w 3451"/>
                <a:gd name="T61" fmla="*/ 993 h 2110"/>
                <a:gd name="T62" fmla="*/ 2737 w 3451"/>
                <a:gd name="T63" fmla="*/ 1157 h 2110"/>
                <a:gd name="T64" fmla="*/ 1748 w 3451"/>
                <a:gd name="T65" fmla="*/ 1552 h 2110"/>
                <a:gd name="T66" fmla="*/ 2015 w 3451"/>
                <a:gd name="T67" fmla="*/ 1319 h 2110"/>
                <a:gd name="T68" fmla="*/ 581 w 3451"/>
                <a:gd name="T69" fmla="*/ 1265 h 2110"/>
                <a:gd name="T70" fmla="*/ 1557 w 3451"/>
                <a:gd name="T71" fmla="*/ 1799 h 2110"/>
                <a:gd name="T72" fmla="*/ 2476 w 3451"/>
                <a:gd name="T73" fmla="*/ 1476 h 2110"/>
                <a:gd name="T74" fmla="*/ 123 w 3451"/>
                <a:gd name="T75" fmla="*/ 1195 h 2110"/>
                <a:gd name="T76" fmla="*/ 231 w 3451"/>
                <a:gd name="T77" fmla="*/ 956 h 2110"/>
                <a:gd name="T78" fmla="*/ 530 w 3451"/>
                <a:gd name="T79" fmla="*/ 1074 h 2110"/>
                <a:gd name="T80" fmla="*/ 658 w 3451"/>
                <a:gd name="T81" fmla="*/ 1255 h 2110"/>
                <a:gd name="T82" fmla="*/ 628 w 3451"/>
                <a:gd name="T83" fmla="*/ 1016 h 2110"/>
                <a:gd name="T84" fmla="*/ 724 w 3451"/>
                <a:gd name="T85" fmla="*/ 1343 h 2110"/>
                <a:gd name="T86" fmla="*/ 824 w 3451"/>
                <a:gd name="T87" fmla="*/ 1434 h 2110"/>
                <a:gd name="T88" fmla="*/ 767 w 3451"/>
                <a:gd name="T89" fmla="*/ 1212 h 2110"/>
                <a:gd name="T90" fmla="*/ 927 w 3451"/>
                <a:gd name="T91" fmla="*/ 1501 h 2110"/>
                <a:gd name="T92" fmla="*/ 988 w 3451"/>
                <a:gd name="T93" fmla="*/ 1427 h 2110"/>
                <a:gd name="T94" fmla="*/ 1270 w 3451"/>
                <a:gd name="T95" fmla="*/ 1671 h 2110"/>
                <a:gd name="T96" fmla="*/ 1264 w 3451"/>
                <a:gd name="T97" fmla="*/ 1444 h 2110"/>
                <a:gd name="T98" fmla="*/ 1501 w 3451"/>
                <a:gd name="T99" fmla="*/ 1703 h 2110"/>
                <a:gd name="T100" fmla="*/ 1695 w 3451"/>
                <a:gd name="T101" fmla="*/ 1440 h 2110"/>
                <a:gd name="T102" fmla="*/ 2020 w 3451"/>
                <a:gd name="T103" fmla="*/ 1654 h 2110"/>
                <a:gd name="T104" fmla="*/ 1901 w 3451"/>
                <a:gd name="T105" fmla="*/ 1457 h 2110"/>
                <a:gd name="T106" fmla="*/ 2053 w 3451"/>
                <a:gd name="T107" fmla="*/ 1600 h 2110"/>
                <a:gd name="T108" fmla="*/ 2208 w 3451"/>
                <a:gd name="T109" fmla="*/ 1543 h 2110"/>
                <a:gd name="T110" fmla="*/ 2294 w 3451"/>
                <a:gd name="T111" fmla="*/ 1280 h 2110"/>
                <a:gd name="T112" fmla="*/ 2386 w 3451"/>
                <a:gd name="T113" fmla="*/ 1486 h 2110"/>
                <a:gd name="T114" fmla="*/ 2473 w 3451"/>
                <a:gd name="T115" fmla="*/ 1155 h 2110"/>
                <a:gd name="T116" fmla="*/ 2654 w 3451"/>
                <a:gd name="T117" fmla="*/ 1074 h 2110"/>
                <a:gd name="T118" fmla="*/ 2954 w 3451"/>
                <a:gd name="T119" fmla="*/ 1154 h 2110"/>
                <a:gd name="T120" fmla="*/ 3062 w 3451"/>
                <a:gd name="T121" fmla="*/ 1154 h 2110"/>
                <a:gd name="T122" fmla="*/ 1038 w 3451"/>
                <a:gd name="T123" fmla="*/ 1498 h 2110"/>
                <a:gd name="T124" fmla="*/ 2472 w 3451"/>
                <a:gd name="T125" fmla="*/ 1231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1" h="2110">
                  <a:moveTo>
                    <a:pt x="1585" y="1902"/>
                  </a:moveTo>
                  <a:cubicBezTo>
                    <a:pt x="1383" y="1902"/>
                    <a:pt x="1184" y="1867"/>
                    <a:pt x="1012" y="1802"/>
                  </a:cubicBezTo>
                  <a:cubicBezTo>
                    <a:pt x="945" y="1776"/>
                    <a:pt x="884" y="1747"/>
                    <a:pt x="828" y="1714"/>
                  </a:cubicBezTo>
                  <a:cubicBezTo>
                    <a:pt x="896" y="1807"/>
                    <a:pt x="980" y="1887"/>
                    <a:pt x="1077" y="1951"/>
                  </a:cubicBezTo>
                  <a:cubicBezTo>
                    <a:pt x="1119" y="1979"/>
                    <a:pt x="1165" y="2004"/>
                    <a:pt x="1212" y="2026"/>
                  </a:cubicBezTo>
                  <a:cubicBezTo>
                    <a:pt x="1264" y="2049"/>
                    <a:pt x="1318" y="2068"/>
                    <a:pt x="1375" y="2082"/>
                  </a:cubicBezTo>
                  <a:cubicBezTo>
                    <a:pt x="1443" y="2099"/>
                    <a:pt x="1515" y="2108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662" y="2108"/>
                    <a:pt x="1733" y="2099"/>
                    <a:pt x="1802" y="2082"/>
                  </a:cubicBezTo>
                  <a:cubicBezTo>
                    <a:pt x="1858" y="2068"/>
                    <a:pt x="1913" y="2049"/>
                    <a:pt x="1965" y="2026"/>
                  </a:cubicBezTo>
                  <a:cubicBezTo>
                    <a:pt x="2012" y="2004"/>
                    <a:pt x="2057" y="1979"/>
                    <a:pt x="2100" y="1951"/>
                  </a:cubicBezTo>
                  <a:cubicBezTo>
                    <a:pt x="2199" y="1886"/>
                    <a:pt x="2285" y="1802"/>
                    <a:pt x="2354" y="1706"/>
                  </a:cubicBezTo>
                  <a:cubicBezTo>
                    <a:pt x="2264" y="1761"/>
                    <a:pt x="2159" y="1806"/>
                    <a:pt x="2045" y="1839"/>
                  </a:cubicBezTo>
                  <a:cubicBezTo>
                    <a:pt x="1899" y="1881"/>
                    <a:pt x="1744" y="1902"/>
                    <a:pt x="1585" y="1902"/>
                  </a:cubicBezTo>
                  <a:close/>
                  <a:moveTo>
                    <a:pt x="1104" y="1897"/>
                  </a:moveTo>
                  <a:cubicBezTo>
                    <a:pt x="1087" y="1886"/>
                    <a:pt x="1071" y="1874"/>
                    <a:pt x="1054" y="1861"/>
                  </a:cubicBezTo>
                  <a:cubicBezTo>
                    <a:pt x="1080" y="1873"/>
                    <a:pt x="1107" y="1883"/>
                    <a:pt x="1134" y="1893"/>
                  </a:cubicBezTo>
                  <a:cubicBezTo>
                    <a:pt x="1136" y="1899"/>
                    <a:pt x="1138" y="1905"/>
                    <a:pt x="1141" y="1911"/>
                  </a:cubicBezTo>
                  <a:cubicBezTo>
                    <a:pt x="1128" y="1907"/>
                    <a:pt x="1116" y="1902"/>
                    <a:pt x="1104" y="1897"/>
                  </a:cubicBezTo>
                  <a:close/>
                  <a:moveTo>
                    <a:pt x="1557" y="2049"/>
                  </a:moveTo>
                  <a:cubicBezTo>
                    <a:pt x="1532" y="2048"/>
                    <a:pt x="1513" y="2045"/>
                    <a:pt x="1488" y="2042"/>
                  </a:cubicBezTo>
                  <a:cubicBezTo>
                    <a:pt x="1451" y="2037"/>
                    <a:pt x="1414" y="2030"/>
                    <a:pt x="1378" y="2021"/>
                  </a:cubicBezTo>
                  <a:cubicBezTo>
                    <a:pt x="1353" y="2014"/>
                    <a:pt x="1328" y="2007"/>
                    <a:pt x="1304" y="1998"/>
                  </a:cubicBezTo>
                  <a:cubicBezTo>
                    <a:pt x="1284" y="1991"/>
                    <a:pt x="1265" y="1983"/>
                    <a:pt x="1247" y="1975"/>
                  </a:cubicBezTo>
                  <a:cubicBezTo>
                    <a:pt x="1235" y="1962"/>
                    <a:pt x="1224" y="1947"/>
                    <a:pt x="1215" y="1929"/>
                  </a:cubicBezTo>
                  <a:cubicBezTo>
                    <a:pt x="1213" y="1925"/>
                    <a:pt x="1211" y="1921"/>
                    <a:pt x="1209" y="1917"/>
                  </a:cubicBezTo>
                  <a:cubicBezTo>
                    <a:pt x="1329" y="1952"/>
                    <a:pt x="1449" y="1971"/>
                    <a:pt x="1557" y="1973"/>
                  </a:cubicBezTo>
                  <a:lnTo>
                    <a:pt x="1557" y="2049"/>
                  </a:lnTo>
                  <a:close/>
                  <a:moveTo>
                    <a:pt x="1962" y="1929"/>
                  </a:moveTo>
                  <a:cubicBezTo>
                    <a:pt x="1952" y="1947"/>
                    <a:pt x="1942" y="1962"/>
                    <a:pt x="1930" y="1975"/>
                  </a:cubicBezTo>
                  <a:cubicBezTo>
                    <a:pt x="1911" y="1983"/>
                    <a:pt x="1892" y="1991"/>
                    <a:pt x="1873" y="1998"/>
                  </a:cubicBezTo>
                  <a:cubicBezTo>
                    <a:pt x="1849" y="2007"/>
                    <a:pt x="1824" y="2014"/>
                    <a:pt x="1799" y="2021"/>
                  </a:cubicBezTo>
                  <a:cubicBezTo>
                    <a:pt x="1763" y="2030"/>
                    <a:pt x="1726" y="2037"/>
                    <a:pt x="1689" y="2042"/>
                  </a:cubicBezTo>
                  <a:cubicBezTo>
                    <a:pt x="1664" y="2045"/>
                    <a:pt x="1645" y="2048"/>
                    <a:pt x="1620" y="2049"/>
                  </a:cubicBezTo>
                  <a:cubicBezTo>
                    <a:pt x="1620" y="1973"/>
                    <a:pt x="1620" y="1973"/>
                    <a:pt x="1620" y="1973"/>
                  </a:cubicBezTo>
                  <a:cubicBezTo>
                    <a:pt x="1728" y="1971"/>
                    <a:pt x="1848" y="1952"/>
                    <a:pt x="1968" y="1917"/>
                  </a:cubicBezTo>
                  <a:cubicBezTo>
                    <a:pt x="1966" y="1921"/>
                    <a:pt x="1964" y="1925"/>
                    <a:pt x="1962" y="1929"/>
                  </a:cubicBezTo>
                  <a:close/>
                  <a:moveTo>
                    <a:pt x="2072" y="1897"/>
                  </a:moveTo>
                  <a:cubicBezTo>
                    <a:pt x="2060" y="1902"/>
                    <a:pt x="2048" y="1907"/>
                    <a:pt x="2036" y="1911"/>
                  </a:cubicBezTo>
                  <a:cubicBezTo>
                    <a:pt x="2038" y="1905"/>
                    <a:pt x="2040" y="1899"/>
                    <a:pt x="2043" y="1893"/>
                  </a:cubicBezTo>
                  <a:cubicBezTo>
                    <a:pt x="2070" y="1883"/>
                    <a:pt x="2097" y="1872"/>
                    <a:pt x="2123" y="1860"/>
                  </a:cubicBezTo>
                  <a:cubicBezTo>
                    <a:pt x="2107" y="1873"/>
                    <a:pt x="2090" y="1886"/>
                    <a:pt x="2072" y="1897"/>
                  </a:cubicBezTo>
                  <a:close/>
                  <a:moveTo>
                    <a:pt x="699" y="879"/>
                  </a:moveTo>
                  <a:cubicBezTo>
                    <a:pt x="783" y="1007"/>
                    <a:pt x="903" y="1100"/>
                    <a:pt x="1046" y="1163"/>
                  </a:cubicBezTo>
                  <a:cubicBezTo>
                    <a:pt x="1070" y="1173"/>
                    <a:pt x="1095" y="1182"/>
                    <a:pt x="1121" y="1191"/>
                  </a:cubicBezTo>
                  <a:cubicBezTo>
                    <a:pt x="1121" y="1191"/>
                    <a:pt x="1121" y="1192"/>
                    <a:pt x="1121" y="1193"/>
                  </a:cubicBezTo>
                  <a:cubicBezTo>
                    <a:pt x="1140" y="1199"/>
                    <a:pt x="1159" y="1205"/>
                    <a:pt x="1178" y="1211"/>
                  </a:cubicBezTo>
                  <a:cubicBezTo>
                    <a:pt x="1178" y="1210"/>
                    <a:pt x="1178" y="1209"/>
                    <a:pt x="1178" y="1208"/>
                  </a:cubicBezTo>
                  <a:cubicBezTo>
                    <a:pt x="1237" y="1225"/>
                    <a:pt x="1296" y="1239"/>
                    <a:pt x="1355" y="1249"/>
                  </a:cubicBezTo>
                  <a:cubicBezTo>
                    <a:pt x="1429" y="1259"/>
                    <a:pt x="1506" y="1264"/>
                    <a:pt x="1585" y="1264"/>
                  </a:cubicBezTo>
                  <a:cubicBezTo>
                    <a:pt x="1663" y="1264"/>
                    <a:pt x="1739" y="1259"/>
                    <a:pt x="1812" y="1249"/>
                  </a:cubicBezTo>
                  <a:cubicBezTo>
                    <a:pt x="1872" y="1239"/>
                    <a:pt x="1932" y="1225"/>
                    <a:pt x="1992" y="1208"/>
                  </a:cubicBezTo>
                  <a:cubicBezTo>
                    <a:pt x="1992" y="1209"/>
                    <a:pt x="1992" y="1210"/>
                    <a:pt x="1992" y="1211"/>
                  </a:cubicBezTo>
                  <a:cubicBezTo>
                    <a:pt x="2012" y="1205"/>
                    <a:pt x="2031" y="1199"/>
                    <a:pt x="2049" y="1193"/>
                  </a:cubicBezTo>
                  <a:cubicBezTo>
                    <a:pt x="2049" y="1192"/>
                    <a:pt x="2049" y="1191"/>
                    <a:pt x="2049" y="1190"/>
                  </a:cubicBezTo>
                  <a:cubicBezTo>
                    <a:pt x="2077" y="1181"/>
                    <a:pt x="2104" y="1171"/>
                    <a:pt x="2130" y="1161"/>
                  </a:cubicBezTo>
                  <a:cubicBezTo>
                    <a:pt x="2267" y="1099"/>
                    <a:pt x="2382" y="1010"/>
                    <a:pt x="2465" y="888"/>
                  </a:cubicBezTo>
                  <a:cubicBezTo>
                    <a:pt x="2466" y="887"/>
                    <a:pt x="2467" y="885"/>
                    <a:pt x="2467" y="883"/>
                  </a:cubicBezTo>
                  <a:cubicBezTo>
                    <a:pt x="2472" y="873"/>
                    <a:pt x="2476" y="863"/>
                    <a:pt x="2480" y="852"/>
                  </a:cubicBezTo>
                  <a:cubicBezTo>
                    <a:pt x="2497" y="803"/>
                    <a:pt x="2497" y="803"/>
                    <a:pt x="2497" y="803"/>
                  </a:cubicBezTo>
                  <a:cubicBezTo>
                    <a:pt x="2495" y="788"/>
                    <a:pt x="2491" y="763"/>
                    <a:pt x="2490" y="756"/>
                  </a:cubicBezTo>
                  <a:cubicBezTo>
                    <a:pt x="2458" y="596"/>
                    <a:pt x="2386" y="451"/>
                    <a:pt x="2285" y="332"/>
                  </a:cubicBezTo>
                  <a:cubicBezTo>
                    <a:pt x="2272" y="316"/>
                    <a:pt x="2259" y="301"/>
                    <a:pt x="2245" y="287"/>
                  </a:cubicBezTo>
                  <a:cubicBezTo>
                    <a:pt x="2241" y="283"/>
                    <a:pt x="2195" y="240"/>
                    <a:pt x="2195" y="240"/>
                  </a:cubicBezTo>
                  <a:cubicBezTo>
                    <a:pt x="2033" y="94"/>
                    <a:pt x="1819" y="4"/>
                    <a:pt x="1585" y="0"/>
                  </a:cubicBezTo>
                  <a:cubicBezTo>
                    <a:pt x="1585" y="0"/>
                    <a:pt x="1585" y="0"/>
                    <a:pt x="1585" y="0"/>
                  </a:cubicBezTo>
                  <a:cubicBezTo>
                    <a:pt x="1351" y="4"/>
                    <a:pt x="1137" y="94"/>
                    <a:pt x="975" y="240"/>
                  </a:cubicBezTo>
                  <a:cubicBezTo>
                    <a:pt x="975" y="240"/>
                    <a:pt x="925" y="283"/>
                    <a:pt x="886" y="332"/>
                  </a:cubicBezTo>
                  <a:cubicBezTo>
                    <a:pt x="784" y="451"/>
                    <a:pt x="712" y="596"/>
                    <a:pt x="681" y="756"/>
                  </a:cubicBezTo>
                  <a:cubicBezTo>
                    <a:pt x="680" y="759"/>
                    <a:pt x="677" y="779"/>
                    <a:pt x="673" y="806"/>
                  </a:cubicBezTo>
                  <a:cubicBezTo>
                    <a:pt x="689" y="853"/>
                    <a:pt x="689" y="853"/>
                    <a:pt x="689" y="853"/>
                  </a:cubicBezTo>
                  <a:cubicBezTo>
                    <a:pt x="692" y="861"/>
                    <a:pt x="695" y="870"/>
                    <a:pt x="699" y="879"/>
                  </a:cubicBezTo>
                  <a:close/>
                  <a:moveTo>
                    <a:pt x="1616" y="1197"/>
                  </a:moveTo>
                  <a:cubicBezTo>
                    <a:pt x="1616" y="736"/>
                    <a:pt x="1616" y="736"/>
                    <a:pt x="1616" y="736"/>
                  </a:cubicBezTo>
                  <a:cubicBezTo>
                    <a:pt x="1687" y="734"/>
                    <a:pt x="1767" y="723"/>
                    <a:pt x="1852" y="700"/>
                  </a:cubicBezTo>
                  <a:cubicBezTo>
                    <a:pt x="1871" y="747"/>
                    <a:pt x="1889" y="794"/>
                    <a:pt x="1905" y="843"/>
                  </a:cubicBezTo>
                  <a:cubicBezTo>
                    <a:pt x="1918" y="879"/>
                    <a:pt x="1928" y="916"/>
                    <a:pt x="1938" y="951"/>
                  </a:cubicBezTo>
                  <a:cubicBezTo>
                    <a:pt x="1949" y="989"/>
                    <a:pt x="1958" y="1026"/>
                    <a:pt x="1966" y="1063"/>
                  </a:cubicBezTo>
                  <a:cubicBezTo>
                    <a:pt x="1972" y="1088"/>
                    <a:pt x="1977" y="1113"/>
                    <a:pt x="1981" y="1138"/>
                  </a:cubicBezTo>
                  <a:cubicBezTo>
                    <a:pt x="1857" y="1175"/>
                    <a:pt x="1731" y="1195"/>
                    <a:pt x="1616" y="1197"/>
                  </a:cubicBezTo>
                  <a:close/>
                  <a:moveTo>
                    <a:pt x="2006" y="508"/>
                  </a:moveTo>
                  <a:cubicBezTo>
                    <a:pt x="2009" y="511"/>
                    <a:pt x="2012" y="514"/>
                    <a:pt x="2015" y="517"/>
                  </a:cubicBezTo>
                  <a:cubicBezTo>
                    <a:pt x="2026" y="527"/>
                    <a:pt x="2035" y="538"/>
                    <a:pt x="2045" y="548"/>
                  </a:cubicBezTo>
                  <a:cubicBezTo>
                    <a:pt x="1998" y="577"/>
                    <a:pt x="1942" y="601"/>
                    <a:pt x="1882" y="620"/>
                  </a:cubicBezTo>
                  <a:cubicBezTo>
                    <a:pt x="1823" y="488"/>
                    <a:pt x="1755" y="373"/>
                    <a:pt x="1684" y="281"/>
                  </a:cubicBezTo>
                  <a:cubicBezTo>
                    <a:pt x="1798" y="335"/>
                    <a:pt x="1909" y="413"/>
                    <a:pt x="2006" y="508"/>
                  </a:cubicBezTo>
                  <a:close/>
                  <a:moveTo>
                    <a:pt x="1755" y="251"/>
                  </a:moveTo>
                  <a:cubicBezTo>
                    <a:pt x="1838" y="265"/>
                    <a:pt x="1917" y="288"/>
                    <a:pt x="1990" y="320"/>
                  </a:cubicBezTo>
                  <a:cubicBezTo>
                    <a:pt x="2013" y="329"/>
                    <a:pt x="2034" y="339"/>
                    <a:pt x="2055" y="350"/>
                  </a:cubicBezTo>
                  <a:cubicBezTo>
                    <a:pt x="2095" y="371"/>
                    <a:pt x="2133" y="394"/>
                    <a:pt x="2168" y="420"/>
                  </a:cubicBezTo>
                  <a:cubicBezTo>
                    <a:pt x="2165" y="427"/>
                    <a:pt x="2162" y="435"/>
                    <a:pt x="2158" y="443"/>
                  </a:cubicBezTo>
                  <a:cubicBezTo>
                    <a:pt x="2143" y="468"/>
                    <a:pt x="2121" y="492"/>
                    <a:pt x="2094" y="515"/>
                  </a:cubicBezTo>
                  <a:cubicBezTo>
                    <a:pt x="2085" y="504"/>
                    <a:pt x="2075" y="494"/>
                    <a:pt x="2065" y="484"/>
                  </a:cubicBezTo>
                  <a:cubicBezTo>
                    <a:pt x="2062" y="481"/>
                    <a:pt x="2060" y="479"/>
                    <a:pt x="2057" y="476"/>
                  </a:cubicBezTo>
                  <a:cubicBezTo>
                    <a:pt x="2040" y="459"/>
                    <a:pt x="2022" y="442"/>
                    <a:pt x="2004" y="426"/>
                  </a:cubicBezTo>
                  <a:cubicBezTo>
                    <a:pt x="1926" y="356"/>
                    <a:pt x="1842" y="298"/>
                    <a:pt x="1755" y="251"/>
                  </a:cubicBezTo>
                  <a:close/>
                  <a:moveTo>
                    <a:pt x="1824" y="636"/>
                  </a:moveTo>
                  <a:cubicBezTo>
                    <a:pt x="1753" y="654"/>
                    <a:pt x="1684" y="664"/>
                    <a:pt x="1616" y="666"/>
                  </a:cubicBezTo>
                  <a:cubicBezTo>
                    <a:pt x="1616" y="284"/>
                    <a:pt x="1616" y="284"/>
                    <a:pt x="1616" y="284"/>
                  </a:cubicBezTo>
                  <a:cubicBezTo>
                    <a:pt x="1623" y="292"/>
                    <a:pt x="1625" y="302"/>
                    <a:pt x="1632" y="311"/>
                  </a:cubicBezTo>
                  <a:cubicBezTo>
                    <a:pt x="1702" y="400"/>
                    <a:pt x="1768" y="512"/>
                    <a:pt x="1824" y="636"/>
                  </a:cubicBezTo>
                  <a:close/>
                  <a:moveTo>
                    <a:pt x="2038" y="1120"/>
                  </a:moveTo>
                  <a:cubicBezTo>
                    <a:pt x="2028" y="1066"/>
                    <a:pt x="2015" y="1009"/>
                    <a:pt x="1999" y="951"/>
                  </a:cubicBezTo>
                  <a:cubicBezTo>
                    <a:pt x="1989" y="915"/>
                    <a:pt x="1978" y="878"/>
                    <a:pt x="1966" y="840"/>
                  </a:cubicBezTo>
                  <a:cubicBezTo>
                    <a:pt x="1964" y="835"/>
                    <a:pt x="1963" y="830"/>
                    <a:pt x="1961" y="825"/>
                  </a:cubicBezTo>
                  <a:cubicBezTo>
                    <a:pt x="1945" y="776"/>
                    <a:pt x="1927" y="729"/>
                    <a:pt x="1909" y="684"/>
                  </a:cubicBezTo>
                  <a:cubicBezTo>
                    <a:pt x="1975" y="663"/>
                    <a:pt x="2038" y="636"/>
                    <a:pt x="2092" y="602"/>
                  </a:cubicBezTo>
                  <a:cubicBezTo>
                    <a:pt x="2183" y="710"/>
                    <a:pt x="2251" y="829"/>
                    <a:pt x="2293" y="951"/>
                  </a:cubicBezTo>
                  <a:cubicBezTo>
                    <a:pt x="2297" y="962"/>
                    <a:pt x="2300" y="974"/>
                    <a:pt x="2304" y="985"/>
                  </a:cubicBezTo>
                  <a:cubicBezTo>
                    <a:pt x="2234" y="1040"/>
                    <a:pt x="2140" y="1086"/>
                    <a:pt x="2038" y="1120"/>
                  </a:cubicBezTo>
                  <a:close/>
                  <a:moveTo>
                    <a:pt x="2246" y="379"/>
                  </a:moveTo>
                  <a:cubicBezTo>
                    <a:pt x="2261" y="398"/>
                    <a:pt x="2273" y="418"/>
                    <a:pt x="2284" y="440"/>
                  </a:cubicBezTo>
                  <a:cubicBezTo>
                    <a:pt x="2271" y="428"/>
                    <a:pt x="2258" y="416"/>
                    <a:pt x="2244" y="405"/>
                  </a:cubicBezTo>
                  <a:cubicBezTo>
                    <a:pt x="2245" y="397"/>
                    <a:pt x="2246" y="388"/>
                    <a:pt x="2246" y="379"/>
                  </a:cubicBezTo>
                  <a:close/>
                  <a:moveTo>
                    <a:pt x="2219" y="477"/>
                  </a:moveTo>
                  <a:cubicBezTo>
                    <a:pt x="2221" y="473"/>
                    <a:pt x="2223" y="469"/>
                    <a:pt x="2225" y="465"/>
                  </a:cubicBezTo>
                  <a:cubicBezTo>
                    <a:pt x="2264" y="499"/>
                    <a:pt x="2299" y="537"/>
                    <a:pt x="2330" y="576"/>
                  </a:cubicBezTo>
                  <a:cubicBezTo>
                    <a:pt x="2357" y="611"/>
                    <a:pt x="2380" y="648"/>
                    <a:pt x="2399" y="686"/>
                  </a:cubicBezTo>
                  <a:cubicBezTo>
                    <a:pt x="2412" y="713"/>
                    <a:pt x="2423" y="741"/>
                    <a:pt x="2433" y="769"/>
                  </a:cubicBezTo>
                  <a:cubicBezTo>
                    <a:pt x="2433" y="773"/>
                    <a:pt x="2453" y="840"/>
                    <a:pt x="2352" y="942"/>
                  </a:cubicBezTo>
                  <a:cubicBezTo>
                    <a:pt x="2342" y="914"/>
                    <a:pt x="2332" y="886"/>
                    <a:pt x="2320" y="858"/>
                  </a:cubicBezTo>
                  <a:cubicBezTo>
                    <a:pt x="2276" y="757"/>
                    <a:pt x="2216" y="658"/>
                    <a:pt x="2140" y="567"/>
                  </a:cubicBezTo>
                  <a:cubicBezTo>
                    <a:pt x="2173" y="541"/>
                    <a:pt x="2201" y="510"/>
                    <a:pt x="2219" y="477"/>
                  </a:cubicBezTo>
                  <a:close/>
                  <a:moveTo>
                    <a:pt x="2022" y="219"/>
                  </a:moveTo>
                  <a:cubicBezTo>
                    <a:pt x="2069" y="234"/>
                    <a:pt x="2111" y="255"/>
                    <a:pt x="2149" y="283"/>
                  </a:cubicBezTo>
                  <a:cubicBezTo>
                    <a:pt x="2163" y="307"/>
                    <a:pt x="2172" y="331"/>
                    <a:pt x="2175" y="353"/>
                  </a:cubicBezTo>
                  <a:cubicBezTo>
                    <a:pt x="2133" y="325"/>
                    <a:pt x="2088" y="300"/>
                    <a:pt x="2041" y="278"/>
                  </a:cubicBezTo>
                  <a:cubicBezTo>
                    <a:pt x="2018" y="267"/>
                    <a:pt x="1995" y="258"/>
                    <a:pt x="1971" y="249"/>
                  </a:cubicBezTo>
                  <a:cubicBezTo>
                    <a:pt x="1909" y="225"/>
                    <a:pt x="1844" y="208"/>
                    <a:pt x="1776" y="196"/>
                  </a:cubicBezTo>
                  <a:cubicBezTo>
                    <a:pt x="1799" y="193"/>
                    <a:pt x="1822" y="192"/>
                    <a:pt x="1844" y="192"/>
                  </a:cubicBezTo>
                  <a:cubicBezTo>
                    <a:pt x="1881" y="192"/>
                    <a:pt x="1916" y="195"/>
                    <a:pt x="1950" y="201"/>
                  </a:cubicBezTo>
                  <a:cubicBezTo>
                    <a:pt x="1975" y="206"/>
                    <a:pt x="1999" y="211"/>
                    <a:pt x="2022" y="219"/>
                  </a:cubicBezTo>
                  <a:close/>
                  <a:moveTo>
                    <a:pt x="1859" y="116"/>
                  </a:moveTo>
                  <a:cubicBezTo>
                    <a:pt x="1872" y="120"/>
                    <a:pt x="1885" y="127"/>
                    <a:pt x="1897" y="136"/>
                  </a:cubicBezTo>
                  <a:cubicBezTo>
                    <a:pt x="1879" y="134"/>
                    <a:pt x="1862" y="134"/>
                    <a:pt x="1844" y="134"/>
                  </a:cubicBezTo>
                  <a:cubicBezTo>
                    <a:pt x="1798" y="134"/>
                    <a:pt x="1750" y="138"/>
                    <a:pt x="1703" y="147"/>
                  </a:cubicBezTo>
                  <a:cubicBezTo>
                    <a:pt x="1744" y="122"/>
                    <a:pt x="1782" y="109"/>
                    <a:pt x="1818" y="109"/>
                  </a:cubicBezTo>
                  <a:cubicBezTo>
                    <a:pt x="1832" y="109"/>
                    <a:pt x="1846" y="111"/>
                    <a:pt x="1859" y="116"/>
                  </a:cubicBezTo>
                  <a:close/>
                  <a:moveTo>
                    <a:pt x="1610" y="59"/>
                  </a:moveTo>
                  <a:cubicBezTo>
                    <a:pt x="1648" y="61"/>
                    <a:pt x="1686" y="65"/>
                    <a:pt x="1722" y="71"/>
                  </a:cubicBezTo>
                  <a:cubicBezTo>
                    <a:pt x="1685" y="87"/>
                    <a:pt x="1648" y="111"/>
                    <a:pt x="1610" y="142"/>
                  </a:cubicBezTo>
                  <a:lnTo>
                    <a:pt x="1610" y="59"/>
                  </a:lnTo>
                  <a:close/>
                  <a:moveTo>
                    <a:pt x="1171" y="951"/>
                  </a:moveTo>
                  <a:cubicBezTo>
                    <a:pt x="1155" y="1009"/>
                    <a:pt x="1143" y="1066"/>
                    <a:pt x="1133" y="1121"/>
                  </a:cubicBezTo>
                  <a:cubicBezTo>
                    <a:pt x="1030" y="1086"/>
                    <a:pt x="937" y="1040"/>
                    <a:pt x="867" y="985"/>
                  </a:cubicBezTo>
                  <a:cubicBezTo>
                    <a:pt x="870" y="974"/>
                    <a:pt x="873" y="963"/>
                    <a:pt x="877" y="951"/>
                  </a:cubicBezTo>
                  <a:cubicBezTo>
                    <a:pt x="919" y="830"/>
                    <a:pt x="987" y="710"/>
                    <a:pt x="1078" y="602"/>
                  </a:cubicBezTo>
                  <a:cubicBezTo>
                    <a:pt x="1132" y="636"/>
                    <a:pt x="1195" y="663"/>
                    <a:pt x="1261" y="684"/>
                  </a:cubicBezTo>
                  <a:cubicBezTo>
                    <a:pt x="1243" y="729"/>
                    <a:pt x="1225" y="776"/>
                    <a:pt x="1209" y="825"/>
                  </a:cubicBezTo>
                  <a:cubicBezTo>
                    <a:pt x="1208" y="830"/>
                    <a:pt x="1206" y="835"/>
                    <a:pt x="1204" y="840"/>
                  </a:cubicBezTo>
                  <a:cubicBezTo>
                    <a:pt x="1192" y="878"/>
                    <a:pt x="1181" y="915"/>
                    <a:pt x="1171" y="951"/>
                  </a:cubicBezTo>
                  <a:close/>
                  <a:moveTo>
                    <a:pt x="1166" y="426"/>
                  </a:moveTo>
                  <a:cubicBezTo>
                    <a:pt x="1148" y="442"/>
                    <a:pt x="1131" y="459"/>
                    <a:pt x="1114" y="476"/>
                  </a:cubicBezTo>
                  <a:cubicBezTo>
                    <a:pt x="1111" y="479"/>
                    <a:pt x="1108" y="481"/>
                    <a:pt x="1105" y="484"/>
                  </a:cubicBezTo>
                  <a:cubicBezTo>
                    <a:pt x="1095" y="494"/>
                    <a:pt x="1086" y="505"/>
                    <a:pt x="1076" y="515"/>
                  </a:cubicBezTo>
                  <a:cubicBezTo>
                    <a:pt x="1049" y="493"/>
                    <a:pt x="1026" y="468"/>
                    <a:pt x="1012" y="443"/>
                  </a:cubicBezTo>
                  <a:cubicBezTo>
                    <a:pt x="1008" y="435"/>
                    <a:pt x="1005" y="428"/>
                    <a:pt x="1002" y="420"/>
                  </a:cubicBezTo>
                  <a:cubicBezTo>
                    <a:pt x="1037" y="394"/>
                    <a:pt x="1075" y="371"/>
                    <a:pt x="1115" y="350"/>
                  </a:cubicBezTo>
                  <a:cubicBezTo>
                    <a:pt x="1136" y="339"/>
                    <a:pt x="1158" y="329"/>
                    <a:pt x="1180" y="320"/>
                  </a:cubicBezTo>
                  <a:cubicBezTo>
                    <a:pt x="1253" y="288"/>
                    <a:pt x="1332" y="265"/>
                    <a:pt x="1416" y="251"/>
                  </a:cubicBezTo>
                  <a:cubicBezTo>
                    <a:pt x="1328" y="298"/>
                    <a:pt x="1244" y="356"/>
                    <a:pt x="1166" y="426"/>
                  </a:cubicBezTo>
                  <a:close/>
                  <a:moveTo>
                    <a:pt x="1487" y="281"/>
                  </a:moveTo>
                  <a:cubicBezTo>
                    <a:pt x="1415" y="373"/>
                    <a:pt x="1348" y="488"/>
                    <a:pt x="1289" y="620"/>
                  </a:cubicBezTo>
                  <a:cubicBezTo>
                    <a:pt x="1228" y="601"/>
                    <a:pt x="1172" y="577"/>
                    <a:pt x="1125" y="549"/>
                  </a:cubicBezTo>
                  <a:cubicBezTo>
                    <a:pt x="1135" y="538"/>
                    <a:pt x="1145" y="527"/>
                    <a:pt x="1155" y="517"/>
                  </a:cubicBezTo>
                  <a:cubicBezTo>
                    <a:pt x="1158" y="514"/>
                    <a:pt x="1161" y="511"/>
                    <a:pt x="1164" y="508"/>
                  </a:cubicBezTo>
                  <a:cubicBezTo>
                    <a:pt x="1262" y="413"/>
                    <a:pt x="1372" y="335"/>
                    <a:pt x="1487" y="281"/>
                  </a:cubicBezTo>
                  <a:close/>
                  <a:moveTo>
                    <a:pt x="1555" y="1197"/>
                  </a:moveTo>
                  <a:cubicBezTo>
                    <a:pt x="1439" y="1195"/>
                    <a:pt x="1313" y="1175"/>
                    <a:pt x="1189" y="1139"/>
                  </a:cubicBezTo>
                  <a:cubicBezTo>
                    <a:pt x="1194" y="1114"/>
                    <a:pt x="1199" y="1088"/>
                    <a:pt x="1204" y="1063"/>
                  </a:cubicBezTo>
                  <a:cubicBezTo>
                    <a:pt x="1212" y="1026"/>
                    <a:pt x="1222" y="989"/>
                    <a:pt x="1232" y="951"/>
                  </a:cubicBezTo>
                  <a:cubicBezTo>
                    <a:pt x="1242" y="916"/>
                    <a:pt x="1253" y="879"/>
                    <a:pt x="1265" y="843"/>
                  </a:cubicBezTo>
                  <a:cubicBezTo>
                    <a:pt x="1281" y="794"/>
                    <a:pt x="1299" y="747"/>
                    <a:pt x="1318" y="700"/>
                  </a:cubicBezTo>
                  <a:cubicBezTo>
                    <a:pt x="1404" y="723"/>
                    <a:pt x="1484" y="734"/>
                    <a:pt x="1555" y="736"/>
                  </a:cubicBezTo>
                  <a:lnTo>
                    <a:pt x="1555" y="1197"/>
                  </a:lnTo>
                  <a:close/>
                  <a:moveTo>
                    <a:pt x="1555" y="666"/>
                  </a:moveTo>
                  <a:cubicBezTo>
                    <a:pt x="1486" y="664"/>
                    <a:pt x="1418" y="654"/>
                    <a:pt x="1346" y="636"/>
                  </a:cubicBezTo>
                  <a:cubicBezTo>
                    <a:pt x="1402" y="512"/>
                    <a:pt x="1468" y="400"/>
                    <a:pt x="1538" y="311"/>
                  </a:cubicBezTo>
                  <a:cubicBezTo>
                    <a:pt x="1545" y="302"/>
                    <a:pt x="1547" y="292"/>
                    <a:pt x="1555" y="284"/>
                  </a:cubicBezTo>
                  <a:lnTo>
                    <a:pt x="1555" y="666"/>
                  </a:lnTo>
                  <a:close/>
                  <a:moveTo>
                    <a:pt x="1560" y="59"/>
                  </a:moveTo>
                  <a:cubicBezTo>
                    <a:pt x="1560" y="142"/>
                    <a:pt x="1560" y="142"/>
                    <a:pt x="1560" y="142"/>
                  </a:cubicBezTo>
                  <a:cubicBezTo>
                    <a:pt x="1523" y="111"/>
                    <a:pt x="1485" y="87"/>
                    <a:pt x="1448" y="71"/>
                  </a:cubicBezTo>
                  <a:cubicBezTo>
                    <a:pt x="1485" y="65"/>
                    <a:pt x="1522" y="61"/>
                    <a:pt x="1560" y="59"/>
                  </a:cubicBezTo>
                  <a:close/>
                  <a:moveTo>
                    <a:pt x="1311" y="116"/>
                  </a:moveTo>
                  <a:cubicBezTo>
                    <a:pt x="1324" y="111"/>
                    <a:pt x="1338" y="109"/>
                    <a:pt x="1353" y="109"/>
                  </a:cubicBezTo>
                  <a:cubicBezTo>
                    <a:pt x="1388" y="109"/>
                    <a:pt x="1427" y="122"/>
                    <a:pt x="1468" y="147"/>
                  </a:cubicBezTo>
                  <a:cubicBezTo>
                    <a:pt x="1420" y="138"/>
                    <a:pt x="1373" y="134"/>
                    <a:pt x="1326" y="134"/>
                  </a:cubicBezTo>
                  <a:cubicBezTo>
                    <a:pt x="1309" y="134"/>
                    <a:pt x="1291" y="134"/>
                    <a:pt x="1274" y="136"/>
                  </a:cubicBezTo>
                  <a:cubicBezTo>
                    <a:pt x="1286" y="127"/>
                    <a:pt x="1298" y="120"/>
                    <a:pt x="1311" y="116"/>
                  </a:cubicBezTo>
                  <a:close/>
                  <a:moveTo>
                    <a:pt x="1020" y="283"/>
                  </a:moveTo>
                  <a:cubicBezTo>
                    <a:pt x="1059" y="256"/>
                    <a:pt x="1101" y="234"/>
                    <a:pt x="1148" y="219"/>
                  </a:cubicBezTo>
                  <a:cubicBezTo>
                    <a:pt x="1172" y="211"/>
                    <a:pt x="1196" y="206"/>
                    <a:pt x="1221" y="201"/>
                  </a:cubicBezTo>
                  <a:cubicBezTo>
                    <a:pt x="1254" y="195"/>
                    <a:pt x="1290" y="192"/>
                    <a:pt x="1326" y="192"/>
                  </a:cubicBezTo>
                  <a:cubicBezTo>
                    <a:pt x="1349" y="192"/>
                    <a:pt x="1371" y="193"/>
                    <a:pt x="1394" y="196"/>
                  </a:cubicBezTo>
                  <a:cubicBezTo>
                    <a:pt x="1326" y="208"/>
                    <a:pt x="1261" y="225"/>
                    <a:pt x="1200" y="249"/>
                  </a:cubicBezTo>
                  <a:cubicBezTo>
                    <a:pt x="1176" y="258"/>
                    <a:pt x="1152" y="267"/>
                    <a:pt x="1130" y="278"/>
                  </a:cubicBezTo>
                  <a:cubicBezTo>
                    <a:pt x="1082" y="300"/>
                    <a:pt x="1037" y="326"/>
                    <a:pt x="995" y="354"/>
                  </a:cubicBezTo>
                  <a:cubicBezTo>
                    <a:pt x="998" y="331"/>
                    <a:pt x="1006" y="308"/>
                    <a:pt x="1020" y="283"/>
                  </a:cubicBezTo>
                  <a:close/>
                  <a:moveTo>
                    <a:pt x="923" y="379"/>
                  </a:moveTo>
                  <a:cubicBezTo>
                    <a:pt x="924" y="388"/>
                    <a:pt x="925" y="397"/>
                    <a:pt x="926" y="406"/>
                  </a:cubicBezTo>
                  <a:cubicBezTo>
                    <a:pt x="912" y="417"/>
                    <a:pt x="899" y="428"/>
                    <a:pt x="886" y="440"/>
                  </a:cubicBezTo>
                  <a:cubicBezTo>
                    <a:pt x="897" y="419"/>
                    <a:pt x="909" y="399"/>
                    <a:pt x="923" y="379"/>
                  </a:cubicBezTo>
                  <a:close/>
                  <a:moveTo>
                    <a:pt x="742" y="759"/>
                  </a:moveTo>
                  <a:cubicBezTo>
                    <a:pt x="751" y="731"/>
                    <a:pt x="758" y="713"/>
                    <a:pt x="772" y="686"/>
                  </a:cubicBezTo>
                  <a:cubicBezTo>
                    <a:pt x="791" y="648"/>
                    <a:pt x="814" y="611"/>
                    <a:pt x="840" y="576"/>
                  </a:cubicBezTo>
                  <a:cubicBezTo>
                    <a:pt x="871" y="537"/>
                    <a:pt x="906" y="500"/>
                    <a:pt x="945" y="466"/>
                  </a:cubicBezTo>
                  <a:cubicBezTo>
                    <a:pt x="947" y="469"/>
                    <a:pt x="949" y="473"/>
                    <a:pt x="951" y="477"/>
                  </a:cubicBezTo>
                  <a:cubicBezTo>
                    <a:pt x="969" y="510"/>
                    <a:pt x="997" y="541"/>
                    <a:pt x="1030" y="568"/>
                  </a:cubicBezTo>
                  <a:cubicBezTo>
                    <a:pt x="955" y="659"/>
                    <a:pt x="894" y="757"/>
                    <a:pt x="851" y="858"/>
                  </a:cubicBezTo>
                  <a:cubicBezTo>
                    <a:pt x="839" y="886"/>
                    <a:pt x="828" y="914"/>
                    <a:pt x="819" y="942"/>
                  </a:cubicBezTo>
                  <a:cubicBezTo>
                    <a:pt x="772" y="894"/>
                    <a:pt x="743" y="839"/>
                    <a:pt x="741" y="780"/>
                  </a:cubicBezTo>
                  <a:cubicBezTo>
                    <a:pt x="741" y="780"/>
                    <a:pt x="741" y="763"/>
                    <a:pt x="742" y="759"/>
                  </a:cubicBezTo>
                  <a:close/>
                  <a:moveTo>
                    <a:pt x="447" y="993"/>
                  </a:moveTo>
                  <a:cubicBezTo>
                    <a:pt x="411" y="993"/>
                    <a:pt x="409" y="1049"/>
                    <a:pt x="409" y="1074"/>
                  </a:cubicBezTo>
                  <a:cubicBezTo>
                    <a:pt x="409" y="1153"/>
                    <a:pt x="437" y="1157"/>
                    <a:pt x="447" y="1157"/>
                  </a:cubicBezTo>
                  <a:cubicBezTo>
                    <a:pt x="458" y="1157"/>
                    <a:pt x="486" y="1153"/>
                    <a:pt x="486" y="1074"/>
                  </a:cubicBezTo>
                  <a:cubicBezTo>
                    <a:pt x="486" y="1049"/>
                    <a:pt x="483" y="993"/>
                    <a:pt x="447" y="993"/>
                  </a:cubicBezTo>
                  <a:close/>
                  <a:moveTo>
                    <a:pt x="2737" y="993"/>
                  </a:moveTo>
                  <a:cubicBezTo>
                    <a:pt x="2701" y="993"/>
                    <a:pt x="2698" y="1049"/>
                    <a:pt x="2698" y="1074"/>
                  </a:cubicBezTo>
                  <a:cubicBezTo>
                    <a:pt x="2698" y="1153"/>
                    <a:pt x="2726" y="1157"/>
                    <a:pt x="2737" y="1157"/>
                  </a:cubicBezTo>
                  <a:cubicBezTo>
                    <a:pt x="2747" y="1157"/>
                    <a:pt x="2776" y="1153"/>
                    <a:pt x="2776" y="1074"/>
                  </a:cubicBezTo>
                  <a:cubicBezTo>
                    <a:pt x="2776" y="1049"/>
                    <a:pt x="2773" y="993"/>
                    <a:pt x="2737" y="993"/>
                  </a:cubicBezTo>
                  <a:close/>
                  <a:moveTo>
                    <a:pt x="1746" y="1536"/>
                  </a:moveTo>
                  <a:cubicBezTo>
                    <a:pt x="1733" y="1465"/>
                    <a:pt x="1677" y="1481"/>
                    <a:pt x="1660" y="1501"/>
                  </a:cubicBezTo>
                  <a:cubicBezTo>
                    <a:pt x="1653" y="1509"/>
                    <a:pt x="1648" y="1524"/>
                    <a:pt x="1644" y="1541"/>
                  </a:cubicBezTo>
                  <a:cubicBezTo>
                    <a:pt x="1634" y="1593"/>
                    <a:pt x="1642" y="1668"/>
                    <a:pt x="1695" y="1667"/>
                  </a:cubicBezTo>
                  <a:cubicBezTo>
                    <a:pt x="1741" y="1664"/>
                    <a:pt x="1753" y="1606"/>
                    <a:pt x="1748" y="1552"/>
                  </a:cubicBezTo>
                  <a:cubicBezTo>
                    <a:pt x="1748" y="1546"/>
                    <a:pt x="1747" y="1541"/>
                    <a:pt x="1746" y="1536"/>
                  </a:cubicBezTo>
                  <a:close/>
                  <a:moveTo>
                    <a:pt x="3451" y="1075"/>
                  </a:moveTo>
                  <a:cubicBezTo>
                    <a:pt x="3118" y="753"/>
                    <a:pt x="3118" y="753"/>
                    <a:pt x="3118" y="753"/>
                  </a:cubicBezTo>
                  <a:cubicBezTo>
                    <a:pt x="3118" y="886"/>
                    <a:pt x="3118" y="886"/>
                    <a:pt x="3118" y="886"/>
                  </a:cubicBezTo>
                  <a:cubicBezTo>
                    <a:pt x="2577" y="886"/>
                    <a:pt x="2577" y="886"/>
                    <a:pt x="2577" y="886"/>
                  </a:cubicBezTo>
                  <a:cubicBezTo>
                    <a:pt x="2572" y="900"/>
                    <a:pt x="2567" y="913"/>
                    <a:pt x="2560" y="927"/>
                  </a:cubicBezTo>
                  <a:cubicBezTo>
                    <a:pt x="2483" y="1094"/>
                    <a:pt x="2292" y="1240"/>
                    <a:pt x="2015" y="1319"/>
                  </a:cubicBezTo>
                  <a:cubicBezTo>
                    <a:pt x="1876" y="1360"/>
                    <a:pt x="1728" y="1379"/>
                    <a:pt x="1584" y="1379"/>
                  </a:cubicBezTo>
                  <a:cubicBezTo>
                    <a:pt x="1203" y="1379"/>
                    <a:pt x="839" y="1247"/>
                    <a:pt x="667" y="1023"/>
                  </a:cubicBezTo>
                  <a:cubicBezTo>
                    <a:pt x="650" y="1001"/>
                    <a:pt x="635" y="979"/>
                    <a:pt x="623" y="957"/>
                  </a:cubicBezTo>
                  <a:cubicBezTo>
                    <a:pt x="610" y="933"/>
                    <a:pt x="600" y="910"/>
                    <a:pt x="592" y="886"/>
                  </a:cubicBezTo>
                  <a:cubicBezTo>
                    <a:pt x="0" y="886"/>
                    <a:pt x="0" y="886"/>
                    <a:pt x="0" y="886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581" y="1265"/>
                    <a:pt x="581" y="1265"/>
                    <a:pt x="581" y="1265"/>
                  </a:cubicBezTo>
                  <a:cubicBezTo>
                    <a:pt x="585" y="1281"/>
                    <a:pt x="590" y="1298"/>
                    <a:pt x="596" y="1315"/>
                  </a:cubicBezTo>
                  <a:cubicBezTo>
                    <a:pt x="612" y="1358"/>
                    <a:pt x="635" y="1401"/>
                    <a:pt x="668" y="1443"/>
                  </a:cubicBezTo>
                  <a:cubicBezTo>
                    <a:pt x="679" y="1459"/>
                    <a:pt x="692" y="1474"/>
                    <a:pt x="706" y="1488"/>
                  </a:cubicBezTo>
                  <a:cubicBezTo>
                    <a:pt x="744" y="1530"/>
                    <a:pt x="790" y="1568"/>
                    <a:pt x="841" y="1601"/>
                  </a:cubicBezTo>
                  <a:cubicBezTo>
                    <a:pt x="917" y="1651"/>
                    <a:pt x="1005" y="1693"/>
                    <a:pt x="1101" y="1724"/>
                  </a:cubicBezTo>
                  <a:cubicBezTo>
                    <a:pt x="1121" y="1731"/>
                    <a:pt x="1142" y="1737"/>
                    <a:pt x="1163" y="1743"/>
                  </a:cubicBezTo>
                  <a:cubicBezTo>
                    <a:pt x="1286" y="1778"/>
                    <a:pt x="1420" y="1797"/>
                    <a:pt x="1557" y="1799"/>
                  </a:cubicBezTo>
                  <a:cubicBezTo>
                    <a:pt x="1566" y="1799"/>
                    <a:pt x="1575" y="1800"/>
                    <a:pt x="1585" y="1800"/>
                  </a:cubicBezTo>
                  <a:cubicBezTo>
                    <a:pt x="1596" y="1800"/>
                    <a:pt x="1608" y="1799"/>
                    <a:pt x="1620" y="1799"/>
                  </a:cubicBezTo>
                  <a:cubicBezTo>
                    <a:pt x="1752" y="1796"/>
                    <a:pt x="1886" y="1777"/>
                    <a:pt x="2014" y="1741"/>
                  </a:cubicBezTo>
                  <a:cubicBezTo>
                    <a:pt x="2015" y="1741"/>
                    <a:pt x="2016" y="1740"/>
                    <a:pt x="2016" y="1740"/>
                  </a:cubicBezTo>
                  <a:cubicBezTo>
                    <a:pt x="2037" y="1734"/>
                    <a:pt x="2057" y="1728"/>
                    <a:pt x="2076" y="1721"/>
                  </a:cubicBezTo>
                  <a:cubicBezTo>
                    <a:pt x="2177" y="1687"/>
                    <a:pt x="2265" y="1644"/>
                    <a:pt x="2338" y="1594"/>
                  </a:cubicBezTo>
                  <a:cubicBezTo>
                    <a:pt x="2392" y="1558"/>
                    <a:pt x="2438" y="1518"/>
                    <a:pt x="2476" y="1476"/>
                  </a:cubicBezTo>
                  <a:cubicBezTo>
                    <a:pt x="2521" y="1425"/>
                    <a:pt x="2554" y="1371"/>
                    <a:pt x="2575" y="1316"/>
                  </a:cubicBezTo>
                  <a:cubicBezTo>
                    <a:pt x="2581" y="1299"/>
                    <a:pt x="2586" y="1282"/>
                    <a:pt x="2590" y="1265"/>
                  </a:cubicBezTo>
                  <a:cubicBezTo>
                    <a:pt x="3118" y="1265"/>
                    <a:pt x="3118" y="1265"/>
                    <a:pt x="3118" y="1265"/>
                  </a:cubicBezTo>
                  <a:cubicBezTo>
                    <a:pt x="3118" y="1397"/>
                    <a:pt x="3118" y="1397"/>
                    <a:pt x="3118" y="1397"/>
                  </a:cubicBezTo>
                  <a:lnTo>
                    <a:pt x="3451" y="1075"/>
                  </a:lnTo>
                  <a:close/>
                  <a:moveTo>
                    <a:pt x="296" y="1195"/>
                  </a:moveTo>
                  <a:cubicBezTo>
                    <a:pt x="123" y="1195"/>
                    <a:pt x="123" y="1195"/>
                    <a:pt x="123" y="1195"/>
                  </a:cubicBezTo>
                  <a:cubicBezTo>
                    <a:pt x="123" y="1154"/>
                    <a:pt x="123" y="1154"/>
                    <a:pt x="123" y="1154"/>
                  </a:cubicBezTo>
                  <a:cubicBezTo>
                    <a:pt x="188" y="1154"/>
                    <a:pt x="188" y="1154"/>
                    <a:pt x="188" y="1154"/>
                  </a:cubicBezTo>
                  <a:cubicBezTo>
                    <a:pt x="188" y="1005"/>
                    <a:pt x="188" y="1005"/>
                    <a:pt x="188" y="1005"/>
                  </a:cubicBezTo>
                  <a:cubicBezTo>
                    <a:pt x="135" y="1028"/>
                    <a:pt x="135" y="1028"/>
                    <a:pt x="135" y="1028"/>
                  </a:cubicBezTo>
                  <a:cubicBezTo>
                    <a:pt x="118" y="991"/>
                    <a:pt x="118" y="991"/>
                    <a:pt x="118" y="991"/>
                  </a:cubicBezTo>
                  <a:cubicBezTo>
                    <a:pt x="201" y="956"/>
                    <a:pt x="201" y="956"/>
                    <a:pt x="201" y="956"/>
                  </a:cubicBezTo>
                  <a:cubicBezTo>
                    <a:pt x="231" y="956"/>
                    <a:pt x="231" y="956"/>
                    <a:pt x="231" y="956"/>
                  </a:cubicBezTo>
                  <a:cubicBezTo>
                    <a:pt x="231" y="1154"/>
                    <a:pt x="231" y="1154"/>
                    <a:pt x="231" y="1154"/>
                  </a:cubicBezTo>
                  <a:cubicBezTo>
                    <a:pt x="296" y="1154"/>
                    <a:pt x="296" y="1154"/>
                    <a:pt x="296" y="1154"/>
                  </a:cubicBezTo>
                  <a:lnTo>
                    <a:pt x="296" y="1195"/>
                  </a:lnTo>
                  <a:close/>
                  <a:moveTo>
                    <a:pt x="447" y="1197"/>
                  </a:moveTo>
                  <a:cubicBezTo>
                    <a:pt x="377" y="1197"/>
                    <a:pt x="365" y="1127"/>
                    <a:pt x="365" y="1074"/>
                  </a:cubicBezTo>
                  <a:cubicBezTo>
                    <a:pt x="365" y="1022"/>
                    <a:pt x="378" y="953"/>
                    <a:pt x="447" y="953"/>
                  </a:cubicBezTo>
                  <a:cubicBezTo>
                    <a:pt x="517" y="953"/>
                    <a:pt x="530" y="1022"/>
                    <a:pt x="530" y="1074"/>
                  </a:cubicBezTo>
                  <a:cubicBezTo>
                    <a:pt x="530" y="1127"/>
                    <a:pt x="517" y="1197"/>
                    <a:pt x="447" y="1197"/>
                  </a:cubicBezTo>
                  <a:close/>
                  <a:moveTo>
                    <a:pt x="693" y="1351"/>
                  </a:moveTo>
                  <a:cubicBezTo>
                    <a:pt x="678" y="1332"/>
                    <a:pt x="666" y="1313"/>
                    <a:pt x="655" y="1294"/>
                  </a:cubicBezTo>
                  <a:cubicBezTo>
                    <a:pt x="645" y="1278"/>
                    <a:pt x="637" y="1261"/>
                    <a:pt x="630" y="1245"/>
                  </a:cubicBezTo>
                  <a:cubicBezTo>
                    <a:pt x="630" y="1201"/>
                    <a:pt x="630" y="1201"/>
                    <a:pt x="630" y="1201"/>
                  </a:cubicBezTo>
                  <a:cubicBezTo>
                    <a:pt x="635" y="1213"/>
                    <a:pt x="641" y="1225"/>
                    <a:pt x="648" y="1237"/>
                  </a:cubicBezTo>
                  <a:cubicBezTo>
                    <a:pt x="651" y="1243"/>
                    <a:pt x="654" y="1249"/>
                    <a:pt x="658" y="1255"/>
                  </a:cubicBezTo>
                  <a:cubicBezTo>
                    <a:pt x="658" y="1177"/>
                    <a:pt x="658" y="1177"/>
                    <a:pt x="658" y="1177"/>
                  </a:cubicBezTo>
                  <a:cubicBezTo>
                    <a:pt x="658" y="1090"/>
                    <a:pt x="658" y="1090"/>
                    <a:pt x="658" y="1090"/>
                  </a:cubicBezTo>
                  <a:cubicBezTo>
                    <a:pt x="654" y="1087"/>
                    <a:pt x="650" y="1084"/>
                    <a:pt x="646" y="1080"/>
                  </a:cubicBezTo>
                  <a:cubicBezTo>
                    <a:pt x="646" y="1080"/>
                    <a:pt x="646" y="1080"/>
                    <a:pt x="646" y="1080"/>
                  </a:cubicBezTo>
                  <a:cubicBezTo>
                    <a:pt x="642" y="1077"/>
                    <a:pt x="638" y="1073"/>
                    <a:pt x="634" y="1070"/>
                  </a:cubicBezTo>
                  <a:cubicBezTo>
                    <a:pt x="630" y="1032"/>
                    <a:pt x="630" y="1032"/>
                    <a:pt x="630" y="1032"/>
                  </a:cubicBezTo>
                  <a:cubicBezTo>
                    <a:pt x="628" y="1016"/>
                    <a:pt x="628" y="1016"/>
                    <a:pt x="628" y="1016"/>
                  </a:cubicBezTo>
                  <a:cubicBezTo>
                    <a:pt x="638" y="1025"/>
                    <a:pt x="653" y="1037"/>
                    <a:pt x="664" y="1046"/>
                  </a:cubicBezTo>
                  <a:cubicBezTo>
                    <a:pt x="670" y="1054"/>
                    <a:pt x="675" y="1062"/>
                    <a:pt x="681" y="1070"/>
                  </a:cubicBezTo>
                  <a:cubicBezTo>
                    <a:pt x="681" y="1113"/>
                    <a:pt x="681" y="1113"/>
                    <a:pt x="681" y="1113"/>
                  </a:cubicBezTo>
                  <a:cubicBezTo>
                    <a:pt x="681" y="1205"/>
                    <a:pt x="681" y="1205"/>
                    <a:pt x="681" y="1205"/>
                  </a:cubicBezTo>
                  <a:cubicBezTo>
                    <a:pt x="681" y="1291"/>
                    <a:pt x="681" y="1291"/>
                    <a:pt x="681" y="1291"/>
                  </a:cubicBezTo>
                  <a:cubicBezTo>
                    <a:pt x="685" y="1296"/>
                    <a:pt x="689" y="1301"/>
                    <a:pt x="693" y="1306"/>
                  </a:cubicBezTo>
                  <a:cubicBezTo>
                    <a:pt x="703" y="1319"/>
                    <a:pt x="713" y="1331"/>
                    <a:pt x="724" y="1343"/>
                  </a:cubicBezTo>
                  <a:cubicBezTo>
                    <a:pt x="724" y="1388"/>
                    <a:pt x="724" y="1388"/>
                    <a:pt x="724" y="1388"/>
                  </a:cubicBezTo>
                  <a:cubicBezTo>
                    <a:pt x="713" y="1376"/>
                    <a:pt x="703" y="1364"/>
                    <a:pt x="693" y="1351"/>
                  </a:cubicBezTo>
                  <a:close/>
                  <a:moveTo>
                    <a:pt x="816" y="1473"/>
                  </a:moveTo>
                  <a:cubicBezTo>
                    <a:pt x="800" y="1460"/>
                    <a:pt x="784" y="1447"/>
                    <a:pt x="769" y="1433"/>
                  </a:cubicBezTo>
                  <a:cubicBezTo>
                    <a:pt x="768" y="1388"/>
                    <a:pt x="768" y="1388"/>
                    <a:pt x="768" y="1388"/>
                  </a:cubicBezTo>
                  <a:cubicBezTo>
                    <a:pt x="783" y="1402"/>
                    <a:pt x="799" y="1415"/>
                    <a:pt x="815" y="1427"/>
                  </a:cubicBezTo>
                  <a:cubicBezTo>
                    <a:pt x="818" y="1430"/>
                    <a:pt x="821" y="1432"/>
                    <a:pt x="824" y="1434"/>
                  </a:cubicBezTo>
                  <a:cubicBezTo>
                    <a:pt x="823" y="1333"/>
                    <a:pt x="823" y="1333"/>
                    <a:pt x="823" y="1333"/>
                  </a:cubicBezTo>
                  <a:cubicBezTo>
                    <a:pt x="823" y="1322"/>
                    <a:pt x="823" y="1322"/>
                    <a:pt x="823" y="1322"/>
                  </a:cubicBezTo>
                  <a:cubicBezTo>
                    <a:pt x="823" y="1268"/>
                    <a:pt x="823" y="1268"/>
                    <a:pt x="823" y="1268"/>
                  </a:cubicBezTo>
                  <a:cubicBezTo>
                    <a:pt x="810" y="1265"/>
                    <a:pt x="792" y="1260"/>
                    <a:pt x="778" y="1257"/>
                  </a:cubicBezTo>
                  <a:cubicBezTo>
                    <a:pt x="776" y="1248"/>
                    <a:pt x="776" y="1248"/>
                    <a:pt x="776" y="1248"/>
                  </a:cubicBezTo>
                  <a:cubicBezTo>
                    <a:pt x="768" y="1218"/>
                    <a:pt x="768" y="1218"/>
                    <a:pt x="768" y="1218"/>
                  </a:cubicBezTo>
                  <a:cubicBezTo>
                    <a:pt x="767" y="1212"/>
                    <a:pt x="767" y="1212"/>
                    <a:pt x="767" y="1212"/>
                  </a:cubicBezTo>
                  <a:cubicBezTo>
                    <a:pt x="764" y="1204"/>
                    <a:pt x="764" y="1204"/>
                    <a:pt x="764" y="1204"/>
                  </a:cubicBezTo>
                  <a:cubicBezTo>
                    <a:pt x="785" y="1210"/>
                    <a:pt x="814" y="1217"/>
                    <a:pt x="835" y="1222"/>
                  </a:cubicBezTo>
                  <a:cubicBezTo>
                    <a:pt x="844" y="1229"/>
                    <a:pt x="853" y="1235"/>
                    <a:pt x="862" y="1241"/>
                  </a:cubicBezTo>
                  <a:cubicBezTo>
                    <a:pt x="862" y="1291"/>
                    <a:pt x="862" y="1291"/>
                    <a:pt x="862" y="1291"/>
                  </a:cubicBezTo>
                  <a:cubicBezTo>
                    <a:pt x="863" y="1360"/>
                    <a:pt x="863" y="1360"/>
                    <a:pt x="863" y="1360"/>
                  </a:cubicBezTo>
                  <a:cubicBezTo>
                    <a:pt x="863" y="1462"/>
                    <a:pt x="863" y="1462"/>
                    <a:pt x="863" y="1462"/>
                  </a:cubicBezTo>
                  <a:cubicBezTo>
                    <a:pt x="883" y="1475"/>
                    <a:pt x="905" y="1489"/>
                    <a:pt x="927" y="1501"/>
                  </a:cubicBezTo>
                  <a:cubicBezTo>
                    <a:pt x="927" y="1546"/>
                    <a:pt x="927" y="1546"/>
                    <a:pt x="927" y="1546"/>
                  </a:cubicBezTo>
                  <a:cubicBezTo>
                    <a:pt x="888" y="1523"/>
                    <a:pt x="850" y="1499"/>
                    <a:pt x="816" y="1473"/>
                  </a:cubicBezTo>
                  <a:close/>
                  <a:moveTo>
                    <a:pt x="1172" y="1585"/>
                  </a:moveTo>
                  <a:cubicBezTo>
                    <a:pt x="1168" y="1596"/>
                    <a:pt x="1163" y="1604"/>
                    <a:pt x="1157" y="1611"/>
                  </a:cubicBezTo>
                  <a:cubicBezTo>
                    <a:pt x="1141" y="1628"/>
                    <a:pt x="1119" y="1632"/>
                    <a:pt x="1096" y="1627"/>
                  </a:cubicBezTo>
                  <a:cubicBezTo>
                    <a:pt x="1063" y="1619"/>
                    <a:pt x="1028" y="1592"/>
                    <a:pt x="1010" y="1557"/>
                  </a:cubicBezTo>
                  <a:cubicBezTo>
                    <a:pt x="1006" y="1548"/>
                    <a:pt x="987" y="1483"/>
                    <a:pt x="988" y="1427"/>
                  </a:cubicBezTo>
                  <a:cubicBezTo>
                    <a:pt x="989" y="1406"/>
                    <a:pt x="992" y="1385"/>
                    <a:pt x="1001" y="1371"/>
                  </a:cubicBezTo>
                  <a:cubicBezTo>
                    <a:pt x="1014" y="1348"/>
                    <a:pt x="1039" y="1338"/>
                    <a:pt x="1082" y="1351"/>
                  </a:cubicBezTo>
                  <a:cubicBezTo>
                    <a:pt x="1127" y="1368"/>
                    <a:pt x="1152" y="1398"/>
                    <a:pt x="1166" y="1431"/>
                  </a:cubicBezTo>
                  <a:cubicBezTo>
                    <a:pt x="1167" y="1434"/>
                    <a:pt x="1168" y="1437"/>
                    <a:pt x="1169" y="1439"/>
                  </a:cubicBezTo>
                  <a:cubicBezTo>
                    <a:pt x="1176" y="1458"/>
                    <a:pt x="1179" y="1476"/>
                    <a:pt x="1181" y="1494"/>
                  </a:cubicBezTo>
                  <a:cubicBezTo>
                    <a:pt x="1184" y="1543"/>
                    <a:pt x="1173" y="1584"/>
                    <a:pt x="1172" y="1585"/>
                  </a:cubicBezTo>
                  <a:close/>
                  <a:moveTo>
                    <a:pt x="1270" y="1671"/>
                  </a:moveTo>
                  <a:cubicBezTo>
                    <a:pt x="1270" y="1627"/>
                    <a:pt x="1270" y="1627"/>
                    <a:pt x="1270" y="1627"/>
                  </a:cubicBezTo>
                  <a:cubicBezTo>
                    <a:pt x="1298" y="1633"/>
                    <a:pt x="1327" y="1638"/>
                    <a:pt x="1356" y="1643"/>
                  </a:cubicBezTo>
                  <a:cubicBezTo>
                    <a:pt x="1356" y="1528"/>
                    <a:pt x="1356" y="1528"/>
                    <a:pt x="1356" y="1528"/>
                  </a:cubicBezTo>
                  <a:cubicBezTo>
                    <a:pt x="1355" y="1477"/>
                    <a:pt x="1355" y="1477"/>
                    <a:pt x="1355" y="1477"/>
                  </a:cubicBezTo>
                  <a:cubicBezTo>
                    <a:pt x="1335" y="1481"/>
                    <a:pt x="1307" y="1486"/>
                    <a:pt x="1286" y="1489"/>
                  </a:cubicBezTo>
                  <a:cubicBezTo>
                    <a:pt x="1270" y="1456"/>
                    <a:pt x="1270" y="1456"/>
                    <a:pt x="1270" y="1456"/>
                  </a:cubicBezTo>
                  <a:cubicBezTo>
                    <a:pt x="1264" y="1444"/>
                    <a:pt x="1264" y="1444"/>
                    <a:pt x="1264" y="1444"/>
                  </a:cubicBezTo>
                  <a:cubicBezTo>
                    <a:pt x="1297" y="1439"/>
                    <a:pt x="1340" y="1431"/>
                    <a:pt x="1373" y="1425"/>
                  </a:cubicBezTo>
                  <a:cubicBezTo>
                    <a:pt x="1386" y="1427"/>
                    <a:pt x="1399" y="1429"/>
                    <a:pt x="1412" y="1430"/>
                  </a:cubicBezTo>
                  <a:cubicBezTo>
                    <a:pt x="1413" y="1477"/>
                    <a:pt x="1413" y="1477"/>
                    <a:pt x="1413" y="1477"/>
                  </a:cubicBezTo>
                  <a:cubicBezTo>
                    <a:pt x="1413" y="1534"/>
                    <a:pt x="1413" y="1534"/>
                    <a:pt x="1413" y="1534"/>
                  </a:cubicBezTo>
                  <a:cubicBezTo>
                    <a:pt x="1413" y="1651"/>
                    <a:pt x="1413" y="1651"/>
                    <a:pt x="1413" y="1651"/>
                  </a:cubicBezTo>
                  <a:cubicBezTo>
                    <a:pt x="1442" y="1654"/>
                    <a:pt x="1472" y="1657"/>
                    <a:pt x="1501" y="1659"/>
                  </a:cubicBezTo>
                  <a:cubicBezTo>
                    <a:pt x="1501" y="1703"/>
                    <a:pt x="1501" y="1703"/>
                    <a:pt x="1501" y="1703"/>
                  </a:cubicBezTo>
                  <a:cubicBezTo>
                    <a:pt x="1422" y="1698"/>
                    <a:pt x="1345" y="1687"/>
                    <a:pt x="1270" y="1671"/>
                  </a:cubicBezTo>
                  <a:close/>
                  <a:moveTo>
                    <a:pt x="1625" y="1693"/>
                  </a:moveTo>
                  <a:cubicBezTo>
                    <a:pt x="1623" y="1692"/>
                    <a:pt x="1622" y="1691"/>
                    <a:pt x="1620" y="1689"/>
                  </a:cubicBezTo>
                  <a:cubicBezTo>
                    <a:pt x="1580" y="1654"/>
                    <a:pt x="1577" y="1586"/>
                    <a:pt x="1583" y="1542"/>
                  </a:cubicBezTo>
                  <a:cubicBezTo>
                    <a:pt x="1584" y="1534"/>
                    <a:pt x="1586" y="1526"/>
                    <a:pt x="1587" y="1519"/>
                  </a:cubicBezTo>
                  <a:cubicBezTo>
                    <a:pt x="1591" y="1506"/>
                    <a:pt x="1596" y="1495"/>
                    <a:pt x="1602" y="1485"/>
                  </a:cubicBezTo>
                  <a:cubicBezTo>
                    <a:pt x="1628" y="1446"/>
                    <a:pt x="1672" y="1442"/>
                    <a:pt x="1695" y="1440"/>
                  </a:cubicBezTo>
                  <a:cubicBezTo>
                    <a:pt x="1737" y="1438"/>
                    <a:pt x="1768" y="1449"/>
                    <a:pt x="1786" y="1475"/>
                  </a:cubicBezTo>
                  <a:cubicBezTo>
                    <a:pt x="1797" y="1489"/>
                    <a:pt x="1804" y="1507"/>
                    <a:pt x="1807" y="1530"/>
                  </a:cubicBezTo>
                  <a:cubicBezTo>
                    <a:pt x="1807" y="1530"/>
                    <a:pt x="1808" y="1530"/>
                    <a:pt x="1808" y="1531"/>
                  </a:cubicBezTo>
                  <a:cubicBezTo>
                    <a:pt x="1834" y="1705"/>
                    <a:pt x="1690" y="1741"/>
                    <a:pt x="1625" y="1693"/>
                  </a:cubicBezTo>
                  <a:close/>
                  <a:moveTo>
                    <a:pt x="2080" y="1636"/>
                  </a:moveTo>
                  <a:cubicBezTo>
                    <a:pt x="2068" y="1640"/>
                    <a:pt x="2055" y="1644"/>
                    <a:pt x="2042" y="1648"/>
                  </a:cubicBezTo>
                  <a:cubicBezTo>
                    <a:pt x="2034" y="1650"/>
                    <a:pt x="2027" y="1652"/>
                    <a:pt x="2020" y="1654"/>
                  </a:cubicBezTo>
                  <a:cubicBezTo>
                    <a:pt x="1982" y="1664"/>
                    <a:pt x="1945" y="1673"/>
                    <a:pt x="1907" y="1680"/>
                  </a:cubicBezTo>
                  <a:cubicBezTo>
                    <a:pt x="1907" y="1635"/>
                    <a:pt x="1907" y="1635"/>
                    <a:pt x="1907" y="1635"/>
                  </a:cubicBezTo>
                  <a:cubicBezTo>
                    <a:pt x="1936" y="1629"/>
                    <a:pt x="1966" y="1623"/>
                    <a:pt x="1996" y="1616"/>
                  </a:cubicBezTo>
                  <a:cubicBezTo>
                    <a:pt x="1995" y="1495"/>
                    <a:pt x="1995" y="1495"/>
                    <a:pt x="1995" y="1495"/>
                  </a:cubicBezTo>
                  <a:cubicBezTo>
                    <a:pt x="1995" y="1450"/>
                    <a:pt x="1995" y="1450"/>
                    <a:pt x="1995" y="1450"/>
                  </a:cubicBezTo>
                  <a:cubicBezTo>
                    <a:pt x="1974" y="1463"/>
                    <a:pt x="1945" y="1479"/>
                    <a:pt x="1923" y="1491"/>
                  </a:cubicBezTo>
                  <a:cubicBezTo>
                    <a:pt x="1901" y="1457"/>
                    <a:pt x="1901" y="1457"/>
                    <a:pt x="1901" y="1457"/>
                  </a:cubicBezTo>
                  <a:cubicBezTo>
                    <a:pt x="1900" y="1455"/>
                    <a:pt x="1900" y="1455"/>
                    <a:pt x="1900" y="1455"/>
                  </a:cubicBezTo>
                  <a:cubicBezTo>
                    <a:pt x="1934" y="1436"/>
                    <a:pt x="1979" y="1410"/>
                    <a:pt x="2013" y="1391"/>
                  </a:cubicBezTo>
                  <a:cubicBezTo>
                    <a:pt x="2022" y="1388"/>
                    <a:pt x="2032" y="1386"/>
                    <a:pt x="2041" y="1383"/>
                  </a:cubicBezTo>
                  <a:cubicBezTo>
                    <a:pt x="2045" y="1382"/>
                    <a:pt x="2049" y="1381"/>
                    <a:pt x="2053" y="1380"/>
                  </a:cubicBezTo>
                  <a:cubicBezTo>
                    <a:pt x="2053" y="1419"/>
                    <a:pt x="2053" y="1419"/>
                    <a:pt x="2053" y="1419"/>
                  </a:cubicBezTo>
                  <a:cubicBezTo>
                    <a:pt x="2053" y="1478"/>
                    <a:pt x="2053" y="1478"/>
                    <a:pt x="2053" y="1478"/>
                  </a:cubicBezTo>
                  <a:cubicBezTo>
                    <a:pt x="2053" y="1600"/>
                    <a:pt x="2053" y="1600"/>
                    <a:pt x="2053" y="1600"/>
                  </a:cubicBezTo>
                  <a:cubicBezTo>
                    <a:pt x="2062" y="1597"/>
                    <a:pt x="2071" y="1594"/>
                    <a:pt x="2080" y="1591"/>
                  </a:cubicBezTo>
                  <a:cubicBezTo>
                    <a:pt x="2099" y="1585"/>
                    <a:pt x="2118" y="1579"/>
                    <a:pt x="2137" y="1572"/>
                  </a:cubicBezTo>
                  <a:cubicBezTo>
                    <a:pt x="2137" y="1617"/>
                    <a:pt x="2137" y="1617"/>
                    <a:pt x="2137" y="1617"/>
                  </a:cubicBezTo>
                  <a:cubicBezTo>
                    <a:pt x="2118" y="1623"/>
                    <a:pt x="2100" y="1630"/>
                    <a:pt x="2080" y="1636"/>
                  </a:cubicBezTo>
                  <a:close/>
                  <a:moveTo>
                    <a:pt x="2357" y="1506"/>
                  </a:moveTo>
                  <a:cubicBezTo>
                    <a:pt x="2313" y="1536"/>
                    <a:pt x="2263" y="1563"/>
                    <a:pt x="2208" y="1588"/>
                  </a:cubicBezTo>
                  <a:cubicBezTo>
                    <a:pt x="2208" y="1543"/>
                    <a:pt x="2208" y="1543"/>
                    <a:pt x="2208" y="1543"/>
                  </a:cubicBezTo>
                  <a:cubicBezTo>
                    <a:pt x="2233" y="1532"/>
                    <a:pt x="2257" y="1520"/>
                    <a:pt x="2280" y="1508"/>
                  </a:cubicBezTo>
                  <a:cubicBezTo>
                    <a:pt x="2280" y="1380"/>
                    <a:pt x="2280" y="1380"/>
                    <a:pt x="2280" y="1380"/>
                  </a:cubicBezTo>
                  <a:cubicBezTo>
                    <a:pt x="2280" y="1342"/>
                    <a:pt x="2280" y="1342"/>
                    <a:pt x="2280" y="1342"/>
                  </a:cubicBezTo>
                  <a:cubicBezTo>
                    <a:pt x="2263" y="1359"/>
                    <a:pt x="2239" y="1380"/>
                    <a:pt x="2222" y="1396"/>
                  </a:cubicBezTo>
                  <a:cubicBezTo>
                    <a:pt x="2202" y="1364"/>
                    <a:pt x="2202" y="1364"/>
                    <a:pt x="2202" y="1364"/>
                  </a:cubicBezTo>
                  <a:cubicBezTo>
                    <a:pt x="2208" y="1359"/>
                    <a:pt x="2214" y="1354"/>
                    <a:pt x="2220" y="1349"/>
                  </a:cubicBezTo>
                  <a:cubicBezTo>
                    <a:pt x="2244" y="1327"/>
                    <a:pt x="2272" y="1301"/>
                    <a:pt x="2294" y="1280"/>
                  </a:cubicBezTo>
                  <a:cubicBezTo>
                    <a:pt x="2304" y="1274"/>
                    <a:pt x="2314" y="1268"/>
                    <a:pt x="2324" y="1262"/>
                  </a:cubicBezTo>
                  <a:cubicBezTo>
                    <a:pt x="2324" y="1284"/>
                    <a:pt x="2324" y="1284"/>
                    <a:pt x="2324" y="1284"/>
                  </a:cubicBezTo>
                  <a:cubicBezTo>
                    <a:pt x="2324" y="1353"/>
                    <a:pt x="2324" y="1353"/>
                    <a:pt x="2324" y="1353"/>
                  </a:cubicBezTo>
                  <a:cubicBezTo>
                    <a:pt x="2324" y="1483"/>
                    <a:pt x="2324" y="1483"/>
                    <a:pt x="2324" y="1483"/>
                  </a:cubicBezTo>
                  <a:cubicBezTo>
                    <a:pt x="2337" y="1475"/>
                    <a:pt x="2349" y="1467"/>
                    <a:pt x="2361" y="1459"/>
                  </a:cubicBezTo>
                  <a:cubicBezTo>
                    <a:pt x="2369" y="1453"/>
                    <a:pt x="2378" y="1448"/>
                    <a:pt x="2386" y="1442"/>
                  </a:cubicBezTo>
                  <a:cubicBezTo>
                    <a:pt x="2386" y="1486"/>
                    <a:pt x="2386" y="1486"/>
                    <a:pt x="2386" y="1486"/>
                  </a:cubicBezTo>
                  <a:cubicBezTo>
                    <a:pt x="2376" y="1493"/>
                    <a:pt x="2367" y="1500"/>
                    <a:pt x="2357" y="1506"/>
                  </a:cubicBezTo>
                  <a:close/>
                  <a:moveTo>
                    <a:pt x="2534" y="1312"/>
                  </a:moveTo>
                  <a:cubicBezTo>
                    <a:pt x="2527" y="1345"/>
                    <a:pt x="2516" y="1369"/>
                    <a:pt x="2503" y="1386"/>
                  </a:cubicBezTo>
                  <a:cubicBezTo>
                    <a:pt x="2490" y="1405"/>
                    <a:pt x="2476" y="1414"/>
                    <a:pt x="2465" y="1413"/>
                  </a:cubicBezTo>
                  <a:cubicBezTo>
                    <a:pt x="2456" y="1413"/>
                    <a:pt x="2447" y="1403"/>
                    <a:pt x="2441" y="1386"/>
                  </a:cubicBezTo>
                  <a:cubicBezTo>
                    <a:pt x="2432" y="1358"/>
                    <a:pt x="2429" y="1314"/>
                    <a:pt x="2436" y="1266"/>
                  </a:cubicBezTo>
                  <a:cubicBezTo>
                    <a:pt x="2441" y="1228"/>
                    <a:pt x="2453" y="1189"/>
                    <a:pt x="2473" y="1155"/>
                  </a:cubicBezTo>
                  <a:cubicBezTo>
                    <a:pt x="2480" y="1144"/>
                    <a:pt x="2487" y="1134"/>
                    <a:pt x="2495" y="1124"/>
                  </a:cubicBezTo>
                  <a:cubicBezTo>
                    <a:pt x="2512" y="1107"/>
                    <a:pt x="2523" y="1102"/>
                    <a:pt x="2531" y="1109"/>
                  </a:cubicBezTo>
                  <a:cubicBezTo>
                    <a:pt x="2531" y="1110"/>
                    <a:pt x="2532" y="1111"/>
                    <a:pt x="2532" y="1111"/>
                  </a:cubicBezTo>
                  <a:cubicBezTo>
                    <a:pt x="2532" y="1111"/>
                    <a:pt x="2532" y="1111"/>
                    <a:pt x="2532" y="1111"/>
                  </a:cubicBezTo>
                  <a:cubicBezTo>
                    <a:pt x="2549" y="1135"/>
                    <a:pt x="2549" y="1246"/>
                    <a:pt x="2534" y="1312"/>
                  </a:cubicBezTo>
                  <a:close/>
                  <a:moveTo>
                    <a:pt x="2737" y="1197"/>
                  </a:moveTo>
                  <a:cubicBezTo>
                    <a:pt x="2667" y="1197"/>
                    <a:pt x="2654" y="1127"/>
                    <a:pt x="2654" y="1074"/>
                  </a:cubicBezTo>
                  <a:cubicBezTo>
                    <a:pt x="2654" y="1022"/>
                    <a:pt x="2668" y="953"/>
                    <a:pt x="2737" y="953"/>
                  </a:cubicBezTo>
                  <a:cubicBezTo>
                    <a:pt x="2806" y="953"/>
                    <a:pt x="2819" y="1022"/>
                    <a:pt x="2819" y="1074"/>
                  </a:cubicBezTo>
                  <a:cubicBezTo>
                    <a:pt x="2819" y="1127"/>
                    <a:pt x="2807" y="1197"/>
                    <a:pt x="2737" y="1197"/>
                  </a:cubicBezTo>
                  <a:close/>
                  <a:moveTo>
                    <a:pt x="3062" y="1195"/>
                  </a:moveTo>
                  <a:cubicBezTo>
                    <a:pt x="2889" y="1195"/>
                    <a:pt x="2889" y="1195"/>
                    <a:pt x="2889" y="1195"/>
                  </a:cubicBezTo>
                  <a:cubicBezTo>
                    <a:pt x="2889" y="1154"/>
                    <a:pt x="2889" y="1154"/>
                    <a:pt x="2889" y="1154"/>
                  </a:cubicBezTo>
                  <a:cubicBezTo>
                    <a:pt x="2954" y="1154"/>
                    <a:pt x="2954" y="1154"/>
                    <a:pt x="2954" y="1154"/>
                  </a:cubicBezTo>
                  <a:cubicBezTo>
                    <a:pt x="2954" y="1005"/>
                    <a:pt x="2954" y="1005"/>
                    <a:pt x="2954" y="1005"/>
                  </a:cubicBezTo>
                  <a:cubicBezTo>
                    <a:pt x="2902" y="1028"/>
                    <a:pt x="2902" y="1028"/>
                    <a:pt x="2902" y="1028"/>
                  </a:cubicBezTo>
                  <a:cubicBezTo>
                    <a:pt x="2885" y="991"/>
                    <a:pt x="2885" y="991"/>
                    <a:pt x="2885" y="991"/>
                  </a:cubicBezTo>
                  <a:cubicBezTo>
                    <a:pt x="2967" y="956"/>
                    <a:pt x="2967" y="956"/>
                    <a:pt x="2967" y="956"/>
                  </a:cubicBezTo>
                  <a:cubicBezTo>
                    <a:pt x="2997" y="956"/>
                    <a:pt x="2997" y="956"/>
                    <a:pt x="2997" y="956"/>
                  </a:cubicBezTo>
                  <a:cubicBezTo>
                    <a:pt x="2997" y="1154"/>
                    <a:pt x="2997" y="1154"/>
                    <a:pt x="2997" y="1154"/>
                  </a:cubicBezTo>
                  <a:cubicBezTo>
                    <a:pt x="3062" y="1154"/>
                    <a:pt x="3062" y="1154"/>
                    <a:pt x="3062" y="1154"/>
                  </a:cubicBezTo>
                  <a:lnTo>
                    <a:pt x="3062" y="1195"/>
                  </a:lnTo>
                  <a:close/>
                  <a:moveTo>
                    <a:pt x="1111" y="1423"/>
                  </a:moveTo>
                  <a:cubicBezTo>
                    <a:pt x="1108" y="1419"/>
                    <a:pt x="1106" y="1415"/>
                    <a:pt x="1103" y="1412"/>
                  </a:cubicBezTo>
                  <a:cubicBezTo>
                    <a:pt x="1092" y="1397"/>
                    <a:pt x="1078" y="1390"/>
                    <a:pt x="1062" y="1395"/>
                  </a:cubicBezTo>
                  <a:cubicBezTo>
                    <a:pt x="1061" y="1395"/>
                    <a:pt x="1060" y="1395"/>
                    <a:pt x="1059" y="1396"/>
                  </a:cubicBezTo>
                  <a:cubicBezTo>
                    <a:pt x="1045" y="1402"/>
                    <a:pt x="1039" y="1425"/>
                    <a:pt x="1038" y="1448"/>
                  </a:cubicBezTo>
                  <a:cubicBezTo>
                    <a:pt x="1036" y="1472"/>
                    <a:pt x="1038" y="1496"/>
                    <a:pt x="1038" y="1498"/>
                  </a:cubicBezTo>
                  <a:cubicBezTo>
                    <a:pt x="1046" y="1564"/>
                    <a:pt x="1073" y="1575"/>
                    <a:pt x="1082" y="1578"/>
                  </a:cubicBezTo>
                  <a:cubicBezTo>
                    <a:pt x="1087" y="1580"/>
                    <a:pt x="1092" y="1581"/>
                    <a:pt x="1097" y="1580"/>
                  </a:cubicBezTo>
                  <a:cubicBezTo>
                    <a:pt x="1105" y="1579"/>
                    <a:pt x="1112" y="1575"/>
                    <a:pt x="1117" y="1566"/>
                  </a:cubicBezTo>
                  <a:cubicBezTo>
                    <a:pt x="1129" y="1544"/>
                    <a:pt x="1132" y="1511"/>
                    <a:pt x="1128" y="1480"/>
                  </a:cubicBezTo>
                  <a:cubicBezTo>
                    <a:pt x="1125" y="1459"/>
                    <a:pt x="1119" y="1439"/>
                    <a:pt x="1111" y="1423"/>
                  </a:cubicBezTo>
                  <a:close/>
                  <a:moveTo>
                    <a:pt x="2509" y="1164"/>
                  </a:moveTo>
                  <a:cubicBezTo>
                    <a:pt x="2502" y="1159"/>
                    <a:pt x="2480" y="1174"/>
                    <a:pt x="2472" y="1231"/>
                  </a:cubicBezTo>
                  <a:cubicBezTo>
                    <a:pt x="2469" y="1250"/>
                    <a:pt x="2467" y="1273"/>
                    <a:pt x="2468" y="1302"/>
                  </a:cubicBezTo>
                  <a:cubicBezTo>
                    <a:pt x="2469" y="1330"/>
                    <a:pt x="2474" y="1373"/>
                    <a:pt x="2495" y="1351"/>
                  </a:cubicBezTo>
                  <a:cubicBezTo>
                    <a:pt x="2521" y="1323"/>
                    <a:pt x="2525" y="1221"/>
                    <a:pt x="2516" y="1180"/>
                  </a:cubicBezTo>
                  <a:cubicBezTo>
                    <a:pt x="2514" y="1171"/>
                    <a:pt x="2512" y="1165"/>
                    <a:pt x="2509" y="1164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10136219" y="9021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3151890" y="1284207"/>
            <a:ext cx="792000" cy="792000"/>
            <a:chOff x="9986361" y="568395"/>
            <a:chExt cx="792000" cy="792000"/>
          </a:xfrm>
        </p:grpSpPr>
        <p:sp>
          <p:nvSpPr>
            <p:cNvPr id="115" name="Freeform 11"/>
            <p:cNvSpPr>
              <a:spLocks noEditPoints="1"/>
            </p:cNvSpPr>
            <p:nvPr/>
          </p:nvSpPr>
          <p:spPr bwMode="black">
            <a:xfrm>
              <a:off x="10004361" y="586395"/>
              <a:ext cx="756000" cy="756000"/>
            </a:xfrm>
            <a:custGeom>
              <a:avLst/>
              <a:gdLst>
                <a:gd name="T0" fmla="*/ 65 w 300"/>
                <a:gd name="T1" fmla="*/ 2 h 297"/>
                <a:gd name="T2" fmla="*/ 113 w 300"/>
                <a:gd name="T3" fmla="*/ 0 h 297"/>
                <a:gd name="T4" fmla="*/ 115 w 300"/>
                <a:gd name="T5" fmla="*/ 12 h 297"/>
                <a:gd name="T6" fmla="*/ 235 w 300"/>
                <a:gd name="T7" fmla="*/ 12 h 297"/>
                <a:gd name="T8" fmla="*/ 232 w 300"/>
                <a:gd name="T9" fmla="*/ 0 h 297"/>
                <a:gd name="T10" fmla="*/ 185 w 300"/>
                <a:gd name="T11" fmla="*/ 2 h 297"/>
                <a:gd name="T12" fmla="*/ 235 w 300"/>
                <a:gd name="T13" fmla="*/ 12 h 297"/>
                <a:gd name="T14" fmla="*/ 98 w 300"/>
                <a:gd name="T15" fmla="*/ 273 h 297"/>
                <a:gd name="T16" fmla="*/ 0 w 300"/>
                <a:gd name="T17" fmla="*/ 295 h 297"/>
                <a:gd name="T18" fmla="*/ 95 w 300"/>
                <a:gd name="T19" fmla="*/ 297 h 297"/>
                <a:gd name="T20" fmla="*/ 205 w 300"/>
                <a:gd name="T21" fmla="*/ 297 h 297"/>
                <a:gd name="T22" fmla="*/ 300 w 300"/>
                <a:gd name="T23" fmla="*/ 295 h 297"/>
                <a:gd name="T24" fmla="*/ 202 w 300"/>
                <a:gd name="T25" fmla="*/ 273 h 297"/>
                <a:gd name="T26" fmla="*/ 205 w 300"/>
                <a:gd name="T27" fmla="*/ 297 h 297"/>
                <a:gd name="T28" fmla="*/ 271 w 300"/>
                <a:gd name="T29" fmla="*/ 83 h 297"/>
                <a:gd name="T30" fmla="*/ 299 w 300"/>
                <a:gd name="T31" fmla="*/ 268 h 297"/>
                <a:gd name="T32" fmla="*/ 227 w 300"/>
                <a:gd name="T33" fmla="*/ 169 h 297"/>
                <a:gd name="T34" fmla="*/ 182 w 300"/>
                <a:gd name="T35" fmla="*/ 166 h 297"/>
                <a:gd name="T36" fmla="*/ 155 w 300"/>
                <a:gd name="T37" fmla="*/ 152 h 297"/>
                <a:gd name="T38" fmla="*/ 154 w 300"/>
                <a:gd name="T39" fmla="*/ 159 h 297"/>
                <a:gd name="T40" fmla="*/ 145 w 300"/>
                <a:gd name="T41" fmla="*/ 158 h 297"/>
                <a:gd name="T42" fmla="*/ 119 w 300"/>
                <a:gd name="T43" fmla="*/ 152 h 297"/>
                <a:gd name="T44" fmla="*/ 115 w 300"/>
                <a:gd name="T45" fmla="*/ 169 h 297"/>
                <a:gd name="T46" fmla="*/ 96 w 300"/>
                <a:gd name="T47" fmla="*/ 268 h 297"/>
                <a:gd name="T48" fmla="*/ 25 w 300"/>
                <a:gd name="T49" fmla="*/ 169 h 297"/>
                <a:gd name="T50" fmla="*/ 42 w 300"/>
                <a:gd name="T51" fmla="*/ 76 h 297"/>
                <a:gd name="T52" fmla="*/ 73 w 300"/>
                <a:gd name="T53" fmla="*/ 59 h 297"/>
                <a:gd name="T54" fmla="*/ 61 w 300"/>
                <a:gd name="T55" fmla="*/ 57 h 297"/>
                <a:gd name="T56" fmla="*/ 120 w 300"/>
                <a:gd name="T57" fmla="*/ 15 h 297"/>
                <a:gd name="T58" fmla="*/ 118 w 300"/>
                <a:gd name="T59" fmla="*/ 59 h 297"/>
                <a:gd name="T60" fmla="*/ 108 w 300"/>
                <a:gd name="T61" fmla="*/ 68 h 297"/>
                <a:gd name="T62" fmla="*/ 145 w 300"/>
                <a:gd name="T63" fmla="*/ 62 h 297"/>
                <a:gd name="T64" fmla="*/ 140 w 300"/>
                <a:gd name="T65" fmla="*/ 61 h 297"/>
                <a:gd name="T66" fmla="*/ 142 w 300"/>
                <a:gd name="T67" fmla="*/ 55 h 297"/>
                <a:gd name="T68" fmla="*/ 160 w 300"/>
                <a:gd name="T69" fmla="*/ 56 h 297"/>
                <a:gd name="T70" fmla="*/ 158 w 300"/>
                <a:gd name="T71" fmla="*/ 62 h 297"/>
                <a:gd name="T72" fmla="*/ 155 w 300"/>
                <a:gd name="T73" fmla="*/ 68 h 297"/>
                <a:gd name="T74" fmla="*/ 192 w 300"/>
                <a:gd name="T75" fmla="*/ 59 h 297"/>
                <a:gd name="T76" fmla="*/ 180 w 300"/>
                <a:gd name="T77" fmla="*/ 57 h 297"/>
                <a:gd name="T78" fmla="*/ 239 w 300"/>
                <a:gd name="T79" fmla="*/ 15 h 297"/>
                <a:gd name="T80" fmla="*/ 237 w 300"/>
                <a:gd name="T81" fmla="*/ 59 h 297"/>
                <a:gd name="T82" fmla="*/ 227 w 300"/>
                <a:gd name="T83" fmla="*/ 76 h 297"/>
                <a:gd name="T84" fmla="*/ 122 w 300"/>
                <a:gd name="T85" fmla="*/ 83 h 297"/>
                <a:gd name="T86" fmla="*/ 145 w 300"/>
                <a:gd name="T87" fmla="*/ 72 h 297"/>
                <a:gd name="T88" fmla="*/ 108 w 300"/>
                <a:gd name="T89" fmla="*/ 76 h 297"/>
                <a:gd name="T90" fmla="*/ 123 w 300"/>
                <a:gd name="T91" fmla="*/ 78 h 297"/>
                <a:gd name="T92" fmla="*/ 180 w 300"/>
                <a:gd name="T93" fmla="*/ 76 h 297"/>
                <a:gd name="T94" fmla="*/ 192 w 300"/>
                <a:gd name="T95" fmla="*/ 72 h 297"/>
                <a:gd name="T96" fmla="*/ 155 w 300"/>
                <a:gd name="T97" fmla="*/ 83 h 297"/>
                <a:gd name="T98" fmla="*/ 178 w 300"/>
                <a:gd name="T99" fmla="*/ 78 h 297"/>
                <a:gd name="T100" fmla="*/ 158 w 300"/>
                <a:gd name="T101" fmla="*/ 101 h 297"/>
                <a:gd name="T102" fmla="*/ 142 w 300"/>
                <a:gd name="T103" fmla="*/ 118 h 297"/>
                <a:gd name="T104" fmla="*/ 158 w 300"/>
                <a:gd name="T105" fmla="*/ 101 h 297"/>
                <a:gd name="T106" fmla="*/ 129 w 300"/>
                <a:gd name="T107" fmla="*/ 91 h 297"/>
                <a:gd name="T108" fmla="*/ 133 w 300"/>
                <a:gd name="T109" fmla="*/ 141 h 297"/>
                <a:gd name="T110" fmla="*/ 171 w 300"/>
                <a:gd name="T111" fmla="*/ 91 h 297"/>
                <a:gd name="T112" fmla="*/ 167 w 300"/>
                <a:gd name="T113" fmla="*/ 141 h 297"/>
                <a:gd name="T114" fmla="*/ 171 w 300"/>
                <a:gd name="T115" fmla="*/ 91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0" h="297">
                  <a:moveTo>
                    <a:pt x="65" y="12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65" y="1"/>
                    <a:pt x="67" y="0"/>
                    <a:pt x="68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4" y="0"/>
                    <a:pt x="115" y="1"/>
                    <a:pt x="115" y="2"/>
                  </a:cubicBezTo>
                  <a:cubicBezTo>
                    <a:pt x="115" y="12"/>
                    <a:pt x="115" y="12"/>
                    <a:pt x="115" y="12"/>
                  </a:cubicBezTo>
                  <a:lnTo>
                    <a:pt x="65" y="12"/>
                  </a:lnTo>
                  <a:close/>
                  <a:moveTo>
                    <a:pt x="235" y="12"/>
                  </a:moveTo>
                  <a:cubicBezTo>
                    <a:pt x="235" y="2"/>
                    <a:pt x="235" y="2"/>
                    <a:pt x="235" y="2"/>
                  </a:cubicBezTo>
                  <a:cubicBezTo>
                    <a:pt x="235" y="1"/>
                    <a:pt x="233" y="0"/>
                    <a:pt x="232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6" y="0"/>
                    <a:pt x="185" y="1"/>
                    <a:pt x="185" y="2"/>
                  </a:cubicBezTo>
                  <a:cubicBezTo>
                    <a:pt x="185" y="12"/>
                    <a:pt x="185" y="12"/>
                    <a:pt x="185" y="12"/>
                  </a:cubicBezTo>
                  <a:lnTo>
                    <a:pt x="235" y="12"/>
                  </a:lnTo>
                  <a:close/>
                  <a:moveTo>
                    <a:pt x="98" y="295"/>
                  </a:moveTo>
                  <a:cubicBezTo>
                    <a:pt x="98" y="273"/>
                    <a:pt x="98" y="273"/>
                    <a:pt x="98" y="273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96"/>
                    <a:pt x="1" y="297"/>
                    <a:pt x="2" y="297"/>
                  </a:cubicBezTo>
                  <a:cubicBezTo>
                    <a:pt x="95" y="297"/>
                    <a:pt x="95" y="297"/>
                    <a:pt x="95" y="297"/>
                  </a:cubicBezTo>
                  <a:cubicBezTo>
                    <a:pt x="97" y="297"/>
                    <a:pt x="98" y="296"/>
                    <a:pt x="98" y="295"/>
                  </a:cubicBezTo>
                  <a:close/>
                  <a:moveTo>
                    <a:pt x="205" y="297"/>
                  </a:moveTo>
                  <a:cubicBezTo>
                    <a:pt x="298" y="297"/>
                    <a:pt x="298" y="297"/>
                    <a:pt x="298" y="297"/>
                  </a:cubicBezTo>
                  <a:cubicBezTo>
                    <a:pt x="299" y="297"/>
                    <a:pt x="300" y="296"/>
                    <a:pt x="300" y="295"/>
                  </a:cubicBezTo>
                  <a:cubicBezTo>
                    <a:pt x="300" y="273"/>
                    <a:pt x="300" y="273"/>
                    <a:pt x="300" y="273"/>
                  </a:cubicBezTo>
                  <a:cubicBezTo>
                    <a:pt x="202" y="273"/>
                    <a:pt x="202" y="273"/>
                    <a:pt x="202" y="273"/>
                  </a:cubicBezTo>
                  <a:cubicBezTo>
                    <a:pt x="202" y="295"/>
                    <a:pt x="202" y="295"/>
                    <a:pt x="202" y="295"/>
                  </a:cubicBezTo>
                  <a:cubicBezTo>
                    <a:pt x="202" y="296"/>
                    <a:pt x="203" y="297"/>
                    <a:pt x="205" y="297"/>
                  </a:cubicBezTo>
                  <a:close/>
                  <a:moveTo>
                    <a:pt x="263" y="76"/>
                  </a:moveTo>
                  <a:cubicBezTo>
                    <a:pt x="267" y="76"/>
                    <a:pt x="270" y="79"/>
                    <a:pt x="271" y="83"/>
                  </a:cubicBezTo>
                  <a:cubicBezTo>
                    <a:pt x="275" y="169"/>
                    <a:pt x="275" y="169"/>
                    <a:pt x="275" y="169"/>
                  </a:cubicBezTo>
                  <a:cubicBezTo>
                    <a:pt x="299" y="268"/>
                    <a:pt x="299" y="268"/>
                    <a:pt x="299" y="268"/>
                  </a:cubicBezTo>
                  <a:cubicBezTo>
                    <a:pt x="204" y="268"/>
                    <a:pt x="204" y="268"/>
                    <a:pt x="204" y="268"/>
                  </a:cubicBezTo>
                  <a:cubicBezTo>
                    <a:pt x="227" y="169"/>
                    <a:pt x="227" y="169"/>
                    <a:pt x="227" y="169"/>
                  </a:cubicBezTo>
                  <a:cubicBezTo>
                    <a:pt x="185" y="169"/>
                    <a:pt x="185" y="169"/>
                    <a:pt x="185" y="169"/>
                  </a:cubicBezTo>
                  <a:cubicBezTo>
                    <a:pt x="183" y="169"/>
                    <a:pt x="182" y="168"/>
                    <a:pt x="182" y="166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55" y="152"/>
                    <a:pt x="155" y="152"/>
                    <a:pt x="155" y="152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9"/>
                    <a:pt x="154" y="159"/>
                    <a:pt x="154" y="159"/>
                  </a:cubicBezTo>
                  <a:cubicBezTo>
                    <a:pt x="146" y="159"/>
                    <a:pt x="146" y="159"/>
                    <a:pt x="146" y="159"/>
                  </a:cubicBezTo>
                  <a:cubicBezTo>
                    <a:pt x="146" y="159"/>
                    <a:pt x="145" y="159"/>
                    <a:pt x="145" y="158"/>
                  </a:cubicBezTo>
                  <a:cubicBezTo>
                    <a:pt x="145" y="152"/>
                    <a:pt x="145" y="152"/>
                    <a:pt x="145" y="152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8"/>
                    <a:pt x="117" y="169"/>
                    <a:pt x="115" y="169"/>
                  </a:cubicBezTo>
                  <a:cubicBezTo>
                    <a:pt x="73" y="169"/>
                    <a:pt x="73" y="169"/>
                    <a:pt x="73" y="169"/>
                  </a:cubicBezTo>
                  <a:cubicBezTo>
                    <a:pt x="96" y="268"/>
                    <a:pt x="96" y="268"/>
                    <a:pt x="96" y="268"/>
                  </a:cubicBezTo>
                  <a:cubicBezTo>
                    <a:pt x="1" y="268"/>
                    <a:pt x="1" y="268"/>
                    <a:pt x="1" y="268"/>
                  </a:cubicBezTo>
                  <a:cubicBezTo>
                    <a:pt x="25" y="169"/>
                    <a:pt x="25" y="169"/>
                    <a:pt x="25" y="169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79"/>
                    <a:pt x="38" y="76"/>
                    <a:pt x="42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2" y="59"/>
                    <a:pt x="61" y="58"/>
                    <a:pt x="61" y="57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120" y="58"/>
                    <a:pt x="119" y="59"/>
                    <a:pt x="118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42" y="62"/>
                    <a:pt x="142" y="62"/>
                    <a:pt x="142" y="62"/>
                  </a:cubicBezTo>
                  <a:cubicBezTo>
                    <a:pt x="141" y="62"/>
                    <a:pt x="140" y="61"/>
                    <a:pt x="140" y="61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40" y="55"/>
                    <a:pt x="141" y="55"/>
                    <a:pt x="142" y="55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9" y="55"/>
                    <a:pt x="160" y="55"/>
                    <a:pt x="160" y="56"/>
                  </a:cubicBezTo>
                  <a:cubicBezTo>
                    <a:pt x="160" y="61"/>
                    <a:pt x="160" y="61"/>
                    <a:pt x="160" y="61"/>
                  </a:cubicBezTo>
                  <a:cubicBezTo>
                    <a:pt x="160" y="61"/>
                    <a:pt x="159" y="62"/>
                    <a:pt x="158" y="62"/>
                  </a:cubicBezTo>
                  <a:cubicBezTo>
                    <a:pt x="155" y="62"/>
                    <a:pt x="155" y="62"/>
                    <a:pt x="155" y="62"/>
                  </a:cubicBezTo>
                  <a:cubicBezTo>
                    <a:pt x="155" y="68"/>
                    <a:pt x="155" y="68"/>
                    <a:pt x="155" y="68"/>
                  </a:cubicBezTo>
                  <a:cubicBezTo>
                    <a:pt x="192" y="68"/>
                    <a:pt x="192" y="68"/>
                    <a:pt x="192" y="68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1" y="59"/>
                    <a:pt x="180" y="58"/>
                    <a:pt x="180" y="57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39" y="57"/>
                    <a:pt x="239" y="57"/>
                    <a:pt x="239" y="57"/>
                  </a:cubicBezTo>
                  <a:cubicBezTo>
                    <a:pt x="239" y="58"/>
                    <a:pt x="238" y="59"/>
                    <a:pt x="237" y="59"/>
                  </a:cubicBezTo>
                  <a:cubicBezTo>
                    <a:pt x="227" y="59"/>
                    <a:pt x="227" y="59"/>
                    <a:pt x="227" y="59"/>
                  </a:cubicBezTo>
                  <a:cubicBezTo>
                    <a:pt x="227" y="76"/>
                    <a:pt x="227" y="76"/>
                    <a:pt x="227" y="76"/>
                  </a:cubicBezTo>
                  <a:lnTo>
                    <a:pt x="263" y="76"/>
                  </a:lnTo>
                  <a:close/>
                  <a:moveTo>
                    <a:pt x="122" y="83"/>
                  </a:moveTo>
                  <a:cubicBezTo>
                    <a:pt x="145" y="83"/>
                    <a:pt x="145" y="83"/>
                    <a:pt x="145" y="83"/>
                  </a:cubicBezTo>
                  <a:cubicBezTo>
                    <a:pt x="145" y="72"/>
                    <a:pt x="145" y="72"/>
                    <a:pt x="145" y="72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2" y="76"/>
                    <a:pt x="123" y="77"/>
                    <a:pt x="123" y="78"/>
                  </a:cubicBezTo>
                  <a:lnTo>
                    <a:pt x="122" y="83"/>
                  </a:lnTo>
                  <a:close/>
                  <a:moveTo>
                    <a:pt x="180" y="76"/>
                  </a:moveTo>
                  <a:cubicBezTo>
                    <a:pt x="192" y="76"/>
                    <a:pt x="192" y="76"/>
                    <a:pt x="192" y="76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55" y="72"/>
                    <a:pt x="155" y="72"/>
                    <a:pt x="155" y="72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78"/>
                    <a:pt x="178" y="78"/>
                    <a:pt x="178" y="78"/>
                  </a:cubicBezTo>
                  <a:cubicBezTo>
                    <a:pt x="177" y="77"/>
                    <a:pt x="178" y="76"/>
                    <a:pt x="180" y="76"/>
                  </a:cubicBezTo>
                  <a:close/>
                  <a:moveTo>
                    <a:pt x="158" y="101"/>
                  </a:moveTo>
                  <a:cubicBezTo>
                    <a:pt x="142" y="101"/>
                    <a:pt x="142" y="101"/>
                    <a:pt x="142" y="101"/>
                  </a:cubicBezTo>
                  <a:cubicBezTo>
                    <a:pt x="142" y="118"/>
                    <a:pt x="142" y="118"/>
                    <a:pt x="142" y="118"/>
                  </a:cubicBezTo>
                  <a:cubicBezTo>
                    <a:pt x="158" y="118"/>
                    <a:pt x="158" y="118"/>
                    <a:pt x="158" y="118"/>
                  </a:cubicBezTo>
                  <a:lnTo>
                    <a:pt x="158" y="101"/>
                  </a:lnTo>
                  <a:close/>
                  <a:moveTo>
                    <a:pt x="133" y="91"/>
                  </a:moveTo>
                  <a:cubicBezTo>
                    <a:pt x="129" y="91"/>
                    <a:pt x="129" y="91"/>
                    <a:pt x="129" y="91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33" y="141"/>
                    <a:pt x="133" y="141"/>
                    <a:pt x="133" y="141"/>
                  </a:cubicBezTo>
                  <a:lnTo>
                    <a:pt x="133" y="91"/>
                  </a:lnTo>
                  <a:close/>
                  <a:moveTo>
                    <a:pt x="171" y="91"/>
                  </a:moveTo>
                  <a:cubicBezTo>
                    <a:pt x="167" y="91"/>
                    <a:pt x="167" y="91"/>
                    <a:pt x="167" y="91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71" y="141"/>
                    <a:pt x="171" y="141"/>
                    <a:pt x="171" y="141"/>
                  </a:cubicBezTo>
                  <a:lnTo>
                    <a:pt x="171" y="91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en-US" sz="1600" dirty="0">
                <a:solidFill>
                  <a:srgbClr val="737373"/>
                </a:solidFill>
                <a:latin typeface="Calibri" panose="020F0502020204030204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9986361" y="56839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5559600" y="1876097"/>
            <a:ext cx="792000" cy="792000"/>
            <a:chOff x="2133465" y="-1014060"/>
            <a:chExt cx="792000" cy="792000"/>
          </a:xfrm>
        </p:grpSpPr>
        <p:sp>
          <p:nvSpPr>
            <p:cNvPr id="125" name="Freeform 159"/>
            <p:cNvSpPr>
              <a:spLocks noEditPoints="1"/>
            </p:cNvSpPr>
            <p:nvPr/>
          </p:nvSpPr>
          <p:spPr bwMode="black">
            <a:xfrm>
              <a:off x="2301818" y="-960491"/>
              <a:ext cx="455294" cy="684863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3943" tIns="41972" rIns="83943" bIns="41972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80000"/>
                </a:lnSpc>
              </a:pPr>
              <a:endParaRPr lang="en-US" sz="1600" dirty="0">
                <a:solidFill>
                  <a:srgbClr val="292929">
                    <a:lumMod val="90000"/>
                    <a:lumOff val="10000"/>
                  </a:srgbClr>
                </a:soli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2133465" y="-101406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4758597" y="2693331"/>
            <a:ext cx="792000" cy="792000"/>
            <a:chOff x="3193895" y="-1643957"/>
            <a:chExt cx="792000" cy="792000"/>
          </a:xfrm>
        </p:grpSpPr>
        <p:sp>
          <p:nvSpPr>
            <p:cNvPr id="131" name="Freeform 164"/>
            <p:cNvSpPr>
              <a:spLocks noEditPoints="1"/>
            </p:cNvSpPr>
            <p:nvPr/>
          </p:nvSpPr>
          <p:spPr bwMode="gray">
            <a:xfrm>
              <a:off x="3332747" y="-1589916"/>
              <a:ext cx="514296" cy="683919"/>
            </a:xfrm>
            <a:custGeom>
              <a:avLst/>
              <a:gdLst>
                <a:gd name="T0" fmla="*/ 221 w 288"/>
                <a:gd name="T1" fmla="*/ 373 h 399"/>
                <a:gd name="T2" fmla="*/ 194 w 288"/>
                <a:gd name="T3" fmla="*/ 350 h 399"/>
                <a:gd name="T4" fmla="*/ 137 w 288"/>
                <a:gd name="T5" fmla="*/ 150 h 399"/>
                <a:gd name="T6" fmla="*/ 165 w 288"/>
                <a:gd name="T7" fmla="*/ 398 h 399"/>
                <a:gd name="T8" fmla="*/ 94 w 288"/>
                <a:gd name="T9" fmla="*/ 325 h 399"/>
                <a:gd name="T10" fmla="*/ 192 w 288"/>
                <a:gd name="T11" fmla="*/ 269 h 399"/>
                <a:gd name="T12" fmla="*/ 223 w 288"/>
                <a:gd name="T13" fmla="*/ 371 h 399"/>
                <a:gd name="T14" fmla="*/ 135 w 288"/>
                <a:gd name="T15" fmla="*/ 170 h 399"/>
                <a:gd name="T16" fmla="*/ 179 w 288"/>
                <a:gd name="T17" fmla="*/ 395 h 399"/>
                <a:gd name="T18" fmla="*/ 135 w 288"/>
                <a:gd name="T19" fmla="*/ 324 h 399"/>
                <a:gd name="T20" fmla="*/ 154 w 288"/>
                <a:gd name="T21" fmla="*/ 308 h 399"/>
                <a:gd name="T22" fmla="*/ 208 w 288"/>
                <a:gd name="T23" fmla="*/ 382 h 399"/>
                <a:gd name="T24" fmla="*/ 85 w 288"/>
                <a:gd name="T25" fmla="*/ 380 h 399"/>
                <a:gd name="T26" fmla="*/ 143 w 288"/>
                <a:gd name="T27" fmla="*/ 82 h 399"/>
                <a:gd name="T28" fmla="*/ 228 w 288"/>
                <a:gd name="T29" fmla="*/ 288 h 399"/>
                <a:gd name="T30" fmla="*/ 253 w 288"/>
                <a:gd name="T31" fmla="*/ 340 h 399"/>
                <a:gd name="T32" fmla="*/ 247 w 288"/>
                <a:gd name="T33" fmla="*/ 233 h 399"/>
                <a:gd name="T34" fmla="*/ 20 w 288"/>
                <a:gd name="T35" fmla="*/ 263 h 399"/>
                <a:gd name="T36" fmla="*/ 85 w 288"/>
                <a:gd name="T37" fmla="*/ 380 h 399"/>
                <a:gd name="T38" fmla="*/ 219 w 288"/>
                <a:gd name="T39" fmla="*/ 242 h 399"/>
                <a:gd name="T40" fmla="*/ 56 w 288"/>
                <a:gd name="T41" fmla="*/ 305 h 399"/>
                <a:gd name="T42" fmla="*/ 129 w 288"/>
                <a:gd name="T43" fmla="*/ 397 h 399"/>
                <a:gd name="T44" fmla="*/ 137 w 288"/>
                <a:gd name="T45" fmla="*/ 115 h 399"/>
                <a:gd name="T46" fmla="*/ 210 w 288"/>
                <a:gd name="T47" fmla="*/ 334 h 399"/>
                <a:gd name="T48" fmla="*/ 239 w 288"/>
                <a:gd name="T49" fmla="*/ 357 h 399"/>
                <a:gd name="T50" fmla="*/ 0 w 288"/>
                <a:gd name="T51" fmla="*/ 202 h 399"/>
                <a:gd name="T52" fmla="*/ 144 w 288"/>
                <a:gd name="T53" fmla="*/ 51 h 399"/>
                <a:gd name="T54" fmla="*/ 252 w 288"/>
                <a:gd name="T55" fmla="*/ 298 h 399"/>
                <a:gd name="T56" fmla="*/ 266 w 288"/>
                <a:gd name="T57" fmla="*/ 320 h 399"/>
                <a:gd name="T58" fmla="*/ 277 w 288"/>
                <a:gd name="T59" fmla="*/ 221 h 399"/>
                <a:gd name="T60" fmla="*/ 3 w 288"/>
                <a:gd name="T61" fmla="*/ 162 h 399"/>
                <a:gd name="T62" fmla="*/ 0 w 288"/>
                <a:gd name="T63" fmla="*/ 202 h 399"/>
                <a:gd name="T64" fmla="*/ 145 w 288"/>
                <a:gd name="T65" fmla="*/ 0 h 399"/>
                <a:gd name="T66" fmla="*/ 144 w 288"/>
                <a:gd name="T67" fmla="*/ 18 h 399"/>
                <a:gd name="T68" fmla="*/ 142 w 288"/>
                <a:gd name="T69" fmla="*/ 308 h 399"/>
                <a:gd name="T70" fmla="*/ 137 w 288"/>
                <a:gd name="T71" fmla="*/ 201 h 399"/>
                <a:gd name="T72" fmla="*/ 130 w 288"/>
                <a:gd name="T73" fmla="*/ 208 h 399"/>
                <a:gd name="T74" fmla="*/ 142 w 288"/>
                <a:gd name="T75" fmla="*/ 30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8" h="399">
                  <a:moveTo>
                    <a:pt x="223" y="371"/>
                  </a:moveTo>
                  <a:cubicBezTo>
                    <a:pt x="221" y="373"/>
                    <a:pt x="221" y="373"/>
                    <a:pt x="221" y="373"/>
                  </a:cubicBezTo>
                  <a:cubicBezTo>
                    <a:pt x="220" y="374"/>
                    <a:pt x="218" y="375"/>
                    <a:pt x="217" y="376"/>
                  </a:cubicBezTo>
                  <a:cubicBezTo>
                    <a:pt x="215" y="374"/>
                    <a:pt x="205" y="366"/>
                    <a:pt x="194" y="350"/>
                  </a:cubicBezTo>
                  <a:cubicBezTo>
                    <a:pt x="181" y="332"/>
                    <a:pt x="177" y="299"/>
                    <a:pt x="180" y="268"/>
                  </a:cubicBezTo>
                  <a:cubicBezTo>
                    <a:pt x="186" y="212"/>
                    <a:pt x="180" y="148"/>
                    <a:pt x="137" y="150"/>
                  </a:cubicBezTo>
                  <a:cubicBezTo>
                    <a:pt x="90" y="152"/>
                    <a:pt x="69" y="245"/>
                    <a:pt x="106" y="319"/>
                  </a:cubicBezTo>
                  <a:cubicBezTo>
                    <a:pt x="125" y="357"/>
                    <a:pt x="150" y="384"/>
                    <a:pt x="165" y="398"/>
                  </a:cubicBezTo>
                  <a:cubicBezTo>
                    <a:pt x="161" y="398"/>
                    <a:pt x="157" y="399"/>
                    <a:pt x="153" y="399"/>
                  </a:cubicBezTo>
                  <a:cubicBezTo>
                    <a:pt x="137" y="384"/>
                    <a:pt x="115" y="364"/>
                    <a:pt x="94" y="325"/>
                  </a:cubicBezTo>
                  <a:cubicBezTo>
                    <a:pt x="46" y="236"/>
                    <a:pt x="82" y="134"/>
                    <a:pt x="137" y="134"/>
                  </a:cubicBezTo>
                  <a:cubicBezTo>
                    <a:pt x="195" y="134"/>
                    <a:pt x="201" y="201"/>
                    <a:pt x="192" y="269"/>
                  </a:cubicBezTo>
                  <a:cubicBezTo>
                    <a:pt x="188" y="301"/>
                    <a:pt x="191" y="329"/>
                    <a:pt x="202" y="346"/>
                  </a:cubicBezTo>
                  <a:cubicBezTo>
                    <a:pt x="213" y="363"/>
                    <a:pt x="224" y="370"/>
                    <a:pt x="223" y="371"/>
                  </a:cubicBezTo>
                  <a:close/>
                  <a:moveTo>
                    <a:pt x="166" y="306"/>
                  </a:moveTo>
                  <a:cubicBezTo>
                    <a:pt x="163" y="275"/>
                    <a:pt x="185" y="172"/>
                    <a:pt x="135" y="170"/>
                  </a:cubicBezTo>
                  <a:cubicBezTo>
                    <a:pt x="104" y="169"/>
                    <a:pt x="77" y="248"/>
                    <a:pt x="125" y="329"/>
                  </a:cubicBezTo>
                  <a:cubicBezTo>
                    <a:pt x="143" y="361"/>
                    <a:pt x="166" y="383"/>
                    <a:pt x="179" y="395"/>
                  </a:cubicBezTo>
                  <a:cubicBezTo>
                    <a:pt x="182" y="394"/>
                    <a:pt x="185" y="393"/>
                    <a:pt x="188" y="392"/>
                  </a:cubicBezTo>
                  <a:cubicBezTo>
                    <a:pt x="177" y="381"/>
                    <a:pt x="153" y="358"/>
                    <a:pt x="135" y="324"/>
                  </a:cubicBezTo>
                  <a:cubicBezTo>
                    <a:pt x="101" y="266"/>
                    <a:pt x="110" y="186"/>
                    <a:pt x="135" y="186"/>
                  </a:cubicBezTo>
                  <a:cubicBezTo>
                    <a:pt x="168" y="186"/>
                    <a:pt x="149" y="268"/>
                    <a:pt x="154" y="308"/>
                  </a:cubicBezTo>
                  <a:cubicBezTo>
                    <a:pt x="160" y="352"/>
                    <a:pt x="187" y="377"/>
                    <a:pt x="200" y="386"/>
                  </a:cubicBezTo>
                  <a:cubicBezTo>
                    <a:pt x="203" y="385"/>
                    <a:pt x="205" y="384"/>
                    <a:pt x="208" y="382"/>
                  </a:cubicBezTo>
                  <a:cubicBezTo>
                    <a:pt x="199" y="375"/>
                    <a:pt x="170" y="350"/>
                    <a:pt x="166" y="306"/>
                  </a:cubicBezTo>
                  <a:close/>
                  <a:moveTo>
                    <a:pt x="85" y="380"/>
                  </a:moveTo>
                  <a:cubicBezTo>
                    <a:pt x="65" y="357"/>
                    <a:pt x="36" y="313"/>
                    <a:pt x="31" y="261"/>
                  </a:cubicBezTo>
                  <a:cubicBezTo>
                    <a:pt x="25" y="164"/>
                    <a:pt x="66" y="82"/>
                    <a:pt x="143" y="82"/>
                  </a:cubicBezTo>
                  <a:cubicBezTo>
                    <a:pt x="213" y="82"/>
                    <a:pt x="241" y="157"/>
                    <a:pt x="235" y="231"/>
                  </a:cubicBezTo>
                  <a:cubicBezTo>
                    <a:pt x="234" y="251"/>
                    <a:pt x="228" y="269"/>
                    <a:pt x="228" y="288"/>
                  </a:cubicBezTo>
                  <a:cubicBezTo>
                    <a:pt x="227" y="320"/>
                    <a:pt x="236" y="334"/>
                    <a:pt x="248" y="347"/>
                  </a:cubicBezTo>
                  <a:cubicBezTo>
                    <a:pt x="250" y="345"/>
                    <a:pt x="251" y="343"/>
                    <a:pt x="253" y="340"/>
                  </a:cubicBezTo>
                  <a:cubicBezTo>
                    <a:pt x="246" y="330"/>
                    <a:pt x="237" y="313"/>
                    <a:pt x="238" y="289"/>
                  </a:cubicBezTo>
                  <a:cubicBezTo>
                    <a:pt x="239" y="273"/>
                    <a:pt x="243" y="254"/>
                    <a:pt x="247" y="233"/>
                  </a:cubicBezTo>
                  <a:cubicBezTo>
                    <a:pt x="257" y="169"/>
                    <a:pt x="233" y="66"/>
                    <a:pt x="143" y="65"/>
                  </a:cubicBezTo>
                  <a:cubicBezTo>
                    <a:pt x="77" y="64"/>
                    <a:pt x="7" y="129"/>
                    <a:pt x="20" y="263"/>
                  </a:cubicBezTo>
                  <a:cubicBezTo>
                    <a:pt x="24" y="299"/>
                    <a:pt x="39" y="330"/>
                    <a:pt x="54" y="354"/>
                  </a:cubicBezTo>
                  <a:cubicBezTo>
                    <a:pt x="64" y="365"/>
                    <a:pt x="74" y="373"/>
                    <a:pt x="85" y="380"/>
                  </a:cubicBezTo>
                  <a:close/>
                  <a:moveTo>
                    <a:pt x="219" y="331"/>
                  </a:moveTo>
                  <a:cubicBezTo>
                    <a:pt x="211" y="309"/>
                    <a:pt x="212" y="277"/>
                    <a:pt x="219" y="242"/>
                  </a:cubicBezTo>
                  <a:cubicBezTo>
                    <a:pt x="228" y="183"/>
                    <a:pt x="216" y="99"/>
                    <a:pt x="137" y="99"/>
                  </a:cubicBezTo>
                  <a:cubicBezTo>
                    <a:pt x="73" y="99"/>
                    <a:pt x="16" y="198"/>
                    <a:pt x="56" y="305"/>
                  </a:cubicBezTo>
                  <a:cubicBezTo>
                    <a:pt x="72" y="346"/>
                    <a:pt x="96" y="376"/>
                    <a:pt x="113" y="393"/>
                  </a:cubicBezTo>
                  <a:cubicBezTo>
                    <a:pt x="118" y="395"/>
                    <a:pt x="123" y="396"/>
                    <a:pt x="129" y="397"/>
                  </a:cubicBezTo>
                  <a:cubicBezTo>
                    <a:pt x="113" y="382"/>
                    <a:pt x="84" y="348"/>
                    <a:pt x="67" y="300"/>
                  </a:cubicBezTo>
                  <a:cubicBezTo>
                    <a:pt x="37" y="213"/>
                    <a:pt x="79" y="116"/>
                    <a:pt x="137" y="115"/>
                  </a:cubicBezTo>
                  <a:cubicBezTo>
                    <a:pt x="189" y="114"/>
                    <a:pt x="216" y="168"/>
                    <a:pt x="208" y="239"/>
                  </a:cubicBezTo>
                  <a:cubicBezTo>
                    <a:pt x="201" y="274"/>
                    <a:pt x="200" y="310"/>
                    <a:pt x="210" y="334"/>
                  </a:cubicBezTo>
                  <a:cubicBezTo>
                    <a:pt x="217" y="351"/>
                    <a:pt x="228" y="359"/>
                    <a:pt x="233" y="363"/>
                  </a:cubicBezTo>
                  <a:cubicBezTo>
                    <a:pt x="235" y="361"/>
                    <a:pt x="237" y="359"/>
                    <a:pt x="239" y="357"/>
                  </a:cubicBezTo>
                  <a:cubicBezTo>
                    <a:pt x="235" y="354"/>
                    <a:pt x="225" y="347"/>
                    <a:pt x="219" y="331"/>
                  </a:cubicBezTo>
                  <a:close/>
                  <a:moveTo>
                    <a:pt x="0" y="202"/>
                  </a:moveTo>
                  <a:cubicBezTo>
                    <a:pt x="0" y="217"/>
                    <a:pt x="1" y="231"/>
                    <a:pt x="4" y="245"/>
                  </a:cubicBezTo>
                  <a:cubicBezTo>
                    <a:pt x="6" y="146"/>
                    <a:pt x="40" y="49"/>
                    <a:pt x="144" y="51"/>
                  </a:cubicBezTo>
                  <a:cubicBezTo>
                    <a:pt x="230" y="51"/>
                    <a:pt x="271" y="143"/>
                    <a:pt x="262" y="219"/>
                  </a:cubicBezTo>
                  <a:cubicBezTo>
                    <a:pt x="259" y="248"/>
                    <a:pt x="252" y="276"/>
                    <a:pt x="252" y="298"/>
                  </a:cubicBezTo>
                  <a:cubicBezTo>
                    <a:pt x="252" y="315"/>
                    <a:pt x="258" y="326"/>
                    <a:pt x="260" y="330"/>
                  </a:cubicBezTo>
                  <a:cubicBezTo>
                    <a:pt x="262" y="327"/>
                    <a:pt x="264" y="323"/>
                    <a:pt x="266" y="320"/>
                  </a:cubicBezTo>
                  <a:cubicBezTo>
                    <a:pt x="263" y="314"/>
                    <a:pt x="261" y="308"/>
                    <a:pt x="262" y="298"/>
                  </a:cubicBezTo>
                  <a:cubicBezTo>
                    <a:pt x="262" y="279"/>
                    <a:pt x="272" y="252"/>
                    <a:pt x="277" y="221"/>
                  </a:cubicBezTo>
                  <a:cubicBezTo>
                    <a:pt x="288" y="144"/>
                    <a:pt x="247" y="31"/>
                    <a:pt x="144" y="31"/>
                  </a:cubicBezTo>
                  <a:cubicBezTo>
                    <a:pt x="62" y="32"/>
                    <a:pt x="18" y="92"/>
                    <a:pt x="3" y="162"/>
                  </a:cubicBezTo>
                  <a:cubicBezTo>
                    <a:pt x="1" y="175"/>
                    <a:pt x="0" y="188"/>
                    <a:pt x="0" y="201"/>
                  </a:cubicBezTo>
                  <a:cubicBezTo>
                    <a:pt x="0" y="201"/>
                    <a:pt x="0" y="202"/>
                    <a:pt x="0" y="202"/>
                  </a:cubicBezTo>
                  <a:close/>
                  <a:moveTo>
                    <a:pt x="262" y="75"/>
                  </a:moveTo>
                  <a:cubicBezTo>
                    <a:pt x="244" y="44"/>
                    <a:pt x="206" y="0"/>
                    <a:pt x="145" y="0"/>
                  </a:cubicBezTo>
                  <a:cubicBezTo>
                    <a:pt x="108" y="0"/>
                    <a:pt x="80" y="18"/>
                    <a:pt x="58" y="40"/>
                  </a:cubicBezTo>
                  <a:cubicBezTo>
                    <a:pt x="60" y="39"/>
                    <a:pt x="91" y="18"/>
                    <a:pt x="144" y="18"/>
                  </a:cubicBezTo>
                  <a:cubicBezTo>
                    <a:pt x="220" y="18"/>
                    <a:pt x="262" y="75"/>
                    <a:pt x="262" y="75"/>
                  </a:cubicBezTo>
                  <a:close/>
                  <a:moveTo>
                    <a:pt x="142" y="308"/>
                  </a:moveTo>
                  <a:cubicBezTo>
                    <a:pt x="140" y="294"/>
                    <a:pt x="141" y="277"/>
                    <a:pt x="142" y="260"/>
                  </a:cubicBezTo>
                  <a:cubicBezTo>
                    <a:pt x="143" y="238"/>
                    <a:pt x="144" y="209"/>
                    <a:pt x="137" y="201"/>
                  </a:cubicBezTo>
                  <a:cubicBezTo>
                    <a:pt x="137" y="201"/>
                    <a:pt x="137" y="201"/>
                    <a:pt x="135" y="201"/>
                  </a:cubicBezTo>
                  <a:cubicBezTo>
                    <a:pt x="135" y="201"/>
                    <a:pt x="132" y="202"/>
                    <a:pt x="130" y="208"/>
                  </a:cubicBezTo>
                  <a:cubicBezTo>
                    <a:pt x="122" y="227"/>
                    <a:pt x="122" y="271"/>
                    <a:pt x="141" y="308"/>
                  </a:cubicBezTo>
                  <a:cubicBezTo>
                    <a:pt x="141" y="309"/>
                    <a:pt x="142" y="309"/>
                    <a:pt x="142" y="308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3943" tIns="41972" rIns="83943" bIns="41972" numCol="1" anchor="t" anchorCtr="0" compatLnSpc="1">
              <a:prstTxWarp prst="textNoShape">
                <a:avLst/>
              </a:prstTxWarp>
            </a:bodyPr>
            <a:lstStyle/>
            <a:p>
              <a:pPr defTabSz="932574"/>
              <a:endParaRPr lang="en-US" sz="1600">
                <a:solidFill>
                  <a:srgbClr val="505050"/>
                </a:solidFill>
                <a:latin typeface="Calibri" panose="020F0502020204030204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3193895" y="-164395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5597325" y="2690419"/>
            <a:ext cx="792000" cy="792000"/>
            <a:chOff x="3194192" y="-1701760"/>
            <a:chExt cx="792000" cy="792000"/>
          </a:xfrm>
        </p:grpSpPr>
        <p:sp>
          <p:nvSpPr>
            <p:cNvPr id="134" name="Freeform 68"/>
            <p:cNvSpPr>
              <a:spLocks noChangeAspect="1" noEditPoints="1"/>
            </p:cNvSpPr>
            <p:nvPr/>
          </p:nvSpPr>
          <p:spPr bwMode="auto">
            <a:xfrm>
              <a:off x="3261714" y="-1632583"/>
              <a:ext cx="656956" cy="653646"/>
            </a:xfrm>
            <a:custGeom>
              <a:avLst/>
              <a:gdLst>
                <a:gd name="T0" fmla="*/ 575212 w 922"/>
                <a:gd name="T1" fmla="*/ 314273 h 918"/>
                <a:gd name="T2" fmla="*/ 625825 w 922"/>
                <a:gd name="T3" fmla="*/ 260983 h 918"/>
                <a:gd name="T4" fmla="*/ 549222 w 922"/>
                <a:gd name="T5" fmla="*/ 199495 h 918"/>
                <a:gd name="T6" fmla="*/ 530755 w 922"/>
                <a:gd name="T7" fmla="*/ 168068 h 918"/>
                <a:gd name="T8" fmla="*/ 515707 w 922"/>
                <a:gd name="T9" fmla="*/ 70370 h 918"/>
                <a:gd name="T10" fmla="*/ 468514 w 922"/>
                <a:gd name="T11" fmla="*/ 38259 h 918"/>
                <a:gd name="T12" fmla="*/ 372075 w 922"/>
                <a:gd name="T13" fmla="*/ 60122 h 918"/>
                <a:gd name="T14" fmla="*/ 335825 w 922"/>
                <a:gd name="T15" fmla="*/ 54656 h 918"/>
                <a:gd name="T16" fmla="*/ 286580 w 922"/>
                <a:gd name="T17" fmla="*/ 0 h 918"/>
                <a:gd name="T18" fmla="*/ 219552 w 922"/>
                <a:gd name="T19" fmla="*/ 72419 h 918"/>
                <a:gd name="T20" fmla="*/ 186038 w 922"/>
                <a:gd name="T21" fmla="*/ 88133 h 918"/>
                <a:gd name="T22" fmla="*/ 87547 w 922"/>
                <a:gd name="T23" fmla="*/ 95648 h 918"/>
                <a:gd name="T24" fmla="*/ 51981 w 922"/>
                <a:gd name="T25" fmla="*/ 140056 h 918"/>
                <a:gd name="T26" fmla="*/ 67028 w 922"/>
                <a:gd name="T27" fmla="*/ 237754 h 918"/>
                <a:gd name="T28" fmla="*/ 58137 w 922"/>
                <a:gd name="T29" fmla="*/ 273281 h 918"/>
                <a:gd name="T30" fmla="*/ 0 w 922"/>
                <a:gd name="T31" fmla="*/ 318372 h 918"/>
                <a:gd name="T32" fmla="*/ 67028 w 922"/>
                <a:gd name="T33" fmla="*/ 390791 h 918"/>
                <a:gd name="T34" fmla="*/ 80708 w 922"/>
                <a:gd name="T35" fmla="*/ 424951 h 918"/>
                <a:gd name="T36" fmla="*/ 80708 w 922"/>
                <a:gd name="T37" fmla="*/ 523332 h 918"/>
                <a:gd name="T38" fmla="*/ 123113 w 922"/>
                <a:gd name="T39" fmla="*/ 562275 h 918"/>
                <a:gd name="T40" fmla="*/ 220920 w 922"/>
                <a:gd name="T41" fmla="*/ 555443 h 918"/>
                <a:gd name="T42" fmla="*/ 256486 w 922"/>
                <a:gd name="T43" fmla="*/ 566374 h 918"/>
                <a:gd name="T44" fmla="*/ 333773 w 922"/>
                <a:gd name="T45" fmla="*/ 627179 h 918"/>
                <a:gd name="T46" fmla="*/ 390542 w 922"/>
                <a:gd name="T47" fmla="*/ 618981 h 918"/>
                <a:gd name="T48" fmla="*/ 446627 w 922"/>
                <a:gd name="T49" fmla="*/ 537680 h 918"/>
                <a:gd name="T50" fmla="*/ 476722 w 922"/>
                <a:gd name="T51" fmla="*/ 517184 h 918"/>
                <a:gd name="T52" fmla="*/ 572476 w 922"/>
                <a:gd name="T53" fmla="*/ 494638 h 918"/>
                <a:gd name="T54" fmla="*/ 601203 w 922"/>
                <a:gd name="T55" fmla="*/ 445447 h 918"/>
                <a:gd name="T56" fmla="*/ 572476 w 922"/>
                <a:gd name="T57" fmla="*/ 351166 h 918"/>
                <a:gd name="T58" fmla="*/ 96439 w 922"/>
                <a:gd name="T59" fmla="*/ 313590 h 918"/>
                <a:gd name="T60" fmla="*/ 315307 w 922"/>
                <a:gd name="T61" fmla="*/ 532214 h 918"/>
                <a:gd name="T62" fmla="*/ 409693 w 922"/>
                <a:gd name="T63" fmla="*/ 173533 h 918"/>
                <a:gd name="T64" fmla="*/ 473302 w 922"/>
                <a:gd name="T65" fmla="*/ 293777 h 918"/>
                <a:gd name="T66" fmla="*/ 406957 w 922"/>
                <a:gd name="T67" fmla="*/ 305391 h 918"/>
                <a:gd name="T68" fmla="*/ 331038 w 922"/>
                <a:gd name="T69" fmla="*/ 316322 h 918"/>
                <a:gd name="T70" fmla="*/ 361132 w 922"/>
                <a:gd name="T71" fmla="*/ 477558 h 918"/>
                <a:gd name="T72" fmla="*/ 273585 w 922"/>
                <a:gd name="T73" fmla="*/ 424268 h 918"/>
                <a:gd name="T74" fmla="*/ 152524 w 922"/>
                <a:gd name="T75" fmla="*/ 413337 h 918"/>
                <a:gd name="T76" fmla="*/ 268797 w 922"/>
                <a:gd name="T77" fmla="*/ 306074 h 918"/>
                <a:gd name="T78" fmla="*/ 315307 w 922"/>
                <a:gd name="T79" fmla="*/ 232972 h 918"/>
                <a:gd name="T80" fmla="*/ 207924 w 922"/>
                <a:gd name="T81" fmla="*/ 278746 h 918"/>
                <a:gd name="T82" fmla="*/ 244858 w 922"/>
                <a:gd name="T83" fmla="*/ 209060 h 918"/>
                <a:gd name="T84" fmla="*/ 357028 w 922"/>
                <a:gd name="T85" fmla="*/ 205644 h 918"/>
                <a:gd name="T86" fmla="*/ 376863 w 922"/>
                <a:gd name="T87" fmla="*/ 223407 h 918"/>
                <a:gd name="T88" fmla="*/ 473302 w 922"/>
                <a:gd name="T89" fmla="*/ 293777 h 9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22"/>
                <a:gd name="T136" fmla="*/ 0 h 918"/>
                <a:gd name="T137" fmla="*/ 922 w 922"/>
                <a:gd name="T138" fmla="*/ 918 h 9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22" h="918">
                  <a:moveTo>
                    <a:pt x="918" y="520"/>
                  </a:moveTo>
                  <a:cubicBezTo>
                    <a:pt x="922" y="466"/>
                    <a:pt x="922" y="466"/>
                    <a:pt x="922" y="466"/>
                  </a:cubicBezTo>
                  <a:cubicBezTo>
                    <a:pt x="841" y="460"/>
                    <a:pt x="841" y="460"/>
                    <a:pt x="841" y="460"/>
                  </a:cubicBezTo>
                  <a:cubicBezTo>
                    <a:pt x="841" y="460"/>
                    <a:pt x="841" y="459"/>
                    <a:pt x="841" y="459"/>
                  </a:cubicBezTo>
                  <a:cubicBezTo>
                    <a:pt x="841" y="439"/>
                    <a:pt x="839" y="420"/>
                    <a:pt x="837" y="400"/>
                  </a:cubicBezTo>
                  <a:cubicBezTo>
                    <a:pt x="915" y="382"/>
                    <a:pt x="915" y="382"/>
                    <a:pt x="915" y="382"/>
                  </a:cubicBezTo>
                  <a:cubicBezTo>
                    <a:pt x="903" y="330"/>
                    <a:pt x="903" y="330"/>
                    <a:pt x="903" y="330"/>
                  </a:cubicBezTo>
                  <a:cubicBezTo>
                    <a:pt x="824" y="348"/>
                    <a:pt x="824" y="348"/>
                    <a:pt x="824" y="348"/>
                  </a:cubicBezTo>
                  <a:cubicBezTo>
                    <a:pt x="819" y="329"/>
                    <a:pt x="811" y="310"/>
                    <a:pt x="803" y="292"/>
                  </a:cubicBezTo>
                  <a:cubicBezTo>
                    <a:pt x="873" y="252"/>
                    <a:pt x="873" y="252"/>
                    <a:pt x="873" y="252"/>
                  </a:cubicBezTo>
                  <a:cubicBezTo>
                    <a:pt x="846" y="205"/>
                    <a:pt x="846" y="205"/>
                    <a:pt x="846" y="205"/>
                  </a:cubicBezTo>
                  <a:cubicBezTo>
                    <a:pt x="776" y="246"/>
                    <a:pt x="776" y="246"/>
                    <a:pt x="776" y="246"/>
                  </a:cubicBezTo>
                  <a:cubicBezTo>
                    <a:pt x="764" y="229"/>
                    <a:pt x="752" y="214"/>
                    <a:pt x="738" y="199"/>
                  </a:cubicBezTo>
                  <a:cubicBezTo>
                    <a:pt x="794" y="140"/>
                    <a:pt x="794" y="140"/>
                    <a:pt x="794" y="140"/>
                  </a:cubicBezTo>
                  <a:cubicBezTo>
                    <a:pt x="754" y="103"/>
                    <a:pt x="754" y="103"/>
                    <a:pt x="754" y="103"/>
                  </a:cubicBezTo>
                  <a:cubicBezTo>
                    <a:pt x="699" y="163"/>
                    <a:pt x="699" y="163"/>
                    <a:pt x="699" y="163"/>
                  </a:cubicBezTo>
                  <a:cubicBezTo>
                    <a:pt x="683" y="150"/>
                    <a:pt x="667" y="139"/>
                    <a:pt x="650" y="129"/>
                  </a:cubicBezTo>
                  <a:cubicBezTo>
                    <a:pt x="685" y="56"/>
                    <a:pt x="685" y="56"/>
                    <a:pt x="685" y="56"/>
                  </a:cubicBezTo>
                  <a:cubicBezTo>
                    <a:pt x="636" y="32"/>
                    <a:pt x="636" y="32"/>
                    <a:pt x="636" y="32"/>
                  </a:cubicBezTo>
                  <a:cubicBezTo>
                    <a:pt x="601" y="106"/>
                    <a:pt x="601" y="106"/>
                    <a:pt x="601" y="106"/>
                  </a:cubicBezTo>
                  <a:cubicBezTo>
                    <a:pt x="583" y="98"/>
                    <a:pt x="564" y="93"/>
                    <a:pt x="544" y="88"/>
                  </a:cubicBezTo>
                  <a:cubicBezTo>
                    <a:pt x="556" y="8"/>
                    <a:pt x="556" y="8"/>
                    <a:pt x="556" y="8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491" y="80"/>
                    <a:pt x="491" y="80"/>
                    <a:pt x="491" y="80"/>
                  </a:cubicBezTo>
                  <a:cubicBezTo>
                    <a:pt x="481" y="79"/>
                    <a:pt x="471" y="79"/>
                    <a:pt x="461" y="79"/>
                  </a:cubicBezTo>
                  <a:cubicBezTo>
                    <a:pt x="451" y="79"/>
                    <a:pt x="441" y="79"/>
                    <a:pt x="431" y="8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366" y="8"/>
                    <a:pt x="366" y="8"/>
                    <a:pt x="366" y="8"/>
                  </a:cubicBezTo>
                  <a:cubicBezTo>
                    <a:pt x="378" y="88"/>
                    <a:pt x="378" y="88"/>
                    <a:pt x="378" y="88"/>
                  </a:cubicBezTo>
                  <a:cubicBezTo>
                    <a:pt x="358" y="93"/>
                    <a:pt x="339" y="98"/>
                    <a:pt x="321" y="106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37" y="56"/>
                    <a:pt x="237" y="56"/>
                    <a:pt x="237" y="56"/>
                  </a:cubicBezTo>
                  <a:cubicBezTo>
                    <a:pt x="272" y="129"/>
                    <a:pt x="272" y="129"/>
                    <a:pt x="272" y="129"/>
                  </a:cubicBezTo>
                  <a:cubicBezTo>
                    <a:pt x="255" y="139"/>
                    <a:pt x="239" y="150"/>
                    <a:pt x="223" y="16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28" y="140"/>
                    <a:pt x="128" y="140"/>
                    <a:pt x="128" y="140"/>
                  </a:cubicBezTo>
                  <a:cubicBezTo>
                    <a:pt x="184" y="199"/>
                    <a:pt x="184" y="199"/>
                    <a:pt x="184" y="199"/>
                  </a:cubicBezTo>
                  <a:cubicBezTo>
                    <a:pt x="170" y="214"/>
                    <a:pt x="158" y="229"/>
                    <a:pt x="146" y="246"/>
                  </a:cubicBezTo>
                  <a:cubicBezTo>
                    <a:pt x="76" y="205"/>
                    <a:pt x="76" y="205"/>
                    <a:pt x="76" y="205"/>
                  </a:cubicBezTo>
                  <a:cubicBezTo>
                    <a:pt x="49" y="252"/>
                    <a:pt x="49" y="252"/>
                    <a:pt x="49" y="252"/>
                  </a:cubicBezTo>
                  <a:cubicBezTo>
                    <a:pt x="119" y="292"/>
                    <a:pt x="119" y="292"/>
                    <a:pt x="119" y="292"/>
                  </a:cubicBezTo>
                  <a:cubicBezTo>
                    <a:pt x="111" y="310"/>
                    <a:pt x="103" y="329"/>
                    <a:pt x="98" y="34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7" y="382"/>
                    <a:pt x="7" y="382"/>
                    <a:pt x="7" y="382"/>
                  </a:cubicBezTo>
                  <a:cubicBezTo>
                    <a:pt x="85" y="400"/>
                    <a:pt x="85" y="400"/>
                    <a:pt x="85" y="400"/>
                  </a:cubicBezTo>
                  <a:cubicBezTo>
                    <a:pt x="83" y="420"/>
                    <a:pt x="81" y="439"/>
                    <a:pt x="81" y="459"/>
                  </a:cubicBezTo>
                  <a:cubicBezTo>
                    <a:pt x="81" y="459"/>
                    <a:pt x="81" y="460"/>
                    <a:pt x="81" y="460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4" y="520"/>
                    <a:pt x="4" y="520"/>
                    <a:pt x="4" y="520"/>
                  </a:cubicBezTo>
                  <a:cubicBezTo>
                    <a:pt x="85" y="514"/>
                    <a:pt x="85" y="514"/>
                    <a:pt x="85" y="514"/>
                  </a:cubicBezTo>
                  <a:cubicBezTo>
                    <a:pt x="88" y="534"/>
                    <a:pt x="92" y="553"/>
                    <a:pt x="98" y="572"/>
                  </a:cubicBezTo>
                  <a:cubicBezTo>
                    <a:pt x="23" y="601"/>
                    <a:pt x="23" y="601"/>
                    <a:pt x="23" y="601"/>
                  </a:cubicBezTo>
                  <a:cubicBezTo>
                    <a:pt x="43" y="652"/>
                    <a:pt x="43" y="652"/>
                    <a:pt x="43" y="652"/>
                  </a:cubicBezTo>
                  <a:cubicBezTo>
                    <a:pt x="118" y="622"/>
                    <a:pt x="118" y="622"/>
                    <a:pt x="118" y="622"/>
                  </a:cubicBezTo>
                  <a:cubicBezTo>
                    <a:pt x="126" y="640"/>
                    <a:pt x="136" y="658"/>
                    <a:pt x="148" y="674"/>
                  </a:cubicBezTo>
                  <a:cubicBezTo>
                    <a:pt x="85" y="724"/>
                    <a:pt x="85" y="724"/>
                    <a:pt x="85" y="724"/>
                  </a:cubicBezTo>
                  <a:cubicBezTo>
                    <a:pt x="118" y="766"/>
                    <a:pt x="118" y="766"/>
                    <a:pt x="118" y="766"/>
                  </a:cubicBezTo>
                  <a:cubicBezTo>
                    <a:pt x="181" y="716"/>
                    <a:pt x="181" y="716"/>
                    <a:pt x="181" y="716"/>
                  </a:cubicBezTo>
                  <a:cubicBezTo>
                    <a:pt x="195" y="731"/>
                    <a:pt x="209" y="744"/>
                    <a:pt x="225" y="757"/>
                  </a:cubicBezTo>
                  <a:cubicBezTo>
                    <a:pt x="180" y="823"/>
                    <a:pt x="180" y="823"/>
                    <a:pt x="180" y="823"/>
                  </a:cubicBezTo>
                  <a:cubicBezTo>
                    <a:pt x="224" y="854"/>
                    <a:pt x="224" y="854"/>
                    <a:pt x="224" y="854"/>
                  </a:cubicBezTo>
                  <a:cubicBezTo>
                    <a:pt x="270" y="787"/>
                    <a:pt x="270" y="787"/>
                    <a:pt x="270" y="787"/>
                  </a:cubicBezTo>
                  <a:cubicBezTo>
                    <a:pt x="287" y="797"/>
                    <a:pt x="305" y="806"/>
                    <a:pt x="323" y="813"/>
                  </a:cubicBezTo>
                  <a:cubicBezTo>
                    <a:pt x="300" y="890"/>
                    <a:pt x="300" y="890"/>
                    <a:pt x="300" y="890"/>
                  </a:cubicBezTo>
                  <a:cubicBezTo>
                    <a:pt x="351" y="906"/>
                    <a:pt x="351" y="906"/>
                    <a:pt x="351" y="906"/>
                  </a:cubicBezTo>
                  <a:cubicBezTo>
                    <a:pt x="375" y="829"/>
                    <a:pt x="375" y="829"/>
                    <a:pt x="375" y="829"/>
                  </a:cubicBezTo>
                  <a:cubicBezTo>
                    <a:pt x="394" y="834"/>
                    <a:pt x="414" y="837"/>
                    <a:pt x="434" y="838"/>
                  </a:cubicBezTo>
                  <a:cubicBezTo>
                    <a:pt x="434" y="918"/>
                    <a:pt x="434" y="918"/>
                    <a:pt x="434" y="918"/>
                  </a:cubicBezTo>
                  <a:cubicBezTo>
                    <a:pt x="488" y="918"/>
                    <a:pt x="488" y="918"/>
                    <a:pt x="488" y="918"/>
                  </a:cubicBezTo>
                  <a:cubicBezTo>
                    <a:pt x="488" y="838"/>
                    <a:pt x="488" y="838"/>
                    <a:pt x="488" y="838"/>
                  </a:cubicBezTo>
                  <a:cubicBezTo>
                    <a:pt x="508" y="837"/>
                    <a:pt x="528" y="834"/>
                    <a:pt x="547" y="829"/>
                  </a:cubicBezTo>
                  <a:cubicBezTo>
                    <a:pt x="571" y="906"/>
                    <a:pt x="571" y="906"/>
                    <a:pt x="571" y="906"/>
                  </a:cubicBezTo>
                  <a:cubicBezTo>
                    <a:pt x="622" y="890"/>
                    <a:pt x="622" y="890"/>
                    <a:pt x="622" y="890"/>
                  </a:cubicBezTo>
                  <a:cubicBezTo>
                    <a:pt x="599" y="813"/>
                    <a:pt x="599" y="813"/>
                    <a:pt x="599" y="813"/>
                  </a:cubicBezTo>
                  <a:cubicBezTo>
                    <a:pt x="617" y="806"/>
                    <a:pt x="635" y="797"/>
                    <a:pt x="653" y="787"/>
                  </a:cubicBezTo>
                  <a:cubicBezTo>
                    <a:pt x="698" y="854"/>
                    <a:pt x="698" y="854"/>
                    <a:pt x="698" y="854"/>
                  </a:cubicBezTo>
                  <a:cubicBezTo>
                    <a:pt x="742" y="823"/>
                    <a:pt x="742" y="823"/>
                    <a:pt x="742" y="823"/>
                  </a:cubicBezTo>
                  <a:cubicBezTo>
                    <a:pt x="697" y="757"/>
                    <a:pt x="697" y="757"/>
                    <a:pt x="697" y="757"/>
                  </a:cubicBezTo>
                  <a:cubicBezTo>
                    <a:pt x="713" y="744"/>
                    <a:pt x="727" y="731"/>
                    <a:pt x="741" y="716"/>
                  </a:cubicBezTo>
                  <a:cubicBezTo>
                    <a:pt x="804" y="766"/>
                    <a:pt x="804" y="766"/>
                    <a:pt x="804" y="766"/>
                  </a:cubicBezTo>
                  <a:cubicBezTo>
                    <a:pt x="837" y="724"/>
                    <a:pt x="837" y="724"/>
                    <a:pt x="837" y="724"/>
                  </a:cubicBezTo>
                  <a:cubicBezTo>
                    <a:pt x="774" y="674"/>
                    <a:pt x="774" y="674"/>
                    <a:pt x="774" y="674"/>
                  </a:cubicBezTo>
                  <a:cubicBezTo>
                    <a:pt x="786" y="658"/>
                    <a:pt x="796" y="640"/>
                    <a:pt x="804" y="622"/>
                  </a:cubicBezTo>
                  <a:cubicBezTo>
                    <a:pt x="879" y="652"/>
                    <a:pt x="879" y="652"/>
                    <a:pt x="879" y="652"/>
                  </a:cubicBezTo>
                  <a:cubicBezTo>
                    <a:pt x="899" y="601"/>
                    <a:pt x="899" y="601"/>
                    <a:pt x="899" y="601"/>
                  </a:cubicBezTo>
                  <a:cubicBezTo>
                    <a:pt x="824" y="572"/>
                    <a:pt x="824" y="572"/>
                    <a:pt x="824" y="572"/>
                  </a:cubicBezTo>
                  <a:cubicBezTo>
                    <a:pt x="830" y="553"/>
                    <a:pt x="834" y="534"/>
                    <a:pt x="837" y="514"/>
                  </a:cubicBezTo>
                  <a:lnTo>
                    <a:pt x="918" y="520"/>
                  </a:lnTo>
                  <a:close/>
                  <a:moveTo>
                    <a:pt x="461" y="779"/>
                  </a:moveTo>
                  <a:cubicBezTo>
                    <a:pt x="284" y="779"/>
                    <a:pt x="141" y="636"/>
                    <a:pt x="141" y="459"/>
                  </a:cubicBezTo>
                  <a:cubicBezTo>
                    <a:pt x="141" y="282"/>
                    <a:pt x="284" y="139"/>
                    <a:pt x="461" y="139"/>
                  </a:cubicBezTo>
                  <a:cubicBezTo>
                    <a:pt x="638" y="139"/>
                    <a:pt x="781" y="282"/>
                    <a:pt x="781" y="459"/>
                  </a:cubicBezTo>
                  <a:cubicBezTo>
                    <a:pt x="781" y="636"/>
                    <a:pt x="638" y="779"/>
                    <a:pt x="461" y="779"/>
                  </a:cubicBezTo>
                  <a:close/>
                  <a:moveTo>
                    <a:pt x="499" y="254"/>
                  </a:moveTo>
                  <a:cubicBezTo>
                    <a:pt x="499" y="226"/>
                    <a:pt x="521" y="204"/>
                    <a:pt x="549" y="204"/>
                  </a:cubicBezTo>
                  <a:cubicBezTo>
                    <a:pt x="576" y="204"/>
                    <a:pt x="599" y="226"/>
                    <a:pt x="599" y="254"/>
                  </a:cubicBezTo>
                  <a:cubicBezTo>
                    <a:pt x="599" y="282"/>
                    <a:pt x="576" y="304"/>
                    <a:pt x="549" y="304"/>
                  </a:cubicBezTo>
                  <a:cubicBezTo>
                    <a:pt x="521" y="304"/>
                    <a:pt x="499" y="282"/>
                    <a:pt x="499" y="254"/>
                  </a:cubicBezTo>
                  <a:close/>
                  <a:moveTo>
                    <a:pt x="692" y="430"/>
                  </a:moveTo>
                  <a:cubicBezTo>
                    <a:pt x="692" y="441"/>
                    <a:pt x="683" y="450"/>
                    <a:pt x="672" y="450"/>
                  </a:cubicBezTo>
                  <a:cubicBezTo>
                    <a:pt x="601" y="448"/>
                    <a:pt x="601" y="448"/>
                    <a:pt x="601" y="448"/>
                  </a:cubicBezTo>
                  <a:cubicBezTo>
                    <a:pt x="599" y="448"/>
                    <a:pt x="597" y="448"/>
                    <a:pt x="595" y="447"/>
                  </a:cubicBezTo>
                  <a:cubicBezTo>
                    <a:pt x="591" y="446"/>
                    <a:pt x="587" y="443"/>
                    <a:pt x="584" y="440"/>
                  </a:cubicBezTo>
                  <a:cubicBezTo>
                    <a:pt x="541" y="381"/>
                    <a:pt x="541" y="381"/>
                    <a:pt x="541" y="381"/>
                  </a:cubicBezTo>
                  <a:cubicBezTo>
                    <a:pt x="484" y="463"/>
                    <a:pt x="484" y="463"/>
                    <a:pt x="484" y="463"/>
                  </a:cubicBezTo>
                  <a:cubicBezTo>
                    <a:pt x="579" y="676"/>
                    <a:pt x="579" y="676"/>
                    <a:pt x="579" y="676"/>
                  </a:cubicBezTo>
                  <a:cubicBezTo>
                    <a:pt x="585" y="691"/>
                    <a:pt x="579" y="707"/>
                    <a:pt x="565" y="713"/>
                  </a:cubicBezTo>
                  <a:cubicBezTo>
                    <a:pt x="550" y="720"/>
                    <a:pt x="534" y="713"/>
                    <a:pt x="528" y="699"/>
                  </a:cubicBezTo>
                  <a:cubicBezTo>
                    <a:pt x="438" y="496"/>
                    <a:pt x="438" y="496"/>
                    <a:pt x="438" y="496"/>
                  </a:cubicBezTo>
                  <a:cubicBezTo>
                    <a:pt x="406" y="609"/>
                    <a:pt x="406" y="609"/>
                    <a:pt x="406" y="609"/>
                  </a:cubicBezTo>
                  <a:cubicBezTo>
                    <a:pt x="405" y="614"/>
                    <a:pt x="402" y="618"/>
                    <a:pt x="400" y="621"/>
                  </a:cubicBezTo>
                  <a:cubicBezTo>
                    <a:pt x="395" y="628"/>
                    <a:pt x="386" y="633"/>
                    <a:pt x="376" y="633"/>
                  </a:cubicBezTo>
                  <a:cubicBezTo>
                    <a:pt x="251" y="633"/>
                    <a:pt x="251" y="633"/>
                    <a:pt x="251" y="633"/>
                  </a:cubicBezTo>
                  <a:cubicBezTo>
                    <a:pt x="235" y="633"/>
                    <a:pt x="223" y="621"/>
                    <a:pt x="223" y="605"/>
                  </a:cubicBezTo>
                  <a:cubicBezTo>
                    <a:pt x="223" y="590"/>
                    <a:pt x="235" y="577"/>
                    <a:pt x="251" y="577"/>
                  </a:cubicBezTo>
                  <a:cubicBezTo>
                    <a:pt x="357" y="577"/>
                    <a:pt x="357" y="577"/>
                    <a:pt x="357" y="577"/>
                  </a:cubicBezTo>
                  <a:cubicBezTo>
                    <a:pt x="393" y="448"/>
                    <a:pt x="393" y="448"/>
                    <a:pt x="393" y="448"/>
                  </a:cubicBezTo>
                  <a:cubicBezTo>
                    <a:pt x="394" y="444"/>
                    <a:pt x="396" y="441"/>
                    <a:pt x="398" y="439"/>
                  </a:cubicBezTo>
                  <a:cubicBezTo>
                    <a:pt x="399" y="433"/>
                    <a:pt x="401" y="428"/>
                    <a:pt x="404" y="423"/>
                  </a:cubicBezTo>
                  <a:cubicBezTo>
                    <a:pt x="461" y="341"/>
                    <a:pt x="461" y="341"/>
                    <a:pt x="461" y="341"/>
                  </a:cubicBezTo>
                  <a:cubicBezTo>
                    <a:pt x="381" y="341"/>
                    <a:pt x="381" y="341"/>
                    <a:pt x="381" y="341"/>
                  </a:cubicBezTo>
                  <a:cubicBezTo>
                    <a:pt x="332" y="404"/>
                    <a:pt x="332" y="404"/>
                    <a:pt x="332" y="404"/>
                  </a:cubicBezTo>
                  <a:cubicBezTo>
                    <a:pt x="326" y="413"/>
                    <a:pt x="313" y="415"/>
                    <a:pt x="304" y="408"/>
                  </a:cubicBezTo>
                  <a:cubicBezTo>
                    <a:pt x="296" y="401"/>
                    <a:pt x="294" y="389"/>
                    <a:pt x="301" y="380"/>
                  </a:cubicBezTo>
                  <a:cubicBezTo>
                    <a:pt x="354" y="310"/>
                    <a:pt x="354" y="310"/>
                    <a:pt x="354" y="310"/>
                  </a:cubicBezTo>
                  <a:cubicBezTo>
                    <a:pt x="355" y="309"/>
                    <a:pt x="357" y="307"/>
                    <a:pt x="358" y="306"/>
                  </a:cubicBezTo>
                  <a:cubicBezTo>
                    <a:pt x="362" y="303"/>
                    <a:pt x="366" y="301"/>
                    <a:pt x="371" y="301"/>
                  </a:cubicBezTo>
                  <a:cubicBezTo>
                    <a:pt x="521" y="301"/>
                    <a:pt x="521" y="301"/>
                    <a:pt x="521" y="301"/>
                  </a:cubicBezTo>
                  <a:cubicBezTo>
                    <a:pt x="521" y="301"/>
                    <a:pt x="521" y="301"/>
                    <a:pt x="522" y="301"/>
                  </a:cubicBezTo>
                  <a:cubicBezTo>
                    <a:pt x="528" y="301"/>
                    <a:pt x="534" y="304"/>
                    <a:pt x="538" y="309"/>
                  </a:cubicBezTo>
                  <a:cubicBezTo>
                    <a:pt x="541" y="314"/>
                    <a:pt x="541" y="314"/>
                    <a:pt x="541" y="314"/>
                  </a:cubicBezTo>
                  <a:cubicBezTo>
                    <a:pt x="546" y="318"/>
                    <a:pt x="549" y="322"/>
                    <a:pt x="551" y="327"/>
                  </a:cubicBezTo>
                  <a:cubicBezTo>
                    <a:pt x="611" y="408"/>
                    <a:pt x="611" y="408"/>
                    <a:pt x="611" y="408"/>
                  </a:cubicBezTo>
                  <a:cubicBezTo>
                    <a:pt x="673" y="410"/>
                    <a:pt x="673" y="410"/>
                    <a:pt x="673" y="410"/>
                  </a:cubicBezTo>
                  <a:cubicBezTo>
                    <a:pt x="684" y="410"/>
                    <a:pt x="692" y="419"/>
                    <a:pt x="692" y="43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32349"/>
              <a:endParaRPr lang="en-US" sz="1600">
                <a:solidFill>
                  <a:srgbClr val="282828"/>
                </a:solidFill>
                <a:latin typeface="Calibri" panose="020F0502020204030204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3194192" y="-170176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7324262" y="2823301"/>
            <a:ext cx="792000" cy="792000"/>
            <a:chOff x="10027940" y="463487"/>
            <a:chExt cx="792000" cy="792000"/>
          </a:xfrm>
        </p:grpSpPr>
        <p:sp>
          <p:nvSpPr>
            <p:cNvPr id="141" name="Right Arrow 123"/>
            <p:cNvSpPr/>
            <p:nvPr>
              <p:custDataLst>
                <p:tags r:id="rId8"/>
              </p:custDataLst>
            </p:nvPr>
          </p:nvSpPr>
          <p:spPr>
            <a:xfrm flipV="1">
              <a:off x="10102417" y="537630"/>
              <a:ext cx="643046" cy="643715"/>
            </a:xfrm>
            <a:custGeom>
              <a:avLst/>
              <a:gdLst/>
              <a:ahLst/>
              <a:cxnLst/>
              <a:rect l="l" t="t" r="r" b="b"/>
              <a:pathLst>
                <a:path w="784682" h="785502">
                  <a:moveTo>
                    <a:pt x="410824" y="123489"/>
                  </a:moveTo>
                  <a:cubicBezTo>
                    <a:pt x="433089" y="126844"/>
                    <a:pt x="440822" y="117308"/>
                    <a:pt x="456241" y="109046"/>
                  </a:cubicBezTo>
                  <a:lnTo>
                    <a:pt x="390905" y="109046"/>
                  </a:lnTo>
                  <a:cubicBezTo>
                    <a:pt x="394220" y="115845"/>
                    <a:pt x="399842" y="121834"/>
                    <a:pt x="410824" y="123489"/>
                  </a:cubicBezTo>
                  <a:close/>
                  <a:moveTo>
                    <a:pt x="396569" y="389280"/>
                  </a:moveTo>
                  <a:lnTo>
                    <a:pt x="456849" y="389280"/>
                  </a:lnTo>
                  <a:cubicBezTo>
                    <a:pt x="448579" y="382523"/>
                    <a:pt x="439458" y="369872"/>
                    <a:pt x="422731" y="371139"/>
                  </a:cubicBezTo>
                  <a:cubicBezTo>
                    <a:pt x="404684" y="372506"/>
                    <a:pt x="402462" y="379337"/>
                    <a:pt x="396569" y="389280"/>
                  </a:cubicBezTo>
                  <a:close/>
                  <a:moveTo>
                    <a:pt x="126995" y="434683"/>
                  </a:moveTo>
                  <a:lnTo>
                    <a:pt x="231336" y="327093"/>
                  </a:lnTo>
                  <a:cubicBezTo>
                    <a:pt x="193032" y="322167"/>
                    <a:pt x="164073" y="289045"/>
                    <a:pt x="164073" y="249160"/>
                  </a:cubicBezTo>
                  <a:cubicBezTo>
                    <a:pt x="164073" y="204629"/>
                    <a:pt x="200173" y="168529"/>
                    <a:pt x="244705" y="168529"/>
                  </a:cubicBezTo>
                  <a:cubicBezTo>
                    <a:pt x="289236" y="168529"/>
                    <a:pt x="325337" y="204629"/>
                    <a:pt x="325337" y="249160"/>
                  </a:cubicBezTo>
                  <a:cubicBezTo>
                    <a:pt x="325337" y="287782"/>
                    <a:pt x="298182" y="320062"/>
                    <a:pt x="261584" y="326385"/>
                  </a:cubicBezTo>
                  <a:lnTo>
                    <a:pt x="362283" y="430220"/>
                  </a:lnTo>
                  <a:cubicBezTo>
                    <a:pt x="359788" y="412454"/>
                    <a:pt x="365857" y="393982"/>
                    <a:pt x="379421" y="380017"/>
                  </a:cubicBezTo>
                  <a:cubicBezTo>
                    <a:pt x="402337" y="356424"/>
                    <a:pt x="438732" y="353839"/>
                    <a:pt x="463886" y="373587"/>
                  </a:cubicBezTo>
                  <a:cubicBezTo>
                    <a:pt x="475210" y="354866"/>
                    <a:pt x="483881" y="334459"/>
                    <a:pt x="489364" y="312782"/>
                  </a:cubicBezTo>
                  <a:cubicBezTo>
                    <a:pt x="457209" y="309711"/>
                    <a:pt x="432507" y="282324"/>
                    <a:pt x="432507" y="249169"/>
                  </a:cubicBezTo>
                  <a:cubicBezTo>
                    <a:pt x="432507" y="215998"/>
                    <a:pt x="457232" y="188601"/>
                    <a:pt x="489408" y="185547"/>
                  </a:cubicBezTo>
                  <a:cubicBezTo>
                    <a:pt x="483992" y="163581"/>
                    <a:pt x="475377" y="142874"/>
                    <a:pt x="464246" y="123799"/>
                  </a:cubicBezTo>
                  <a:cubicBezTo>
                    <a:pt x="439086" y="144073"/>
                    <a:pt x="402270" y="141731"/>
                    <a:pt x="379106" y="117998"/>
                  </a:cubicBezTo>
                  <a:cubicBezTo>
                    <a:pt x="356119" y="94444"/>
                    <a:pt x="354521" y="57960"/>
                    <a:pt x="374970" y="33340"/>
                  </a:cubicBezTo>
                  <a:cubicBezTo>
                    <a:pt x="354674" y="20483"/>
                    <a:pt x="332130" y="11053"/>
                    <a:pt x="308206" y="5064"/>
                  </a:cubicBezTo>
                  <a:cubicBezTo>
                    <a:pt x="304921" y="36957"/>
                    <a:pt x="277663" y="61367"/>
                    <a:pt x="244704" y="61367"/>
                  </a:cubicBezTo>
                  <a:cubicBezTo>
                    <a:pt x="211553" y="61367"/>
                    <a:pt x="184170" y="36672"/>
                    <a:pt x="181093" y="4524"/>
                  </a:cubicBezTo>
                  <a:cubicBezTo>
                    <a:pt x="156912" y="10519"/>
                    <a:pt x="134272" y="20398"/>
                    <a:pt x="113715" y="33354"/>
                  </a:cubicBezTo>
                  <a:cubicBezTo>
                    <a:pt x="134441" y="57943"/>
                    <a:pt x="133007" y="94621"/>
                    <a:pt x="109988" y="118321"/>
                  </a:cubicBezTo>
                  <a:cubicBezTo>
                    <a:pt x="87112" y="141873"/>
                    <a:pt x="50801" y="144490"/>
                    <a:pt x="25659" y="124839"/>
                  </a:cubicBezTo>
                  <a:cubicBezTo>
                    <a:pt x="14278" y="143444"/>
                    <a:pt x="6025" y="163989"/>
                    <a:pt x="598" y="185667"/>
                  </a:cubicBezTo>
                  <a:cubicBezTo>
                    <a:pt x="32492" y="188952"/>
                    <a:pt x="56901" y="216210"/>
                    <a:pt x="56901" y="249169"/>
                  </a:cubicBezTo>
                  <a:cubicBezTo>
                    <a:pt x="56901" y="282341"/>
                    <a:pt x="32177" y="309737"/>
                    <a:pt x="0" y="312792"/>
                  </a:cubicBezTo>
                  <a:cubicBezTo>
                    <a:pt x="5416" y="334757"/>
                    <a:pt x="14032" y="355463"/>
                    <a:pt x="25163" y="374539"/>
                  </a:cubicBezTo>
                  <a:cubicBezTo>
                    <a:pt x="50322" y="354265"/>
                    <a:pt x="87139" y="356606"/>
                    <a:pt x="110302" y="380340"/>
                  </a:cubicBezTo>
                  <a:cubicBezTo>
                    <a:pt x="124985" y="395385"/>
                    <a:pt x="130942" y="415704"/>
                    <a:pt x="126995" y="434683"/>
                  </a:cubicBezTo>
                  <a:close/>
                  <a:moveTo>
                    <a:pt x="527760" y="498326"/>
                  </a:moveTo>
                  <a:lnTo>
                    <a:pt x="784682" y="249163"/>
                  </a:lnTo>
                  <a:lnTo>
                    <a:pt x="527760" y="0"/>
                  </a:lnTo>
                  <a:lnTo>
                    <a:pt x="527760" y="109046"/>
                  </a:lnTo>
                  <a:lnTo>
                    <a:pt x="475455" y="109046"/>
                  </a:lnTo>
                  <a:lnTo>
                    <a:pt x="506074" y="187783"/>
                  </a:lnTo>
                  <a:cubicBezTo>
                    <a:pt x="486230" y="204452"/>
                    <a:pt x="448528" y="206040"/>
                    <a:pt x="448925" y="249696"/>
                  </a:cubicBezTo>
                  <a:cubicBezTo>
                    <a:pt x="449322" y="293352"/>
                    <a:pt x="478690" y="297321"/>
                    <a:pt x="508455" y="306845"/>
                  </a:cubicBezTo>
                  <a:lnTo>
                    <a:pt x="471818" y="389280"/>
                  </a:lnTo>
                  <a:lnTo>
                    <a:pt x="527760" y="389280"/>
                  </a:lnTo>
                  <a:close/>
                  <a:moveTo>
                    <a:pt x="153751" y="757601"/>
                  </a:moveTo>
                  <a:lnTo>
                    <a:pt x="153751" y="531341"/>
                  </a:lnTo>
                  <a:lnTo>
                    <a:pt x="96967" y="531341"/>
                  </a:lnTo>
                  <a:lnTo>
                    <a:pt x="246801" y="376841"/>
                  </a:lnTo>
                  <a:lnTo>
                    <a:pt x="396636" y="531341"/>
                  </a:lnTo>
                  <a:lnTo>
                    <a:pt x="339851" y="531341"/>
                  </a:lnTo>
                  <a:lnTo>
                    <a:pt x="339851" y="757601"/>
                  </a:lnTo>
                  <a:close/>
                  <a:moveTo>
                    <a:pt x="123765" y="785502"/>
                  </a:moveTo>
                  <a:lnTo>
                    <a:pt x="369837" y="785502"/>
                  </a:lnTo>
                  <a:lnTo>
                    <a:pt x="369837" y="561234"/>
                  </a:lnTo>
                  <a:lnTo>
                    <a:pt x="465591" y="561234"/>
                  </a:lnTo>
                  <a:lnTo>
                    <a:pt x="246801" y="335633"/>
                  </a:lnTo>
                  <a:lnTo>
                    <a:pt x="28012" y="561234"/>
                  </a:lnTo>
                  <a:lnTo>
                    <a:pt x="123765" y="561234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10027940" y="4634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7988046" y="2854572"/>
            <a:ext cx="792000" cy="792000"/>
            <a:chOff x="9738796" y="540930"/>
            <a:chExt cx="792000" cy="792000"/>
          </a:xfrm>
        </p:grpSpPr>
        <p:sp>
          <p:nvSpPr>
            <p:cNvPr id="147" name="Oval 34"/>
            <p:cNvSpPr/>
            <p:nvPr>
              <p:custDataLst>
                <p:tags r:id="rId7"/>
              </p:custDataLst>
            </p:nvPr>
          </p:nvSpPr>
          <p:spPr bwMode="auto">
            <a:xfrm>
              <a:off x="9792858" y="595775"/>
              <a:ext cx="683876" cy="682310"/>
            </a:xfrm>
            <a:custGeom>
              <a:avLst/>
              <a:gdLst>
                <a:gd name="connsiteX0" fmla="*/ 310580 w 694944"/>
                <a:gd name="connsiteY0" fmla="*/ 500893 h 696643"/>
                <a:gd name="connsiteX1" fmla="*/ 315746 w 694944"/>
                <a:gd name="connsiteY1" fmla="*/ 501936 h 696643"/>
                <a:gd name="connsiteX2" fmla="*/ 307437 w 694944"/>
                <a:gd name="connsiteY2" fmla="*/ 515448 h 696643"/>
                <a:gd name="connsiteX3" fmla="*/ 310580 w 694944"/>
                <a:gd name="connsiteY3" fmla="*/ 500893 h 696643"/>
                <a:gd name="connsiteX4" fmla="*/ 618001 w 694944"/>
                <a:gd name="connsiteY4" fmla="*/ 396452 h 696643"/>
                <a:gd name="connsiteX5" fmla="*/ 359856 w 694944"/>
                <a:gd name="connsiteY5" fmla="*/ 617248 h 696643"/>
                <a:gd name="connsiteX6" fmla="*/ 418732 w 694944"/>
                <a:gd name="connsiteY6" fmla="*/ 674639 h 696643"/>
                <a:gd name="connsiteX7" fmla="*/ 397285 w 694944"/>
                <a:gd name="connsiteY7" fmla="*/ 696643 h 696643"/>
                <a:gd name="connsiteX8" fmla="*/ 294138 w 694944"/>
                <a:gd name="connsiteY8" fmla="*/ 605404 h 696643"/>
                <a:gd name="connsiteX9" fmla="*/ 391749 w 694944"/>
                <a:gd name="connsiteY9" fmla="*/ 506367 h 696643"/>
                <a:gd name="connsiteX10" fmla="*/ 415051 w 694944"/>
                <a:gd name="connsiteY10" fmla="*/ 527597 h 696643"/>
                <a:gd name="connsiteX11" fmla="*/ 366848 w 694944"/>
                <a:gd name="connsiteY11" fmla="*/ 580350 h 696643"/>
                <a:gd name="connsiteX12" fmla="*/ 583073 w 694944"/>
                <a:gd name="connsiteY12" fmla="*/ 397056 h 696643"/>
                <a:gd name="connsiteX13" fmla="*/ 599654 w 694944"/>
                <a:gd name="connsiteY13" fmla="*/ 408667 h 696643"/>
                <a:gd name="connsiteX14" fmla="*/ 618001 w 694944"/>
                <a:gd name="connsiteY14" fmla="*/ 396452 h 696643"/>
                <a:gd name="connsiteX15" fmla="*/ 93882 w 694944"/>
                <a:gd name="connsiteY15" fmla="*/ 298391 h 696643"/>
                <a:gd name="connsiteX16" fmla="*/ 192129 w 694944"/>
                <a:gd name="connsiteY16" fmla="*/ 396807 h 696643"/>
                <a:gd name="connsiteX17" fmla="*/ 170296 w 694944"/>
                <a:gd name="connsiteY17" fmla="*/ 419519 h 696643"/>
                <a:gd name="connsiteX18" fmla="*/ 117897 w 694944"/>
                <a:gd name="connsiteY18" fmla="*/ 370851 h 696643"/>
                <a:gd name="connsiteX19" fmla="*/ 299110 w 694944"/>
                <a:gd name="connsiteY19" fmla="*/ 588232 h 696643"/>
                <a:gd name="connsiteX20" fmla="*/ 287102 w 694944"/>
                <a:gd name="connsiteY20" fmla="*/ 604454 h 696643"/>
                <a:gd name="connsiteX21" fmla="*/ 299110 w 694944"/>
                <a:gd name="connsiteY21" fmla="*/ 622839 h 696643"/>
                <a:gd name="connsiteX22" fmla="*/ 80782 w 694944"/>
                <a:gd name="connsiteY22" fmla="*/ 363280 h 696643"/>
                <a:gd name="connsiteX23" fmla="*/ 21833 w 694944"/>
                <a:gd name="connsiteY23" fmla="*/ 420600 h 696643"/>
                <a:gd name="connsiteX24" fmla="*/ 0 w 694944"/>
                <a:gd name="connsiteY24" fmla="*/ 398970 h 696643"/>
                <a:gd name="connsiteX25" fmla="*/ 93882 w 694944"/>
                <a:gd name="connsiteY25" fmla="*/ 298391 h 696643"/>
                <a:gd name="connsiteX26" fmla="*/ 376390 w 694944"/>
                <a:gd name="connsiteY26" fmla="*/ 194140 h 696643"/>
                <a:gd name="connsiteX27" fmla="*/ 382053 w 694944"/>
                <a:gd name="connsiteY27" fmla="*/ 195283 h 696643"/>
                <a:gd name="connsiteX28" fmla="*/ 376390 w 694944"/>
                <a:gd name="connsiteY28" fmla="*/ 194140 h 696643"/>
                <a:gd name="connsiteX29" fmla="*/ 395834 w 694944"/>
                <a:gd name="connsiteY29" fmla="*/ 73716 h 696643"/>
                <a:gd name="connsiteX30" fmla="*/ 614162 w 694944"/>
                <a:gd name="connsiteY30" fmla="*/ 333275 h 696643"/>
                <a:gd name="connsiteX31" fmla="*/ 673111 w 694944"/>
                <a:gd name="connsiteY31" fmla="*/ 275956 h 696643"/>
                <a:gd name="connsiteX32" fmla="*/ 694944 w 694944"/>
                <a:gd name="connsiteY32" fmla="*/ 297586 h 696643"/>
                <a:gd name="connsiteX33" fmla="*/ 601063 w 694944"/>
                <a:gd name="connsiteY33" fmla="*/ 398165 h 696643"/>
                <a:gd name="connsiteX34" fmla="*/ 502815 w 694944"/>
                <a:gd name="connsiteY34" fmla="*/ 299749 h 696643"/>
                <a:gd name="connsiteX35" fmla="*/ 524648 w 694944"/>
                <a:gd name="connsiteY35" fmla="*/ 277037 h 696643"/>
                <a:gd name="connsiteX36" fmla="*/ 577047 w 694944"/>
                <a:gd name="connsiteY36" fmla="*/ 325705 h 696643"/>
                <a:gd name="connsiteX37" fmla="*/ 395834 w 694944"/>
                <a:gd name="connsiteY37" fmla="*/ 108324 h 696643"/>
                <a:gd name="connsiteX38" fmla="*/ 407842 w 694944"/>
                <a:gd name="connsiteY38" fmla="*/ 92101 h 696643"/>
                <a:gd name="connsiteX39" fmla="*/ 395834 w 694944"/>
                <a:gd name="connsiteY39" fmla="*/ 73716 h 696643"/>
                <a:gd name="connsiteX40" fmla="*/ 293125 w 694944"/>
                <a:gd name="connsiteY40" fmla="*/ 0 h 696643"/>
                <a:gd name="connsiteX41" fmla="*/ 397861 w 694944"/>
                <a:gd name="connsiteY41" fmla="*/ 89442 h 696643"/>
                <a:gd name="connsiteX42" fmla="*/ 302012 w 694944"/>
                <a:gd name="connsiteY42" fmla="*/ 190151 h 696643"/>
                <a:gd name="connsiteX43" fmla="*/ 278339 w 694944"/>
                <a:gd name="connsiteY43" fmla="*/ 169327 h 696643"/>
                <a:gd name="connsiteX44" fmla="*/ 325605 w 694944"/>
                <a:gd name="connsiteY44" fmla="*/ 115749 h 696643"/>
                <a:gd name="connsiteX45" fmla="*/ 112642 w 694944"/>
                <a:gd name="connsiteY45" fmla="*/ 302755 h 696643"/>
                <a:gd name="connsiteX46" fmla="*/ 95858 w 694944"/>
                <a:gd name="connsiteY46" fmla="*/ 291431 h 696643"/>
                <a:gd name="connsiteX47" fmla="*/ 77731 w 694944"/>
                <a:gd name="connsiteY47" fmla="*/ 303962 h 696643"/>
                <a:gd name="connsiteX48" fmla="*/ 331946 w 694944"/>
                <a:gd name="connsiteY48" fmla="*/ 78737 h 696643"/>
                <a:gd name="connsiteX49" fmla="*/ 272067 w 694944"/>
                <a:gd name="connsiteY49" fmla="*/ 22371 h 696643"/>
                <a:gd name="connsiteX50" fmla="*/ 293125 w 694944"/>
                <a:gd name="connsiteY50" fmla="*/ 0 h 696643"/>
                <a:gd name="connsiteX0" fmla="*/ 310580 w 694944"/>
                <a:gd name="connsiteY0" fmla="*/ 500893 h 696643"/>
                <a:gd name="connsiteX1" fmla="*/ 315746 w 694944"/>
                <a:gd name="connsiteY1" fmla="*/ 501936 h 696643"/>
                <a:gd name="connsiteX2" fmla="*/ 307437 w 694944"/>
                <a:gd name="connsiteY2" fmla="*/ 515448 h 696643"/>
                <a:gd name="connsiteX3" fmla="*/ 310580 w 694944"/>
                <a:gd name="connsiteY3" fmla="*/ 500893 h 696643"/>
                <a:gd name="connsiteX4" fmla="*/ 618001 w 694944"/>
                <a:gd name="connsiteY4" fmla="*/ 396452 h 696643"/>
                <a:gd name="connsiteX5" fmla="*/ 359856 w 694944"/>
                <a:gd name="connsiteY5" fmla="*/ 617248 h 696643"/>
                <a:gd name="connsiteX6" fmla="*/ 418732 w 694944"/>
                <a:gd name="connsiteY6" fmla="*/ 674639 h 696643"/>
                <a:gd name="connsiteX7" fmla="*/ 397285 w 694944"/>
                <a:gd name="connsiteY7" fmla="*/ 696643 h 696643"/>
                <a:gd name="connsiteX8" fmla="*/ 294138 w 694944"/>
                <a:gd name="connsiteY8" fmla="*/ 605404 h 696643"/>
                <a:gd name="connsiteX9" fmla="*/ 391749 w 694944"/>
                <a:gd name="connsiteY9" fmla="*/ 506367 h 696643"/>
                <a:gd name="connsiteX10" fmla="*/ 415051 w 694944"/>
                <a:gd name="connsiteY10" fmla="*/ 527597 h 696643"/>
                <a:gd name="connsiteX11" fmla="*/ 366848 w 694944"/>
                <a:gd name="connsiteY11" fmla="*/ 580350 h 696643"/>
                <a:gd name="connsiteX12" fmla="*/ 583073 w 694944"/>
                <a:gd name="connsiteY12" fmla="*/ 397056 h 696643"/>
                <a:gd name="connsiteX13" fmla="*/ 599654 w 694944"/>
                <a:gd name="connsiteY13" fmla="*/ 408667 h 696643"/>
                <a:gd name="connsiteX14" fmla="*/ 618001 w 694944"/>
                <a:gd name="connsiteY14" fmla="*/ 396452 h 696643"/>
                <a:gd name="connsiteX15" fmla="*/ 93882 w 694944"/>
                <a:gd name="connsiteY15" fmla="*/ 298391 h 696643"/>
                <a:gd name="connsiteX16" fmla="*/ 192129 w 694944"/>
                <a:gd name="connsiteY16" fmla="*/ 396807 h 696643"/>
                <a:gd name="connsiteX17" fmla="*/ 170296 w 694944"/>
                <a:gd name="connsiteY17" fmla="*/ 419519 h 696643"/>
                <a:gd name="connsiteX18" fmla="*/ 117897 w 694944"/>
                <a:gd name="connsiteY18" fmla="*/ 370851 h 696643"/>
                <a:gd name="connsiteX19" fmla="*/ 299110 w 694944"/>
                <a:gd name="connsiteY19" fmla="*/ 588232 h 696643"/>
                <a:gd name="connsiteX20" fmla="*/ 287102 w 694944"/>
                <a:gd name="connsiteY20" fmla="*/ 604454 h 696643"/>
                <a:gd name="connsiteX21" fmla="*/ 299110 w 694944"/>
                <a:gd name="connsiteY21" fmla="*/ 622839 h 696643"/>
                <a:gd name="connsiteX22" fmla="*/ 80782 w 694944"/>
                <a:gd name="connsiteY22" fmla="*/ 363280 h 696643"/>
                <a:gd name="connsiteX23" fmla="*/ 21833 w 694944"/>
                <a:gd name="connsiteY23" fmla="*/ 420600 h 696643"/>
                <a:gd name="connsiteX24" fmla="*/ 0 w 694944"/>
                <a:gd name="connsiteY24" fmla="*/ 398970 h 696643"/>
                <a:gd name="connsiteX25" fmla="*/ 93882 w 694944"/>
                <a:gd name="connsiteY25" fmla="*/ 298391 h 696643"/>
                <a:gd name="connsiteX26" fmla="*/ 395834 w 694944"/>
                <a:gd name="connsiteY26" fmla="*/ 73716 h 696643"/>
                <a:gd name="connsiteX27" fmla="*/ 614162 w 694944"/>
                <a:gd name="connsiteY27" fmla="*/ 333275 h 696643"/>
                <a:gd name="connsiteX28" fmla="*/ 673111 w 694944"/>
                <a:gd name="connsiteY28" fmla="*/ 275956 h 696643"/>
                <a:gd name="connsiteX29" fmla="*/ 694944 w 694944"/>
                <a:gd name="connsiteY29" fmla="*/ 297586 h 696643"/>
                <a:gd name="connsiteX30" fmla="*/ 601063 w 694944"/>
                <a:gd name="connsiteY30" fmla="*/ 398165 h 696643"/>
                <a:gd name="connsiteX31" fmla="*/ 502815 w 694944"/>
                <a:gd name="connsiteY31" fmla="*/ 299749 h 696643"/>
                <a:gd name="connsiteX32" fmla="*/ 524648 w 694944"/>
                <a:gd name="connsiteY32" fmla="*/ 277037 h 696643"/>
                <a:gd name="connsiteX33" fmla="*/ 577047 w 694944"/>
                <a:gd name="connsiteY33" fmla="*/ 325705 h 696643"/>
                <a:gd name="connsiteX34" fmla="*/ 395834 w 694944"/>
                <a:gd name="connsiteY34" fmla="*/ 108324 h 696643"/>
                <a:gd name="connsiteX35" fmla="*/ 407842 w 694944"/>
                <a:gd name="connsiteY35" fmla="*/ 92101 h 696643"/>
                <a:gd name="connsiteX36" fmla="*/ 395834 w 694944"/>
                <a:gd name="connsiteY36" fmla="*/ 73716 h 696643"/>
                <a:gd name="connsiteX37" fmla="*/ 293125 w 694944"/>
                <a:gd name="connsiteY37" fmla="*/ 0 h 696643"/>
                <a:gd name="connsiteX38" fmla="*/ 397861 w 694944"/>
                <a:gd name="connsiteY38" fmla="*/ 89442 h 696643"/>
                <a:gd name="connsiteX39" fmla="*/ 302012 w 694944"/>
                <a:gd name="connsiteY39" fmla="*/ 190151 h 696643"/>
                <a:gd name="connsiteX40" fmla="*/ 278339 w 694944"/>
                <a:gd name="connsiteY40" fmla="*/ 169327 h 696643"/>
                <a:gd name="connsiteX41" fmla="*/ 325605 w 694944"/>
                <a:gd name="connsiteY41" fmla="*/ 115749 h 696643"/>
                <a:gd name="connsiteX42" fmla="*/ 112642 w 694944"/>
                <a:gd name="connsiteY42" fmla="*/ 302755 h 696643"/>
                <a:gd name="connsiteX43" fmla="*/ 95858 w 694944"/>
                <a:gd name="connsiteY43" fmla="*/ 291431 h 696643"/>
                <a:gd name="connsiteX44" fmla="*/ 77731 w 694944"/>
                <a:gd name="connsiteY44" fmla="*/ 303962 h 696643"/>
                <a:gd name="connsiteX45" fmla="*/ 331946 w 694944"/>
                <a:gd name="connsiteY45" fmla="*/ 78737 h 696643"/>
                <a:gd name="connsiteX46" fmla="*/ 272067 w 694944"/>
                <a:gd name="connsiteY46" fmla="*/ 22371 h 696643"/>
                <a:gd name="connsiteX47" fmla="*/ 293125 w 694944"/>
                <a:gd name="connsiteY47" fmla="*/ 0 h 696643"/>
                <a:gd name="connsiteX0" fmla="*/ 307437 w 694944"/>
                <a:gd name="connsiteY0" fmla="*/ 515448 h 696643"/>
                <a:gd name="connsiteX1" fmla="*/ 315746 w 694944"/>
                <a:gd name="connsiteY1" fmla="*/ 501936 h 696643"/>
                <a:gd name="connsiteX2" fmla="*/ 307437 w 694944"/>
                <a:gd name="connsiteY2" fmla="*/ 515448 h 696643"/>
                <a:gd name="connsiteX3" fmla="*/ 618001 w 694944"/>
                <a:gd name="connsiteY3" fmla="*/ 396452 h 696643"/>
                <a:gd name="connsiteX4" fmla="*/ 359856 w 694944"/>
                <a:gd name="connsiteY4" fmla="*/ 617248 h 696643"/>
                <a:gd name="connsiteX5" fmla="*/ 418732 w 694944"/>
                <a:gd name="connsiteY5" fmla="*/ 674639 h 696643"/>
                <a:gd name="connsiteX6" fmla="*/ 397285 w 694944"/>
                <a:gd name="connsiteY6" fmla="*/ 696643 h 696643"/>
                <a:gd name="connsiteX7" fmla="*/ 294138 w 694944"/>
                <a:gd name="connsiteY7" fmla="*/ 605404 h 696643"/>
                <a:gd name="connsiteX8" fmla="*/ 391749 w 694944"/>
                <a:gd name="connsiteY8" fmla="*/ 506367 h 696643"/>
                <a:gd name="connsiteX9" fmla="*/ 415051 w 694944"/>
                <a:gd name="connsiteY9" fmla="*/ 527597 h 696643"/>
                <a:gd name="connsiteX10" fmla="*/ 366848 w 694944"/>
                <a:gd name="connsiteY10" fmla="*/ 580350 h 696643"/>
                <a:gd name="connsiteX11" fmla="*/ 583073 w 694944"/>
                <a:gd name="connsiteY11" fmla="*/ 397056 h 696643"/>
                <a:gd name="connsiteX12" fmla="*/ 599654 w 694944"/>
                <a:gd name="connsiteY12" fmla="*/ 408667 h 696643"/>
                <a:gd name="connsiteX13" fmla="*/ 618001 w 694944"/>
                <a:gd name="connsiteY13" fmla="*/ 396452 h 696643"/>
                <a:gd name="connsiteX14" fmla="*/ 93882 w 694944"/>
                <a:gd name="connsiteY14" fmla="*/ 298391 h 696643"/>
                <a:gd name="connsiteX15" fmla="*/ 192129 w 694944"/>
                <a:gd name="connsiteY15" fmla="*/ 396807 h 696643"/>
                <a:gd name="connsiteX16" fmla="*/ 170296 w 694944"/>
                <a:gd name="connsiteY16" fmla="*/ 419519 h 696643"/>
                <a:gd name="connsiteX17" fmla="*/ 117897 w 694944"/>
                <a:gd name="connsiteY17" fmla="*/ 370851 h 696643"/>
                <a:gd name="connsiteX18" fmla="*/ 299110 w 694944"/>
                <a:gd name="connsiteY18" fmla="*/ 588232 h 696643"/>
                <a:gd name="connsiteX19" fmla="*/ 287102 w 694944"/>
                <a:gd name="connsiteY19" fmla="*/ 604454 h 696643"/>
                <a:gd name="connsiteX20" fmla="*/ 299110 w 694944"/>
                <a:gd name="connsiteY20" fmla="*/ 622839 h 696643"/>
                <a:gd name="connsiteX21" fmla="*/ 80782 w 694944"/>
                <a:gd name="connsiteY21" fmla="*/ 363280 h 696643"/>
                <a:gd name="connsiteX22" fmla="*/ 21833 w 694944"/>
                <a:gd name="connsiteY22" fmla="*/ 420600 h 696643"/>
                <a:gd name="connsiteX23" fmla="*/ 0 w 694944"/>
                <a:gd name="connsiteY23" fmla="*/ 398970 h 696643"/>
                <a:gd name="connsiteX24" fmla="*/ 93882 w 694944"/>
                <a:gd name="connsiteY24" fmla="*/ 298391 h 696643"/>
                <a:gd name="connsiteX25" fmla="*/ 395834 w 694944"/>
                <a:gd name="connsiteY25" fmla="*/ 73716 h 696643"/>
                <a:gd name="connsiteX26" fmla="*/ 614162 w 694944"/>
                <a:gd name="connsiteY26" fmla="*/ 333275 h 696643"/>
                <a:gd name="connsiteX27" fmla="*/ 673111 w 694944"/>
                <a:gd name="connsiteY27" fmla="*/ 275956 h 696643"/>
                <a:gd name="connsiteX28" fmla="*/ 694944 w 694944"/>
                <a:gd name="connsiteY28" fmla="*/ 297586 h 696643"/>
                <a:gd name="connsiteX29" fmla="*/ 601063 w 694944"/>
                <a:gd name="connsiteY29" fmla="*/ 398165 h 696643"/>
                <a:gd name="connsiteX30" fmla="*/ 502815 w 694944"/>
                <a:gd name="connsiteY30" fmla="*/ 299749 h 696643"/>
                <a:gd name="connsiteX31" fmla="*/ 524648 w 694944"/>
                <a:gd name="connsiteY31" fmla="*/ 277037 h 696643"/>
                <a:gd name="connsiteX32" fmla="*/ 577047 w 694944"/>
                <a:gd name="connsiteY32" fmla="*/ 325705 h 696643"/>
                <a:gd name="connsiteX33" fmla="*/ 395834 w 694944"/>
                <a:gd name="connsiteY33" fmla="*/ 108324 h 696643"/>
                <a:gd name="connsiteX34" fmla="*/ 407842 w 694944"/>
                <a:gd name="connsiteY34" fmla="*/ 92101 h 696643"/>
                <a:gd name="connsiteX35" fmla="*/ 395834 w 694944"/>
                <a:gd name="connsiteY35" fmla="*/ 73716 h 696643"/>
                <a:gd name="connsiteX36" fmla="*/ 293125 w 694944"/>
                <a:gd name="connsiteY36" fmla="*/ 0 h 696643"/>
                <a:gd name="connsiteX37" fmla="*/ 397861 w 694944"/>
                <a:gd name="connsiteY37" fmla="*/ 89442 h 696643"/>
                <a:gd name="connsiteX38" fmla="*/ 302012 w 694944"/>
                <a:gd name="connsiteY38" fmla="*/ 190151 h 696643"/>
                <a:gd name="connsiteX39" fmla="*/ 278339 w 694944"/>
                <a:gd name="connsiteY39" fmla="*/ 169327 h 696643"/>
                <a:gd name="connsiteX40" fmla="*/ 325605 w 694944"/>
                <a:gd name="connsiteY40" fmla="*/ 115749 h 696643"/>
                <a:gd name="connsiteX41" fmla="*/ 112642 w 694944"/>
                <a:gd name="connsiteY41" fmla="*/ 302755 h 696643"/>
                <a:gd name="connsiteX42" fmla="*/ 95858 w 694944"/>
                <a:gd name="connsiteY42" fmla="*/ 291431 h 696643"/>
                <a:gd name="connsiteX43" fmla="*/ 77731 w 694944"/>
                <a:gd name="connsiteY43" fmla="*/ 303962 h 696643"/>
                <a:gd name="connsiteX44" fmla="*/ 331946 w 694944"/>
                <a:gd name="connsiteY44" fmla="*/ 78737 h 696643"/>
                <a:gd name="connsiteX45" fmla="*/ 272067 w 694944"/>
                <a:gd name="connsiteY45" fmla="*/ 22371 h 696643"/>
                <a:gd name="connsiteX46" fmla="*/ 293125 w 694944"/>
                <a:gd name="connsiteY46" fmla="*/ 0 h 696643"/>
                <a:gd name="connsiteX0" fmla="*/ 618001 w 694944"/>
                <a:gd name="connsiteY0" fmla="*/ 396452 h 696643"/>
                <a:gd name="connsiteX1" fmla="*/ 359856 w 694944"/>
                <a:gd name="connsiteY1" fmla="*/ 617248 h 696643"/>
                <a:gd name="connsiteX2" fmla="*/ 418732 w 694944"/>
                <a:gd name="connsiteY2" fmla="*/ 674639 h 696643"/>
                <a:gd name="connsiteX3" fmla="*/ 397285 w 694944"/>
                <a:gd name="connsiteY3" fmla="*/ 696643 h 696643"/>
                <a:gd name="connsiteX4" fmla="*/ 294138 w 694944"/>
                <a:gd name="connsiteY4" fmla="*/ 605404 h 696643"/>
                <a:gd name="connsiteX5" fmla="*/ 391749 w 694944"/>
                <a:gd name="connsiteY5" fmla="*/ 506367 h 696643"/>
                <a:gd name="connsiteX6" fmla="*/ 415051 w 694944"/>
                <a:gd name="connsiteY6" fmla="*/ 527597 h 696643"/>
                <a:gd name="connsiteX7" fmla="*/ 366848 w 694944"/>
                <a:gd name="connsiteY7" fmla="*/ 580350 h 696643"/>
                <a:gd name="connsiteX8" fmla="*/ 583073 w 694944"/>
                <a:gd name="connsiteY8" fmla="*/ 397056 h 696643"/>
                <a:gd name="connsiteX9" fmla="*/ 599654 w 694944"/>
                <a:gd name="connsiteY9" fmla="*/ 408667 h 696643"/>
                <a:gd name="connsiteX10" fmla="*/ 618001 w 694944"/>
                <a:gd name="connsiteY10" fmla="*/ 396452 h 696643"/>
                <a:gd name="connsiteX11" fmla="*/ 93882 w 694944"/>
                <a:gd name="connsiteY11" fmla="*/ 298391 h 696643"/>
                <a:gd name="connsiteX12" fmla="*/ 192129 w 694944"/>
                <a:gd name="connsiteY12" fmla="*/ 396807 h 696643"/>
                <a:gd name="connsiteX13" fmla="*/ 170296 w 694944"/>
                <a:gd name="connsiteY13" fmla="*/ 419519 h 696643"/>
                <a:gd name="connsiteX14" fmla="*/ 117897 w 694944"/>
                <a:gd name="connsiteY14" fmla="*/ 370851 h 696643"/>
                <a:gd name="connsiteX15" fmla="*/ 299110 w 694944"/>
                <a:gd name="connsiteY15" fmla="*/ 588232 h 696643"/>
                <a:gd name="connsiteX16" fmla="*/ 287102 w 694944"/>
                <a:gd name="connsiteY16" fmla="*/ 604454 h 696643"/>
                <a:gd name="connsiteX17" fmla="*/ 299110 w 694944"/>
                <a:gd name="connsiteY17" fmla="*/ 622839 h 696643"/>
                <a:gd name="connsiteX18" fmla="*/ 80782 w 694944"/>
                <a:gd name="connsiteY18" fmla="*/ 363280 h 696643"/>
                <a:gd name="connsiteX19" fmla="*/ 21833 w 694944"/>
                <a:gd name="connsiteY19" fmla="*/ 420600 h 696643"/>
                <a:gd name="connsiteX20" fmla="*/ 0 w 694944"/>
                <a:gd name="connsiteY20" fmla="*/ 398970 h 696643"/>
                <a:gd name="connsiteX21" fmla="*/ 93882 w 694944"/>
                <a:gd name="connsiteY21" fmla="*/ 298391 h 696643"/>
                <a:gd name="connsiteX22" fmla="*/ 395834 w 694944"/>
                <a:gd name="connsiteY22" fmla="*/ 73716 h 696643"/>
                <a:gd name="connsiteX23" fmla="*/ 614162 w 694944"/>
                <a:gd name="connsiteY23" fmla="*/ 333275 h 696643"/>
                <a:gd name="connsiteX24" fmla="*/ 673111 w 694944"/>
                <a:gd name="connsiteY24" fmla="*/ 275956 h 696643"/>
                <a:gd name="connsiteX25" fmla="*/ 694944 w 694944"/>
                <a:gd name="connsiteY25" fmla="*/ 297586 h 696643"/>
                <a:gd name="connsiteX26" fmla="*/ 601063 w 694944"/>
                <a:gd name="connsiteY26" fmla="*/ 398165 h 696643"/>
                <a:gd name="connsiteX27" fmla="*/ 502815 w 694944"/>
                <a:gd name="connsiteY27" fmla="*/ 299749 h 696643"/>
                <a:gd name="connsiteX28" fmla="*/ 524648 w 694944"/>
                <a:gd name="connsiteY28" fmla="*/ 277037 h 696643"/>
                <a:gd name="connsiteX29" fmla="*/ 577047 w 694944"/>
                <a:gd name="connsiteY29" fmla="*/ 325705 h 696643"/>
                <a:gd name="connsiteX30" fmla="*/ 395834 w 694944"/>
                <a:gd name="connsiteY30" fmla="*/ 108324 h 696643"/>
                <a:gd name="connsiteX31" fmla="*/ 407842 w 694944"/>
                <a:gd name="connsiteY31" fmla="*/ 92101 h 696643"/>
                <a:gd name="connsiteX32" fmla="*/ 395834 w 694944"/>
                <a:gd name="connsiteY32" fmla="*/ 73716 h 696643"/>
                <a:gd name="connsiteX33" fmla="*/ 293125 w 694944"/>
                <a:gd name="connsiteY33" fmla="*/ 0 h 696643"/>
                <a:gd name="connsiteX34" fmla="*/ 397861 w 694944"/>
                <a:gd name="connsiteY34" fmla="*/ 89442 h 696643"/>
                <a:gd name="connsiteX35" fmla="*/ 302012 w 694944"/>
                <a:gd name="connsiteY35" fmla="*/ 190151 h 696643"/>
                <a:gd name="connsiteX36" fmla="*/ 278339 w 694944"/>
                <a:gd name="connsiteY36" fmla="*/ 169327 h 696643"/>
                <a:gd name="connsiteX37" fmla="*/ 325605 w 694944"/>
                <a:gd name="connsiteY37" fmla="*/ 115749 h 696643"/>
                <a:gd name="connsiteX38" fmla="*/ 112642 w 694944"/>
                <a:gd name="connsiteY38" fmla="*/ 302755 h 696643"/>
                <a:gd name="connsiteX39" fmla="*/ 95858 w 694944"/>
                <a:gd name="connsiteY39" fmla="*/ 291431 h 696643"/>
                <a:gd name="connsiteX40" fmla="*/ 77731 w 694944"/>
                <a:gd name="connsiteY40" fmla="*/ 303962 h 696643"/>
                <a:gd name="connsiteX41" fmla="*/ 331946 w 694944"/>
                <a:gd name="connsiteY41" fmla="*/ 78737 h 696643"/>
                <a:gd name="connsiteX42" fmla="*/ 272067 w 694944"/>
                <a:gd name="connsiteY42" fmla="*/ 22371 h 696643"/>
                <a:gd name="connsiteX43" fmla="*/ 293125 w 694944"/>
                <a:gd name="connsiteY43" fmla="*/ 0 h 696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94944" h="696643">
                  <a:moveTo>
                    <a:pt x="618001" y="396452"/>
                  </a:moveTo>
                  <a:cubicBezTo>
                    <a:pt x="612493" y="455677"/>
                    <a:pt x="533273" y="607038"/>
                    <a:pt x="359856" y="617248"/>
                  </a:cubicBezTo>
                  <a:lnTo>
                    <a:pt x="418732" y="674639"/>
                  </a:lnTo>
                  <a:lnTo>
                    <a:pt x="397285" y="696643"/>
                  </a:lnTo>
                  <a:lnTo>
                    <a:pt x="294138" y="605404"/>
                  </a:lnTo>
                  <a:lnTo>
                    <a:pt x="391749" y="506367"/>
                  </a:lnTo>
                  <a:lnTo>
                    <a:pt x="415051" y="527597"/>
                  </a:lnTo>
                  <a:lnTo>
                    <a:pt x="366848" y="580350"/>
                  </a:lnTo>
                  <a:cubicBezTo>
                    <a:pt x="440086" y="585213"/>
                    <a:pt x="565242" y="500482"/>
                    <a:pt x="583073" y="397056"/>
                  </a:cubicBezTo>
                  <a:lnTo>
                    <a:pt x="599654" y="408667"/>
                  </a:lnTo>
                  <a:lnTo>
                    <a:pt x="618001" y="396452"/>
                  </a:lnTo>
                  <a:close/>
                  <a:moveTo>
                    <a:pt x="93882" y="298391"/>
                  </a:moveTo>
                  <a:lnTo>
                    <a:pt x="192129" y="396807"/>
                  </a:lnTo>
                  <a:lnTo>
                    <a:pt x="170296" y="419519"/>
                  </a:lnTo>
                  <a:lnTo>
                    <a:pt x="117897" y="370851"/>
                  </a:lnTo>
                  <a:cubicBezTo>
                    <a:pt x="111711" y="443311"/>
                    <a:pt x="195040" y="568765"/>
                    <a:pt x="299110" y="588232"/>
                  </a:cubicBezTo>
                  <a:lnTo>
                    <a:pt x="287102" y="604454"/>
                  </a:lnTo>
                  <a:lnTo>
                    <a:pt x="299110" y="622839"/>
                  </a:lnTo>
                  <a:cubicBezTo>
                    <a:pt x="239434" y="616350"/>
                    <a:pt x="88060" y="535238"/>
                    <a:pt x="80782" y="363280"/>
                  </a:cubicBezTo>
                  <a:lnTo>
                    <a:pt x="21833" y="420600"/>
                  </a:lnTo>
                  <a:lnTo>
                    <a:pt x="0" y="398970"/>
                  </a:lnTo>
                  <a:lnTo>
                    <a:pt x="93882" y="298391"/>
                  </a:lnTo>
                  <a:close/>
                  <a:moveTo>
                    <a:pt x="395834" y="73716"/>
                  </a:moveTo>
                  <a:cubicBezTo>
                    <a:pt x="455510" y="80205"/>
                    <a:pt x="606884" y="161317"/>
                    <a:pt x="614162" y="333275"/>
                  </a:cubicBezTo>
                  <a:lnTo>
                    <a:pt x="673111" y="275956"/>
                  </a:lnTo>
                  <a:lnTo>
                    <a:pt x="694944" y="297586"/>
                  </a:lnTo>
                  <a:lnTo>
                    <a:pt x="601063" y="398165"/>
                  </a:lnTo>
                  <a:lnTo>
                    <a:pt x="502815" y="299749"/>
                  </a:lnTo>
                  <a:lnTo>
                    <a:pt x="524648" y="277037"/>
                  </a:lnTo>
                  <a:lnTo>
                    <a:pt x="577047" y="325705"/>
                  </a:lnTo>
                  <a:cubicBezTo>
                    <a:pt x="583233" y="253245"/>
                    <a:pt x="499904" y="127791"/>
                    <a:pt x="395834" y="108324"/>
                  </a:cubicBezTo>
                  <a:lnTo>
                    <a:pt x="407842" y="92101"/>
                  </a:lnTo>
                  <a:lnTo>
                    <a:pt x="395834" y="73716"/>
                  </a:lnTo>
                  <a:close/>
                  <a:moveTo>
                    <a:pt x="293125" y="0"/>
                  </a:moveTo>
                  <a:lnTo>
                    <a:pt x="397861" y="89442"/>
                  </a:lnTo>
                  <a:lnTo>
                    <a:pt x="302012" y="190151"/>
                  </a:lnTo>
                  <a:lnTo>
                    <a:pt x="278339" y="169327"/>
                  </a:lnTo>
                  <a:lnTo>
                    <a:pt x="325605" y="115749"/>
                  </a:lnTo>
                  <a:cubicBezTo>
                    <a:pt x="252293" y="112153"/>
                    <a:pt x="128648" y="199035"/>
                    <a:pt x="112642" y="302755"/>
                  </a:cubicBezTo>
                  <a:lnTo>
                    <a:pt x="95858" y="291431"/>
                  </a:lnTo>
                  <a:lnTo>
                    <a:pt x="77731" y="303962"/>
                  </a:lnTo>
                  <a:cubicBezTo>
                    <a:pt x="82194" y="244650"/>
                    <a:pt x="158735" y="91943"/>
                    <a:pt x="331946" y="78737"/>
                  </a:cubicBezTo>
                  <a:lnTo>
                    <a:pt x="272067" y="22371"/>
                  </a:lnTo>
                  <a:lnTo>
                    <a:pt x="293125" y="0"/>
                  </a:lnTo>
                  <a:close/>
                </a:path>
              </a:pathLst>
            </a:custGeom>
            <a:solidFill>
              <a:srgbClr val="007ABD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46619" rIns="0" bIns="4661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0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dirty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9738796" y="54093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149" name="Freeform 154"/>
          <p:cNvSpPr>
            <a:spLocks noEditPoints="1"/>
          </p:cNvSpPr>
          <p:nvPr/>
        </p:nvSpPr>
        <p:spPr bwMode="black">
          <a:xfrm>
            <a:off x="4808108" y="3533186"/>
            <a:ext cx="792000" cy="792000"/>
          </a:xfrm>
          <a:custGeom>
            <a:avLst/>
            <a:gdLst>
              <a:gd name="T0" fmla="*/ 235 w 433"/>
              <a:gd name="T1" fmla="*/ 433 h 433"/>
              <a:gd name="T2" fmla="*/ 0 w 433"/>
              <a:gd name="T3" fmla="*/ 198 h 433"/>
              <a:gd name="T4" fmla="*/ 0 w 433"/>
              <a:gd name="T5" fmla="*/ 101 h 433"/>
              <a:gd name="T6" fmla="*/ 99 w 433"/>
              <a:gd name="T7" fmla="*/ 2 h 433"/>
              <a:gd name="T8" fmla="*/ 198 w 433"/>
              <a:gd name="T9" fmla="*/ 0 h 433"/>
              <a:gd name="T10" fmla="*/ 433 w 433"/>
              <a:gd name="T11" fmla="*/ 235 h 433"/>
              <a:gd name="T12" fmla="*/ 235 w 433"/>
              <a:gd name="T13" fmla="*/ 433 h 433"/>
              <a:gd name="T14" fmla="*/ 96 w 433"/>
              <a:gd name="T15" fmla="*/ 72 h 433"/>
              <a:gd name="T16" fmla="*/ 71 w 433"/>
              <a:gd name="T17" fmla="*/ 72 h 433"/>
              <a:gd name="T18" fmla="*/ 71 w 433"/>
              <a:gd name="T19" fmla="*/ 97 h 433"/>
              <a:gd name="T20" fmla="*/ 96 w 433"/>
              <a:gd name="T21" fmla="*/ 97 h 433"/>
              <a:gd name="T22" fmla="*/ 96 w 433"/>
              <a:gd name="T23" fmla="*/ 72 h 433"/>
              <a:gd name="T24" fmla="*/ 250 w 433"/>
              <a:gd name="T25" fmla="*/ 138 h 433"/>
              <a:gd name="T26" fmla="*/ 231 w 433"/>
              <a:gd name="T27" fmla="*/ 138 h 433"/>
              <a:gd name="T28" fmla="*/ 231 w 433"/>
              <a:gd name="T29" fmla="*/ 158 h 433"/>
              <a:gd name="T30" fmla="*/ 264 w 433"/>
              <a:gd name="T31" fmla="*/ 191 h 433"/>
              <a:gd name="T32" fmla="*/ 254 w 433"/>
              <a:gd name="T33" fmla="*/ 193 h 433"/>
              <a:gd name="T34" fmla="*/ 176 w 433"/>
              <a:gd name="T35" fmla="*/ 115 h 433"/>
              <a:gd name="T36" fmla="*/ 158 w 433"/>
              <a:gd name="T37" fmla="*/ 115 h 433"/>
              <a:gd name="T38" fmla="*/ 159 w 433"/>
              <a:gd name="T39" fmla="*/ 133 h 433"/>
              <a:gd name="T40" fmla="*/ 212 w 433"/>
              <a:gd name="T41" fmla="*/ 186 h 433"/>
              <a:gd name="T42" fmla="*/ 208 w 433"/>
              <a:gd name="T43" fmla="*/ 192 h 433"/>
              <a:gd name="T44" fmla="*/ 145 w 433"/>
              <a:gd name="T45" fmla="*/ 130 h 433"/>
              <a:gd name="T46" fmla="*/ 128 w 433"/>
              <a:gd name="T47" fmla="*/ 130 h 433"/>
              <a:gd name="T48" fmla="*/ 128 w 433"/>
              <a:gd name="T49" fmla="*/ 147 h 433"/>
              <a:gd name="T50" fmla="*/ 194 w 433"/>
              <a:gd name="T51" fmla="*/ 214 h 433"/>
              <a:gd name="T52" fmla="*/ 191 w 433"/>
              <a:gd name="T53" fmla="*/ 220 h 433"/>
              <a:gd name="T54" fmla="*/ 134 w 433"/>
              <a:gd name="T55" fmla="*/ 163 h 433"/>
              <a:gd name="T56" fmla="*/ 116 w 433"/>
              <a:gd name="T57" fmla="*/ 164 h 433"/>
              <a:gd name="T58" fmla="*/ 116 w 433"/>
              <a:gd name="T59" fmla="*/ 181 h 433"/>
              <a:gd name="T60" fmla="*/ 177 w 433"/>
              <a:gd name="T61" fmla="*/ 242 h 433"/>
              <a:gd name="T62" fmla="*/ 173 w 433"/>
              <a:gd name="T63" fmla="*/ 248 h 433"/>
              <a:gd name="T64" fmla="*/ 122 w 433"/>
              <a:gd name="T65" fmla="*/ 197 h 433"/>
              <a:gd name="T66" fmla="*/ 104 w 433"/>
              <a:gd name="T67" fmla="*/ 197 h 433"/>
              <a:gd name="T68" fmla="*/ 105 w 433"/>
              <a:gd name="T69" fmla="*/ 215 h 433"/>
              <a:gd name="T70" fmla="*/ 195 w 433"/>
              <a:gd name="T71" fmla="*/ 305 h 433"/>
              <a:gd name="T72" fmla="*/ 286 w 433"/>
              <a:gd name="T73" fmla="*/ 314 h 433"/>
              <a:gd name="T74" fmla="*/ 309 w 433"/>
              <a:gd name="T75" fmla="*/ 290 h 433"/>
              <a:gd name="T76" fmla="*/ 306 w 433"/>
              <a:gd name="T77" fmla="*/ 194 h 433"/>
              <a:gd name="T78" fmla="*/ 250 w 433"/>
              <a:gd name="T79" fmla="*/ 138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33" h="433">
                <a:moveTo>
                  <a:pt x="235" y="433"/>
                </a:moveTo>
                <a:cubicBezTo>
                  <a:pt x="0" y="198"/>
                  <a:pt x="0" y="198"/>
                  <a:pt x="0" y="198"/>
                </a:cubicBezTo>
                <a:cubicBezTo>
                  <a:pt x="0" y="101"/>
                  <a:pt x="0" y="101"/>
                  <a:pt x="0" y="101"/>
                </a:cubicBezTo>
                <a:cubicBezTo>
                  <a:pt x="99" y="2"/>
                  <a:pt x="99" y="2"/>
                  <a:pt x="99" y="2"/>
                </a:cubicBezTo>
                <a:cubicBezTo>
                  <a:pt x="198" y="0"/>
                  <a:pt x="198" y="0"/>
                  <a:pt x="198" y="0"/>
                </a:cubicBezTo>
                <a:cubicBezTo>
                  <a:pt x="433" y="235"/>
                  <a:pt x="433" y="235"/>
                  <a:pt x="433" y="235"/>
                </a:cubicBezTo>
                <a:lnTo>
                  <a:pt x="235" y="433"/>
                </a:lnTo>
                <a:close/>
                <a:moveTo>
                  <a:pt x="96" y="72"/>
                </a:moveTo>
                <a:cubicBezTo>
                  <a:pt x="89" y="65"/>
                  <a:pt x="78" y="65"/>
                  <a:pt x="71" y="72"/>
                </a:cubicBezTo>
                <a:cubicBezTo>
                  <a:pt x="64" y="79"/>
                  <a:pt x="64" y="90"/>
                  <a:pt x="71" y="97"/>
                </a:cubicBezTo>
                <a:cubicBezTo>
                  <a:pt x="78" y="104"/>
                  <a:pt x="89" y="104"/>
                  <a:pt x="96" y="97"/>
                </a:cubicBezTo>
                <a:cubicBezTo>
                  <a:pt x="103" y="90"/>
                  <a:pt x="103" y="79"/>
                  <a:pt x="96" y="72"/>
                </a:cubicBezTo>
                <a:close/>
                <a:moveTo>
                  <a:pt x="250" y="138"/>
                </a:moveTo>
                <a:cubicBezTo>
                  <a:pt x="245" y="133"/>
                  <a:pt x="236" y="133"/>
                  <a:pt x="231" y="138"/>
                </a:cubicBezTo>
                <a:cubicBezTo>
                  <a:pt x="225" y="144"/>
                  <a:pt x="225" y="153"/>
                  <a:pt x="231" y="158"/>
                </a:cubicBezTo>
                <a:cubicBezTo>
                  <a:pt x="264" y="191"/>
                  <a:pt x="264" y="191"/>
                  <a:pt x="264" y="191"/>
                </a:cubicBezTo>
                <a:cubicBezTo>
                  <a:pt x="254" y="193"/>
                  <a:pt x="254" y="193"/>
                  <a:pt x="254" y="193"/>
                </a:cubicBezTo>
                <a:cubicBezTo>
                  <a:pt x="176" y="115"/>
                  <a:pt x="176" y="115"/>
                  <a:pt x="176" y="115"/>
                </a:cubicBezTo>
                <a:cubicBezTo>
                  <a:pt x="171" y="110"/>
                  <a:pt x="163" y="110"/>
                  <a:pt x="158" y="115"/>
                </a:cubicBezTo>
                <a:cubicBezTo>
                  <a:pt x="153" y="120"/>
                  <a:pt x="154" y="128"/>
                  <a:pt x="159" y="133"/>
                </a:cubicBezTo>
                <a:cubicBezTo>
                  <a:pt x="212" y="186"/>
                  <a:pt x="212" y="186"/>
                  <a:pt x="212" y="186"/>
                </a:cubicBezTo>
                <a:cubicBezTo>
                  <a:pt x="208" y="192"/>
                  <a:pt x="208" y="192"/>
                  <a:pt x="208" y="192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0" y="125"/>
                  <a:pt x="132" y="125"/>
                  <a:pt x="128" y="130"/>
                </a:cubicBezTo>
                <a:cubicBezTo>
                  <a:pt x="123" y="135"/>
                  <a:pt x="123" y="143"/>
                  <a:pt x="128" y="147"/>
                </a:cubicBezTo>
                <a:cubicBezTo>
                  <a:pt x="194" y="214"/>
                  <a:pt x="194" y="214"/>
                  <a:pt x="194" y="214"/>
                </a:cubicBezTo>
                <a:cubicBezTo>
                  <a:pt x="191" y="220"/>
                  <a:pt x="191" y="220"/>
                  <a:pt x="191" y="220"/>
                </a:cubicBezTo>
                <a:cubicBezTo>
                  <a:pt x="134" y="163"/>
                  <a:pt x="134" y="163"/>
                  <a:pt x="134" y="163"/>
                </a:cubicBezTo>
                <a:cubicBezTo>
                  <a:pt x="129" y="159"/>
                  <a:pt x="121" y="159"/>
                  <a:pt x="116" y="164"/>
                </a:cubicBezTo>
                <a:cubicBezTo>
                  <a:pt x="111" y="168"/>
                  <a:pt x="111" y="176"/>
                  <a:pt x="116" y="181"/>
                </a:cubicBezTo>
                <a:cubicBezTo>
                  <a:pt x="177" y="242"/>
                  <a:pt x="177" y="242"/>
                  <a:pt x="177" y="242"/>
                </a:cubicBezTo>
                <a:cubicBezTo>
                  <a:pt x="173" y="248"/>
                  <a:pt x="173" y="248"/>
                  <a:pt x="173" y="248"/>
                </a:cubicBezTo>
                <a:cubicBezTo>
                  <a:pt x="122" y="197"/>
                  <a:pt x="122" y="197"/>
                  <a:pt x="122" y="197"/>
                </a:cubicBezTo>
                <a:cubicBezTo>
                  <a:pt x="117" y="192"/>
                  <a:pt x="109" y="192"/>
                  <a:pt x="104" y="197"/>
                </a:cubicBezTo>
                <a:cubicBezTo>
                  <a:pt x="99" y="202"/>
                  <a:pt x="100" y="210"/>
                  <a:pt x="105" y="21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228" y="338"/>
                  <a:pt x="268" y="332"/>
                  <a:pt x="286" y="314"/>
                </a:cubicBezTo>
                <a:cubicBezTo>
                  <a:pt x="287" y="312"/>
                  <a:pt x="305" y="294"/>
                  <a:pt x="309" y="290"/>
                </a:cubicBezTo>
                <a:cubicBezTo>
                  <a:pt x="333" y="266"/>
                  <a:pt x="333" y="221"/>
                  <a:pt x="306" y="194"/>
                </a:cubicBezTo>
                <a:lnTo>
                  <a:pt x="250" y="138"/>
                </a:lnTo>
                <a:close/>
              </a:path>
            </a:pathLst>
          </a:custGeom>
          <a:solidFill>
            <a:srgbClr val="007ABD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292929"/>
              </a:solidFill>
              <a:latin typeface="Calibri" panose="020F0502020204030204"/>
            </a:endParaRPr>
          </a:p>
        </p:txBody>
      </p:sp>
      <p:grpSp>
        <p:nvGrpSpPr>
          <p:cNvPr id="153" name="Group 152"/>
          <p:cNvGrpSpPr/>
          <p:nvPr/>
        </p:nvGrpSpPr>
        <p:grpSpPr>
          <a:xfrm>
            <a:off x="6363902" y="2690419"/>
            <a:ext cx="792000" cy="792000"/>
            <a:chOff x="10004090" y="635195"/>
            <a:chExt cx="792000" cy="792000"/>
          </a:xfrm>
        </p:grpSpPr>
        <p:sp>
          <p:nvSpPr>
            <p:cNvPr id="154" name="Freeform 39"/>
            <p:cNvSpPr>
              <a:spLocks/>
            </p:cNvSpPr>
            <p:nvPr/>
          </p:nvSpPr>
          <p:spPr bwMode="black">
            <a:xfrm>
              <a:off x="10094868" y="759958"/>
              <a:ext cx="610444" cy="542474"/>
            </a:xfrm>
            <a:custGeom>
              <a:avLst/>
              <a:gdLst>
                <a:gd name="T0" fmla="*/ 267 w 535"/>
                <a:gd name="T1" fmla="*/ 476 h 477"/>
                <a:gd name="T2" fmla="*/ 15 w 535"/>
                <a:gd name="T3" fmla="*/ 208 h 477"/>
                <a:gd name="T4" fmla="*/ 0 w 535"/>
                <a:gd name="T5" fmla="*/ 140 h 477"/>
                <a:gd name="T6" fmla="*/ 141 w 535"/>
                <a:gd name="T7" fmla="*/ 0 h 477"/>
                <a:gd name="T8" fmla="*/ 268 w 535"/>
                <a:gd name="T9" fmla="*/ 80 h 477"/>
                <a:gd name="T10" fmla="*/ 394 w 535"/>
                <a:gd name="T11" fmla="*/ 0 h 477"/>
                <a:gd name="T12" fmla="*/ 535 w 535"/>
                <a:gd name="T13" fmla="*/ 140 h 477"/>
                <a:gd name="T14" fmla="*/ 520 w 535"/>
                <a:gd name="T15" fmla="*/ 208 h 477"/>
                <a:gd name="T16" fmla="*/ 269 w 535"/>
                <a:gd name="T17" fmla="*/ 476 h 477"/>
                <a:gd name="T18" fmla="*/ 268 w 535"/>
                <a:gd name="T19" fmla="*/ 477 h 477"/>
                <a:gd name="T20" fmla="*/ 267 w 535"/>
                <a:gd name="T21" fmla="*/ 476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5" h="477">
                  <a:moveTo>
                    <a:pt x="267" y="476"/>
                  </a:moveTo>
                  <a:cubicBezTo>
                    <a:pt x="247" y="461"/>
                    <a:pt x="55" y="310"/>
                    <a:pt x="15" y="208"/>
                  </a:cubicBezTo>
                  <a:cubicBezTo>
                    <a:pt x="8" y="189"/>
                    <a:pt x="0" y="162"/>
                    <a:pt x="0" y="140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197" y="0"/>
                    <a:pt x="245" y="33"/>
                    <a:pt x="268" y="80"/>
                  </a:cubicBezTo>
                  <a:cubicBezTo>
                    <a:pt x="290" y="33"/>
                    <a:pt x="339" y="0"/>
                    <a:pt x="394" y="0"/>
                  </a:cubicBezTo>
                  <a:cubicBezTo>
                    <a:pt x="472" y="0"/>
                    <a:pt x="535" y="63"/>
                    <a:pt x="535" y="140"/>
                  </a:cubicBezTo>
                  <a:cubicBezTo>
                    <a:pt x="535" y="162"/>
                    <a:pt x="527" y="189"/>
                    <a:pt x="520" y="208"/>
                  </a:cubicBezTo>
                  <a:cubicBezTo>
                    <a:pt x="480" y="310"/>
                    <a:pt x="288" y="461"/>
                    <a:pt x="269" y="476"/>
                  </a:cubicBezTo>
                  <a:cubicBezTo>
                    <a:pt x="268" y="477"/>
                    <a:pt x="268" y="477"/>
                    <a:pt x="268" y="477"/>
                  </a:cubicBezTo>
                  <a:lnTo>
                    <a:pt x="267" y="476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en-US" sz="1600" dirty="0">
                <a:solidFill>
                  <a:srgbClr val="737373"/>
                </a:solidFill>
                <a:latin typeface="Calibri" panose="020F0502020204030204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10004090" y="63519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9663" y="2759784"/>
            <a:ext cx="792000" cy="744533"/>
            <a:chOff x="10014379" y="819904"/>
            <a:chExt cx="792000" cy="792000"/>
          </a:xfrm>
        </p:grpSpPr>
        <p:sp>
          <p:nvSpPr>
            <p:cNvPr id="166" name="Freeform 7"/>
            <p:cNvSpPr>
              <a:spLocks noEditPoints="1"/>
            </p:cNvSpPr>
            <p:nvPr/>
          </p:nvSpPr>
          <p:spPr bwMode="auto">
            <a:xfrm>
              <a:off x="10091962" y="898003"/>
              <a:ext cx="636834" cy="635803"/>
            </a:xfrm>
            <a:custGeom>
              <a:avLst/>
              <a:gdLst>
                <a:gd name="T0" fmla="*/ 278 w 306"/>
                <a:gd name="T1" fmla="*/ 15 h 329"/>
                <a:gd name="T2" fmla="*/ 256 w 306"/>
                <a:gd name="T3" fmla="*/ 22 h 329"/>
                <a:gd name="T4" fmla="*/ 248 w 306"/>
                <a:gd name="T5" fmla="*/ 0 h 329"/>
                <a:gd name="T6" fmla="*/ 56 w 306"/>
                <a:gd name="T7" fmla="*/ 15 h 329"/>
                <a:gd name="T8" fmla="*/ 34 w 306"/>
                <a:gd name="T9" fmla="*/ 22 h 329"/>
                <a:gd name="T10" fmla="*/ 26 w 306"/>
                <a:gd name="T11" fmla="*/ 0 h 329"/>
                <a:gd name="T12" fmla="*/ 0 w 306"/>
                <a:gd name="T13" fmla="*/ 329 h 329"/>
                <a:gd name="T14" fmla="*/ 25 w 306"/>
                <a:gd name="T15" fmla="*/ 314 h 329"/>
                <a:gd name="T16" fmla="*/ 48 w 306"/>
                <a:gd name="T17" fmla="*/ 306 h 329"/>
                <a:gd name="T18" fmla="*/ 55 w 306"/>
                <a:gd name="T19" fmla="*/ 329 h 329"/>
                <a:gd name="T20" fmla="*/ 249 w 306"/>
                <a:gd name="T21" fmla="*/ 314 h 329"/>
                <a:gd name="T22" fmla="*/ 271 w 306"/>
                <a:gd name="T23" fmla="*/ 306 h 329"/>
                <a:gd name="T24" fmla="*/ 279 w 306"/>
                <a:gd name="T25" fmla="*/ 329 h 329"/>
                <a:gd name="T26" fmla="*/ 306 w 306"/>
                <a:gd name="T27" fmla="*/ 0 h 329"/>
                <a:gd name="T28" fmla="*/ 56 w 306"/>
                <a:gd name="T29" fmla="*/ 250 h 329"/>
                <a:gd name="T30" fmla="*/ 34 w 306"/>
                <a:gd name="T31" fmla="*/ 258 h 329"/>
                <a:gd name="T32" fmla="*/ 26 w 306"/>
                <a:gd name="T33" fmla="*/ 236 h 329"/>
                <a:gd name="T34" fmla="*/ 49 w 306"/>
                <a:gd name="T35" fmla="*/ 228 h 329"/>
                <a:gd name="T36" fmla="*/ 56 w 306"/>
                <a:gd name="T37" fmla="*/ 250 h 329"/>
                <a:gd name="T38" fmla="*/ 49 w 306"/>
                <a:gd name="T39" fmla="*/ 179 h 329"/>
                <a:gd name="T40" fmla="*/ 26 w 306"/>
                <a:gd name="T41" fmla="*/ 172 h 329"/>
                <a:gd name="T42" fmla="*/ 34 w 306"/>
                <a:gd name="T43" fmla="*/ 150 h 329"/>
                <a:gd name="T44" fmla="*/ 56 w 306"/>
                <a:gd name="T45" fmla="*/ 157 h 329"/>
                <a:gd name="T46" fmla="*/ 56 w 306"/>
                <a:gd name="T47" fmla="*/ 93 h 329"/>
                <a:gd name="T48" fmla="*/ 34 w 306"/>
                <a:gd name="T49" fmla="*/ 101 h 329"/>
                <a:gd name="T50" fmla="*/ 26 w 306"/>
                <a:gd name="T51" fmla="*/ 79 h 329"/>
                <a:gd name="T52" fmla="*/ 49 w 306"/>
                <a:gd name="T53" fmla="*/ 71 h 329"/>
                <a:gd name="T54" fmla="*/ 56 w 306"/>
                <a:gd name="T55" fmla="*/ 93 h 329"/>
                <a:gd name="T56" fmla="*/ 83 w 306"/>
                <a:gd name="T57" fmla="*/ 295 h 329"/>
                <a:gd name="T58" fmla="*/ 222 w 306"/>
                <a:gd name="T59" fmla="*/ 183 h 329"/>
                <a:gd name="T60" fmla="*/ 222 w 306"/>
                <a:gd name="T61" fmla="*/ 146 h 329"/>
                <a:gd name="T62" fmla="*/ 83 w 306"/>
                <a:gd name="T63" fmla="*/ 34 h 329"/>
                <a:gd name="T64" fmla="*/ 222 w 306"/>
                <a:gd name="T65" fmla="*/ 146 h 329"/>
                <a:gd name="T66" fmla="*/ 270 w 306"/>
                <a:gd name="T67" fmla="*/ 258 h 329"/>
                <a:gd name="T68" fmla="*/ 248 w 306"/>
                <a:gd name="T69" fmla="*/ 250 h 329"/>
                <a:gd name="T70" fmla="*/ 256 w 306"/>
                <a:gd name="T71" fmla="*/ 228 h 329"/>
                <a:gd name="T72" fmla="*/ 278 w 306"/>
                <a:gd name="T73" fmla="*/ 236 h 329"/>
                <a:gd name="T74" fmla="*/ 278 w 306"/>
                <a:gd name="T75" fmla="*/ 172 h 329"/>
                <a:gd name="T76" fmla="*/ 256 w 306"/>
                <a:gd name="T77" fmla="*/ 179 h 329"/>
                <a:gd name="T78" fmla="*/ 248 w 306"/>
                <a:gd name="T79" fmla="*/ 157 h 329"/>
                <a:gd name="T80" fmla="*/ 270 w 306"/>
                <a:gd name="T81" fmla="*/ 150 h 329"/>
                <a:gd name="T82" fmla="*/ 278 w 306"/>
                <a:gd name="T83" fmla="*/ 172 h 329"/>
                <a:gd name="T84" fmla="*/ 270 w 306"/>
                <a:gd name="T85" fmla="*/ 101 h 329"/>
                <a:gd name="T86" fmla="*/ 248 w 306"/>
                <a:gd name="T87" fmla="*/ 93 h 329"/>
                <a:gd name="T88" fmla="*/ 256 w 306"/>
                <a:gd name="T89" fmla="*/ 71 h 329"/>
                <a:gd name="T90" fmla="*/ 278 w 306"/>
                <a:gd name="T91" fmla="*/ 7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329">
                  <a:moveTo>
                    <a:pt x="278" y="0"/>
                  </a:moveTo>
                  <a:cubicBezTo>
                    <a:pt x="278" y="15"/>
                    <a:pt x="278" y="15"/>
                    <a:pt x="278" y="15"/>
                  </a:cubicBezTo>
                  <a:cubicBezTo>
                    <a:pt x="278" y="19"/>
                    <a:pt x="275" y="22"/>
                    <a:pt x="270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2" y="22"/>
                    <a:pt x="248" y="19"/>
                    <a:pt x="248" y="15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0" y="22"/>
                    <a:pt x="26" y="19"/>
                    <a:pt x="26" y="1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25" y="329"/>
                    <a:pt x="25" y="329"/>
                    <a:pt x="25" y="329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0"/>
                    <a:pt x="29" y="306"/>
                    <a:pt x="33" y="306"/>
                  </a:cubicBezTo>
                  <a:cubicBezTo>
                    <a:pt x="48" y="306"/>
                    <a:pt x="48" y="306"/>
                    <a:pt x="48" y="306"/>
                  </a:cubicBezTo>
                  <a:cubicBezTo>
                    <a:pt x="52" y="306"/>
                    <a:pt x="55" y="310"/>
                    <a:pt x="55" y="314"/>
                  </a:cubicBezTo>
                  <a:cubicBezTo>
                    <a:pt x="55" y="329"/>
                    <a:pt x="55" y="329"/>
                    <a:pt x="55" y="329"/>
                  </a:cubicBezTo>
                  <a:cubicBezTo>
                    <a:pt x="249" y="329"/>
                    <a:pt x="249" y="329"/>
                    <a:pt x="249" y="329"/>
                  </a:cubicBezTo>
                  <a:cubicBezTo>
                    <a:pt x="249" y="314"/>
                    <a:pt x="249" y="314"/>
                    <a:pt x="249" y="314"/>
                  </a:cubicBezTo>
                  <a:cubicBezTo>
                    <a:pt x="249" y="310"/>
                    <a:pt x="253" y="306"/>
                    <a:pt x="257" y="306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6" y="306"/>
                    <a:pt x="279" y="310"/>
                    <a:pt x="279" y="314"/>
                  </a:cubicBezTo>
                  <a:cubicBezTo>
                    <a:pt x="279" y="329"/>
                    <a:pt x="279" y="329"/>
                    <a:pt x="279" y="329"/>
                  </a:cubicBezTo>
                  <a:cubicBezTo>
                    <a:pt x="306" y="329"/>
                    <a:pt x="306" y="329"/>
                    <a:pt x="306" y="329"/>
                  </a:cubicBezTo>
                  <a:cubicBezTo>
                    <a:pt x="306" y="0"/>
                    <a:pt x="306" y="0"/>
                    <a:pt x="306" y="0"/>
                  </a:cubicBezTo>
                  <a:lnTo>
                    <a:pt x="278" y="0"/>
                  </a:lnTo>
                  <a:close/>
                  <a:moveTo>
                    <a:pt x="56" y="250"/>
                  </a:moveTo>
                  <a:cubicBezTo>
                    <a:pt x="56" y="254"/>
                    <a:pt x="53" y="258"/>
                    <a:pt x="49" y="258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0" y="258"/>
                    <a:pt x="26" y="254"/>
                    <a:pt x="26" y="25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1"/>
                    <a:pt x="30" y="228"/>
                    <a:pt x="34" y="228"/>
                  </a:cubicBezTo>
                  <a:cubicBezTo>
                    <a:pt x="49" y="228"/>
                    <a:pt x="49" y="228"/>
                    <a:pt x="49" y="228"/>
                  </a:cubicBezTo>
                  <a:cubicBezTo>
                    <a:pt x="53" y="228"/>
                    <a:pt x="56" y="231"/>
                    <a:pt x="56" y="236"/>
                  </a:cubicBezTo>
                  <a:lnTo>
                    <a:pt x="56" y="250"/>
                  </a:lnTo>
                  <a:close/>
                  <a:moveTo>
                    <a:pt x="56" y="172"/>
                  </a:moveTo>
                  <a:cubicBezTo>
                    <a:pt x="56" y="176"/>
                    <a:pt x="53" y="179"/>
                    <a:pt x="49" y="179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0" y="179"/>
                    <a:pt x="26" y="176"/>
                    <a:pt x="26" y="172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6" y="153"/>
                    <a:pt x="30" y="150"/>
                    <a:pt x="34" y="150"/>
                  </a:cubicBezTo>
                  <a:cubicBezTo>
                    <a:pt x="49" y="150"/>
                    <a:pt x="49" y="150"/>
                    <a:pt x="49" y="150"/>
                  </a:cubicBezTo>
                  <a:cubicBezTo>
                    <a:pt x="53" y="150"/>
                    <a:pt x="56" y="153"/>
                    <a:pt x="56" y="157"/>
                  </a:cubicBezTo>
                  <a:lnTo>
                    <a:pt x="56" y="172"/>
                  </a:lnTo>
                  <a:close/>
                  <a:moveTo>
                    <a:pt x="56" y="93"/>
                  </a:moveTo>
                  <a:cubicBezTo>
                    <a:pt x="56" y="97"/>
                    <a:pt x="53" y="101"/>
                    <a:pt x="49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0" y="101"/>
                    <a:pt x="26" y="97"/>
                    <a:pt x="26" y="93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4"/>
                    <a:pt x="30" y="71"/>
                    <a:pt x="34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3" y="71"/>
                    <a:pt x="56" y="74"/>
                    <a:pt x="56" y="79"/>
                  </a:cubicBezTo>
                  <a:lnTo>
                    <a:pt x="56" y="93"/>
                  </a:lnTo>
                  <a:close/>
                  <a:moveTo>
                    <a:pt x="222" y="295"/>
                  </a:moveTo>
                  <a:cubicBezTo>
                    <a:pt x="83" y="295"/>
                    <a:pt x="83" y="295"/>
                    <a:pt x="83" y="295"/>
                  </a:cubicBezTo>
                  <a:cubicBezTo>
                    <a:pt x="83" y="183"/>
                    <a:pt x="83" y="183"/>
                    <a:pt x="83" y="183"/>
                  </a:cubicBezTo>
                  <a:cubicBezTo>
                    <a:pt x="222" y="183"/>
                    <a:pt x="222" y="183"/>
                    <a:pt x="222" y="183"/>
                  </a:cubicBezTo>
                  <a:lnTo>
                    <a:pt x="222" y="295"/>
                  </a:lnTo>
                  <a:close/>
                  <a:moveTo>
                    <a:pt x="222" y="146"/>
                  </a:moveTo>
                  <a:cubicBezTo>
                    <a:pt x="83" y="146"/>
                    <a:pt x="83" y="146"/>
                    <a:pt x="83" y="146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222" y="34"/>
                    <a:pt x="222" y="34"/>
                    <a:pt x="222" y="34"/>
                  </a:cubicBezTo>
                  <a:lnTo>
                    <a:pt x="222" y="146"/>
                  </a:lnTo>
                  <a:close/>
                  <a:moveTo>
                    <a:pt x="278" y="250"/>
                  </a:moveTo>
                  <a:cubicBezTo>
                    <a:pt x="278" y="254"/>
                    <a:pt x="275" y="258"/>
                    <a:pt x="270" y="258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2" y="258"/>
                    <a:pt x="248" y="254"/>
                    <a:pt x="248" y="250"/>
                  </a:cubicBezTo>
                  <a:cubicBezTo>
                    <a:pt x="248" y="236"/>
                    <a:pt x="248" y="236"/>
                    <a:pt x="248" y="236"/>
                  </a:cubicBezTo>
                  <a:cubicBezTo>
                    <a:pt x="248" y="231"/>
                    <a:pt x="252" y="228"/>
                    <a:pt x="256" y="228"/>
                  </a:cubicBezTo>
                  <a:cubicBezTo>
                    <a:pt x="270" y="228"/>
                    <a:pt x="270" y="228"/>
                    <a:pt x="270" y="228"/>
                  </a:cubicBezTo>
                  <a:cubicBezTo>
                    <a:pt x="275" y="228"/>
                    <a:pt x="278" y="231"/>
                    <a:pt x="278" y="236"/>
                  </a:cubicBezTo>
                  <a:lnTo>
                    <a:pt x="278" y="250"/>
                  </a:lnTo>
                  <a:close/>
                  <a:moveTo>
                    <a:pt x="278" y="172"/>
                  </a:moveTo>
                  <a:cubicBezTo>
                    <a:pt x="278" y="176"/>
                    <a:pt x="275" y="179"/>
                    <a:pt x="270" y="179"/>
                  </a:cubicBezTo>
                  <a:cubicBezTo>
                    <a:pt x="256" y="179"/>
                    <a:pt x="256" y="179"/>
                    <a:pt x="256" y="179"/>
                  </a:cubicBezTo>
                  <a:cubicBezTo>
                    <a:pt x="252" y="179"/>
                    <a:pt x="248" y="176"/>
                    <a:pt x="248" y="17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48" y="153"/>
                    <a:pt x="252" y="150"/>
                    <a:pt x="256" y="150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5" y="150"/>
                    <a:pt x="278" y="153"/>
                    <a:pt x="278" y="157"/>
                  </a:cubicBezTo>
                  <a:lnTo>
                    <a:pt x="278" y="172"/>
                  </a:lnTo>
                  <a:close/>
                  <a:moveTo>
                    <a:pt x="278" y="93"/>
                  </a:moveTo>
                  <a:cubicBezTo>
                    <a:pt x="278" y="97"/>
                    <a:pt x="275" y="101"/>
                    <a:pt x="270" y="101"/>
                  </a:cubicBezTo>
                  <a:cubicBezTo>
                    <a:pt x="256" y="101"/>
                    <a:pt x="256" y="101"/>
                    <a:pt x="256" y="101"/>
                  </a:cubicBezTo>
                  <a:cubicBezTo>
                    <a:pt x="252" y="101"/>
                    <a:pt x="248" y="97"/>
                    <a:pt x="248" y="93"/>
                  </a:cubicBezTo>
                  <a:cubicBezTo>
                    <a:pt x="248" y="79"/>
                    <a:pt x="248" y="79"/>
                    <a:pt x="248" y="79"/>
                  </a:cubicBezTo>
                  <a:cubicBezTo>
                    <a:pt x="248" y="74"/>
                    <a:pt x="252" y="71"/>
                    <a:pt x="256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5" y="71"/>
                    <a:pt x="278" y="74"/>
                    <a:pt x="278" y="79"/>
                  </a:cubicBezTo>
                  <a:lnTo>
                    <a:pt x="278" y="93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124342" tIns="62170" rIns="124342" bIns="62170" numCol="1" rtlCol="0" anchor="ctr" anchorCtr="0" compatLnSpc="1">
              <a:prstTxWarp prst="textNoShape">
                <a:avLst/>
              </a:prstTxWarp>
            </a:bodyPr>
            <a:lstStyle/>
            <a:p>
              <a:pPr defTabSz="822725"/>
              <a:endParaRPr lang="en-US" sz="1600" spc="-135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10014379" y="81990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720466" y="490411"/>
            <a:ext cx="792000" cy="792000"/>
            <a:chOff x="9829724" y="549643"/>
            <a:chExt cx="792000" cy="792000"/>
          </a:xfrm>
        </p:grpSpPr>
        <p:sp>
          <p:nvSpPr>
            <p:cNvPr id="178" name="Freeform 73"/>
            <p:cNvSpPr>
              <a:spLocks noEditPoints="1"/>
            </p:cNvSpPr>
            <p:nvPr/>
          </p:nvSpPr>
          <p:spPr bwMode="black">
            <a:xfrm>
              <a:off x="9863647" y="583285"/>
              <a:ext cx="724155" cy="724717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0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algn="ctr" defTabSz="912354"/>
              <a:endPara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9829724" y="54964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-22102" y="494112"/>
            <a:ext cx="792000" cy="792000"/>
            <a:chOff x="10249420" y="648438"/>
            <a:chExt cx="792000" cy="792000"/>
          </a:xfrm>
        </p:grpSpPr>
        <p:grpSp>
          <p:nvGrpSpPr>
            <p:cNvPr id="181" name="Group 180"/>
            <p:cNvGrpSpPr/>
            <p:nvPr/>
          </p:nvGrpSpPr>
          <p:grpSpPr>
            <a:xfrm>
              <a:off x="10273351" y="929565"/>
              <a:ext cx="744138" cy="229747"/>
              <a:chOff x="1351520" y="3218788"/>
              <a:chExt cx="1108909" cy="342367"/>
            </a:xfrm>
          </p:grpSpPr>
          <p:sp>
            <p:nvSpPr>
              <p:cNvPr id="183" name="Freeform 131"/>
              <p:cNvSpPr>
                <a:spLocks/>
              </p:cNvSpPr>
              <p:nvPr/>
            </p:nvSpPr>
            <p:spPr bwMode="black">
              <a:xfrm>
                <a:off x="1961478" y="3224630"/>
                <a:ext cx="498951" cy="320164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84" name="Freeform 132"/>
              <p:cNvSpPr>
                <a:spLocks/>
              </p:cNvSpPr>
              <p:nvPr/>
            </p:nvSpPr>
            <p:spPr bwMode="black">
              <a:xfrm>
                <a:off x="1351520" y="3218788"/>
                <a:ext cx="512974" cy="342367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defTabSz="1218907"/>
                <a:endParaRPr lang="en-US" sz="160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82" name="Rectangle 181"/>
            <p:cNvSpPr/>
            <p:nvPr/>
          </p:nvSpPr>
          <p:spPr>
            <a:xfrm>
              <a:off x="10249420" y="6484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-25383" y="1238317"/>
            <a:ext cx="792000" cy="792000"/>
            <a:chOff x="9738795" y="614154"/>
            <a:chExt cx="792000" cy="792000"/>
          </a:xfrm>
        </p:grpSpPr>
        <p:sp>
          <p:nvSpPr>
            <p:cNvPr id="186" name="Rectangle 11"/>
            <p:cNvSpPr/>
            <p:nvPr/>
          </p:nvSpPr>
          <p:spPr>
            <a:xfrm>
              <a:off x="9865641" y="725015"/>
              <a:ext cx="538309" cy="570278"/>
            </a:xfrm>
            <a:custGeom>
              <a:avLst/>
              <a:gdLst>
                <a:gd name="connsiteX0" fmla="*/ 0 w 1710959"/>
                <a:gd name="connsiteY0" fmla="*/ 0 h 1981200"/>
                <a:gd name="connsiteX1" fmla="*/ 1710959 w 1710959"/>
                <a:gd name="connsiteY1" fmla="*/ 0 h 1981200"/>
                <a:gd name="connsiteX2" fmla="*/ 1710959 w 1710959"/>
                <a:gd name="connsiteY2" fmla="*/ 1981200 h 1981200"/>
                <a:gd name="connsiteX3" fmla="*/ 0 w 1710959"/>
                <a:gd name="connsiteY3" fmla="*/ 1981200 h 1981200"/>
                <a:gd name="connsiteX4" fmla="*/ 0 w 1710959"/>
                <a:gd name="connsiteY4" fmla="*/ 0 h 1981200"/>
                <a:gd name="connsiteX0" fmla="*/ 696848 w 1710959"/>
                <a:gd name="connsiteY0" fmla="*/ 1356304 h 1981200"/>
                <a:gd name="connsiteX1" fmla="*/ 1710959 w 1710959"/>
                <a:gd name="connsiteY1" fmla="*/ 0 h 1981200"/>
                <a:gd name="connsiteX2" fmla="*/ 1710959 w 1710959"/>
                <a:gd name="connsiteY2" fmla="*/ 1981200 h 1981200"/>
                <a:gd name="connsiteX3" fmla="*/ 0 w 1710959"/>
                <a:gd name="connsiteY3" fmla="*/ 1981200 h 1981200"/>
                <a:gd name="connsiteX4" fmla="*/ 696848 w 1710959"/>
                <a:gd name="connsiteY4" fmla="*/ 1356304 h 1981200"/>
                <a:gd name="connsiteX0" fmla="*/ 696848 w 1710959"/>
                <a:gd name="connsiteY0" fmla="*/ 1356304 h 1981200"/>
                <a:gd name="connsiteX1" fmla="*/ 1531083 w 1710959"/>
                <a:gd name="connsiteY1" fmla="*/ 37675 h 1981200"/>
                <a:gd name="connsiteX2" fmla="*/ 1710959 w 1710959"/>
                <a:gd name="connsiteY2" fmla="*/ 0 h 1981200"/>
                <a:gd name="connsiteX3" fmla="*/ 1710959 w 1710959"/>
                <a:gd name="connsiteY3" fmla="*/ 1981200 h 1981200"/>
                <a:gd name="connsiteX4" fmla="*/ 0 w 1710959"/>
                <a:gd name="connsiteY4" fmla="*/ 1981200 h 1981200"/>
                <a:gd name="connsiteX5" fmla="*/ 696848 w 1710959"/>
                <a:gd name="connsiteY5" fmla="*/ 1356304 h 1981200"/>
                <a:gd name="connsiteX0" fmla="*/ 696848 w 1714359"/>
                <a:gd name="connsiteY0" fmla="*/ 1322312 h 1947208"/>
                <a:gd name="connsiteX1" fmla="*/ 1531083 w 1714359"/>
                <a:gd name="connsiteY1" fmla="*/ 3683 h 1947208"/>
                <a:gd name="connsiteX2" fmla="*/ 1714359 w 1714359"/>
                <a:gd name="connsiteY2" fmla="*/ 0 h 1947208"/>
                <a:gd name="connsiteX3" fmla="*/ 1710959 w 1714359"/>
                <a:gd name="connsiteY3" fmla="*/ 1947208 h 1947208"/>
                <a:gd name="connsiteX4" fmla="*/ 0 w 1714359"/>
                <a:gd name="connsiteY4" fmla="*/ 1947208 h 1947208"/>
                <a:gd name="connsiteX5" fmla="*/ 696848 w 1714359"/>
                <a:gd name="connsiteY5" fmla="*/ 1322312 h 1947208"/>
                <a:gd name="connsiteX0" fmla="*/ 696848 w 1724556"/>
                <a:gd name="connsiteY0" fmla="*/ 1318913 h 1943809"/>
                <a:gd name="connsiteX1" fmla="*/ 1531083 w 1724556"/>
                <a:gd name="connsiteY1" fmla="*/ 284 h 1943809"/>
                <a:gd name="connsiteX2" fmla="*/ 1724556 w 1724556"/>
                <a:gd name="connsiteY2" fmla="*/ 0 h 1943809"/>
                <a:gd name="connsiteX3" fmla="*/ 1710959 w 1724556"/>
                <a:gd name="connsiteY3" fmla="*/ 1943809 h 1943809"/>
                <a:gd name="connsiteX4" fmla="*/ 0 w 1724556"/>
                <a:gd name="connsiteY4" fmla="*/ 1943809 h 1943809"/>
                <a:gd name="connsiteX5" fmla="*/ 696848 w 1724556"/>
                <a:gd name="connsiteY5" fmla="*/ 1318913 h 1943809"/>
                <a:gd name="connsiteX0" fmla="*/ 696848 w 1711000"/>
                <a:gd name="connsiteY0" fmla="*/ 1318913 h 1943809"/>
                <a:gd name="connsiteX1" fmla="*/ 1531083 w 1711000"/>
                <a:gd name="connsiteY1" fmla="*/ 284 h 1943809"/>
                <a:gd name="connsiteX2" fmla="*/ 1690564 w 1711000"/>
                <a:gd name="connsiteY2" fmla="*/ 0 h 1943809"/>
                <a:gd name="connsiteX3" fmla="*/ 1710959 w 1711000"/>
                <a:gd name="connsiteY3" fmla="*/ 1943809 h 1943809"/>
                <a:gd name="connsiteX4" fmla="*/ 0 w 1711000"/>
                <a:gd name="connsiteY4" fmla="*/ 1943809 h 1943809"/>
                <a:gd name="connsiteX5" fmla="*/ 696848 w 1711000"/>
                <a:gd name="connsiteY5" fmla="*/ 1318913 h 1943809"/>
                <a:gd name="connsiteX0" fmla="*/ 696848 w 1711000"/>
                <a:gd name="connsiteY0" fmla="*/ 1318913 h 1943809"/>
                <a:gd name="connsiteX1" fmla="*/ 1561676 w 1711000"/>
                <a:gd name="connsiteY1" fmla="*/ 284 h 1943809"/>
                <a:gd name="connsiteX2" fmla="*/ 1690564 w 1711000"/>
                <a:gd name="connsiteY2" fmla="*/ 0 h 1943809"/>
                <a:gd name="connsiteX3" fmla="*/ 1710959 w 1711000"/>
                <a:gd name="connsiteY3" fmla="*/ 1943809 h 1943809"/>
                <a:gd name="connsiteX4" fmla="*/ 0 w 1711000"/>
                <a:gd name="connsiteY4" fmla="*/ 1943809 h 1943809"/>
                <a:gd name="connsiteX5" fmla="*/ 696848 w 1711000"/>
                <a:gd name="connsiteY5" fmla="*/ 1318913 h 1943809"/>
                <a:gd name="connsiteX0" fmla="*/ 435105 w 1449257"/>
                <a:gd name="connsiteY0" fmla="*/ 1318913 h 1943809"/>
                <a:gd name="connsiteX1" fmla="*/ 1299933 w 1449257"/>
                <a:gd name="connsiteY1" fmla="*/ 284 h 1943809"/>
                <a:gd name="connsiteX2" fmla="*/ 1428821 w 1449257"/>
                <a:gd name="connsiteY2" fmla="*/ 0 h 1943809"/>
                <a:gd name="connsiteX3" fmla="*/ 1449216 w 1449257"/>
                <a:gd name="connsiteY3" fmla="*/ 1943809 h 1943809"/>
                <a:gd name="connsiteX4" fmla="*/ 0 w 1449257"/>
                <a:gd name="connsiteY4" fmla="*/ 910435 h 1943809"/>
                <a:gd name="connsiteX5" fmla="*/ 435105 w 1449257"/>
                <a:gd name="connsiteY5" fmla="*/ 1318913 h 1943809"/>
                <a:gd name="connsiteX0" fmla="*/ 671637 w 1685789"/>
                <a:gd name="connsiteY0" fmla="*/ 1318913 h 1943809"/>
                <a:gd name="connsiteX1" fmla="*/ 1536465 w 1685789"/>
                <a:gd name="connsiteY1" fmla="*/ 284 h 1943809"/>
                <a:gd name="connsiteX2" fmla="*/ 1665353 w 1685789"/>
                <a:gd name="connsiteY2" fmla="*/ 0 h 1943809"/>
                <a:gd name="connsiteX3" fmla="*/ 1685748 w 1685789"/>
                <a:gd name="connsiteY3" fmla="*/ 1943809 h 1943809"/>
                <a:gd name="connsiteX4" fmla="*/ 0 w 1685789"/>
                <a:gd name="connsiteY4" fmla="*/ 1193423 h 1943809"/>
                <a:gd name="connsiteX5" fmla="*/ 236532 w 1685789"/>
                <a:gd name="connsiteY5" fmla="*/ 910435 h 1943809"/>
                <a:gd name="connsiteX6" fmla="*/ 671637 w 1685789"/>
                <a:gd name="connsiteY6" fmla="*/ 1318913 h 1943809"/>
                <a:gd name="connsiteX0" fmla="*/ 671637 w 1665353"/>
                <a:gd name="connsiteY0" fmla="*/ 1318913 h 1753450"/>
                <a:gd name="connsiteX1" fmla="*/ 1536465 w 1665353"/>
                <a:gd name="connsiteY1" fmla="*/ 284 h 1753450"/>
                <a:gd name="connsiteX2" fmla="*/ 1665353 w 1665353"/>
                <a:gd name="connsiteY2" fmla="*/ 0 h 1753450"/>
                <a:gd name="connsiteX3" fmla="*/ 771348 w 1665353"/>
                <a:gd name="connsiteY3" fmla="*/ 1753450 h 1753450"/>
                <a:gd name="connsiteX4" fmla="*/ 0 w 1665353"/>
                <a:gd name="connsiteY4" fmla="*/ 1193423 h 1753450"/>
                <a:gd name="connsiteX5" fmla="*/ 236532 w 1665353"/>
                <a:gd name="connsiteY5" fmla="*/ 910435 h 1753450"/>
                <a:gd name="connsiteX6" fmla="*/ 671637 w 1665353"/>
                <a:gd name="connsiteY6" fmla="*/ 1318913 h 1753450"/>
                <a:gd name="connsiteX0" fmla="*/ 651242 w 1644958"/>
                <a:gd name="connsiteY0" fmla="*/ 1318913 h 1753450"/>
                <a:gd name="connsiteX1" fmla="*/ 1516070 w 1644958"/>
                <a:gd name="connsiteY1" fmla="*/ 284 h 1753450"/>
                <a:gd name="connsiteX2" fmla="*/ 1644958 w 1644958"/>
                <a:gd name="connsiteY2" fmla="*/ 0 h 1753450"/>
                <a:gd name="connsiteX3" fmla="*/ 750953 w 1644958"/>
                <a:gd name="connsiteY3" fmla="*/ 1753450 h 1753450"/>
                <a:gd name="connsiteX4" fmla="*/ 0 w 1644958"/>
                <a:gd name="connsiteY4" fmla="*/ 1217218 h 1753450"/>
                <a:gd name="connsiteX5" fmla="*/ 216137 w 1644958"/>
                <a:gd name="connsiteY5" fmla="*/ 910435 h 1753450"/>
                <a:gd name="connsiteX6" fmla="*/ 651242 w 1644958"/>
                <a:gd name="connsiteY6" fmla="*/ 1318913 h 1753450"/>
                <a:gd name="connsiteX0" fmla="*/ 661439 w 1655155"/>
                <a:gd name="connsiteY0" fmla="*/ 1318913 h 1753450"/>
                <a:gd name="connsiteX1" fmla="*/ 1526267 w 1655155"/>
                <a:gd name="connsiteY1" fmla="*/ 284 h 1753450"/>
                <a:gd name="connsiteX2" fmla="*/ 1655155 w 1655155"/>
                <a:gd name="connsiteY2" fmla="*/ 0 h 1753450"/>
                <a:gd name="connsiteX3" fmla="*/ 761150 w 1655155"/>
                <a:gd name="connsiteY3" fmla="*/ 1753450 h 1753450"/>
                <a:gd name="connsiteX4" fmla="*/ 0 w 1655155"/>
                <a:gd name="connsiteY4" fmla="*/ 1213819 h 1753450"/>
                <a:gd name="connsiteX5" fmla="*/ 226334 w 1655155"/>
                <a:gd name="connsiteY5" fmla="*/ 910435 h 1753450"/>
                <a:gd name="connsiteX6" fmla="*/ 661439 w 1655155"/>
                <a:gd name="connsiteY6" fmla="*/ 1318913 h 1753450"/>
                <a:gd name="connsiteX0" fmla="*/ 661439 w 1655155"/>
                <a:gd name="connsiteY0" fmla="*/ 1318913 h 1753450"/>
                <a:gd name="connsiteX1" fmla="*/ 1526267 w 1655155"/>
                <a:gd name="connsiteY1" fmla="*/ 284 h 1753450"/>
                <a:gd name="connsiteX2" fmla="*/ 1655155 w 1655155"/>
                <a:gd name="connsiteY2" fmla="*/ 0 h 1753450"/>
                <a:gd name="connsiteX3" fmla="*/ 761150 w 1655155"/>
                <a:gd name="connsiteY3" fmla="*/ 1753450 h 1753450"/>
                <a:gd name="connsiteX4" fmla="*/ 0 w 1655155"/>
                <a:gd name="connsiteY4" fmla="*/ 1213819 h 1753450"/>
                <a:gd name="connsiteX5" fmla="*/ 226334 w 1655155"/>
                <a:gd name="connsiteY5" fmla="*/ 910435 h 1753450"/>
                <a:gd name="connsiteX6" fmla="*/ 661439 w 1655155"/>
                <a:gd name="connsiteY6" fmla="*/ 1318913 h 1753450"/>
                <a:gd name="connsiteX0" fmla="*/ 661439 w 1655155"/>
                <a:gd name="connsiteY0" fmla="*/ 1318913 h 1753450"/>
                <a:gd name="connsiteX1" fmla="*/ 1526267 w 1655155"/>
                <a:gd name="connsiteY1" fmla="*/ 284 h 1753450"/>
                <a:gd name="connsiteX2" fmla="*/ 1655155 w 1655155"/>
                <a:gd name="connsiteY2" fmla="*/ 0 h 1753450"/>
                <a:gd name="connsiteX3" fmla="*/ 761150 w 1655155"/>
                <a:gd name="connsiteY3" fmla="*/ 1753450 h 1753450"/>
                <a:gd name="connsiteX4" fmla="*/ 0 w 1655155"/>
                <a:gd name="connsiteY4" fmla="*/ 1213819 h 1753450"/>
                <a:gd name="connsiteX5" fmla="*/ 226334 w 1655155"/>
                <a:gd name="connsiteY5" fmla="*/ 910435 h 1753450"/>
                <a:gd name="connsiteX6" fmla="*/ 661439 w 1655155"/>
                <a:gd name="connsiteY6" fmla="*/ 1318913 h 1753450"/>
                <a:gd name="connsiteX0" fmla="*/ 611340 w 1655155"/>
                <a:gd name="connsiteY0" fmla="*/ 1338182 h 1753450"/>
                <a:gd name="connsiteX1" fmla="*/ 1526267 w 1655155"/>
                <a:gd name="connsiteY1" fmla="*/ 284 h 1753450"/>
                <a:gd name="connsiteX2" fmla="*/ 1655155 w 1655155"/>
                <a:gd name="connsiteY2" fmla="*/ 0 h 1753450"/>
                <a:gd name="connsiteX3" fmla="*/ 761150 w 1655155"/>
                <a:gd name="connsiteY3" fmla="*/ 1753450 h 1753450"/>
                <a:gd name="connsiteX4" fmla="*/ 0 w 1655155"/>
                <a:gd name="connsiteY4" fmla="*/ 1213819 h 1753450"/>
                <a:gd name="connsiteX5" fmla="*/ 226334 w 1655155"/>
                <a:gd name="connsiteY5" fmla="*/ 910435 h 1753450"/>
                <a:gd name="connsiteX6" fmla="*/ 611340 w 1655155"/>
                <a:gd name="connsiteY6" fmla="*/ 1338182 h 175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5155" h="1753450">
                  <a:moveTo>
                    <a:pt x="611340" y="1338182"/>
                  </a:moveTo>
                  <a:cubicBezTo>
                    <a:pt x="915479" y="928099"/>
                    <a:pt x="1222128" y="410367"/>
                    <a:pt x="1526267" y="284"/>
                  </a:cubicBezTo>
                  <a:lnTo>
                    <a:pt x="1655155" y="0"/>
                  </a:lnTo>
                  <a:cubicBezTo>
                    <a:pt x="756618" y="1743630"/>
                    <a:pt x="1652888" y="9820"/>
                    <a:pt x="761150" y="1753450"/>
                  </a:cubicBezTo>
                  <a:lnTo>
                    <a:pt x="0" y="1213819"/>
                  </a:lnTo>
                  <a:lnTo>
                    <a:pt x="226334" y="910435"/>
                  </a:lnTo>
                  <a:lnTo>
                    <a:pt x="611340" y="1338182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9738795" y="61415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728909" y="1278752"/>
            <a:ext cx="792000" cy="744533"/>
            <a:chOff x="10256478" y="629621"/>
            <a:chExt cx="792000" cy="792000"/>
          </a:xfrm>
        </p:grpSpPr>
        <p:sp>
          <p:nvSpPr>
            <p:cNvPr id="189" name="Freeform 188"/>
            <p:cNvSpPr/>
            <p:nvPr/>
          </p:nvSpPr>
          <p:spPr>
            <a:xfrm>
              <a:off x="10499843" y="686775"/>
              <a:ext cx="305270" cy="677692"/>
            </a:xfrm>
            <a:custGeom>
              <a:avLst/>
              <a:gdLst>
                <a:gd name="connsiteX0" fmla="*/ 72528 w 2348035"/>
                <a:gd name="connsiteY0" fmla="*/ 724707 h 5043648"/>
                <a:gd name="connsiteX1" fmla="*/ 98407 w 2348035"/>
                <a:gd name="connsiteY1" fmla="*/ 4399560 h 5043648"/>
                <a:gd name="connsiteX2" fmla="*/ 771268 w 2348035"/>
                <a:gd name="connsiteY2" fmla="*/ 4986156 h 5043648"/>
                <a:gd name="connsiteX3" fmla="*/ 1202589 w 2348035"/>
                <a:gd name="connsiteY3" fmla="*/ 4968903 h 5043648"/>
                <a:gd name="connsiteX4" fmla="*/ 1754679 w 2348035"/>
                <a:gd name="connsiteY4" fmla="*/ 4520330 h 5043648"/>
                <a:gd name="connsiteX5" fmla="*/ 1797811 w 2348035"/>
                <a:gd name="connsiteY5" fmla="*/ 1725371 h 5043648"/>
                <a:gd name="connsiteX6" fmla="*/ 1539019 w 2348035"/>
                <a:gd name="connsiteY6" fmla="*/ 1440700 h 5043648"/>
                <a:gd name="connsiteX7" fmla="*/ 1262974 w 2348035"/>
                <a:gd name="connsiteY7" fmla="*/ 1466579 h 5043648"/>
                <a:gd name="connsiteX8" fmla="*/ 1030060 w 2348035"/>
                <a:gd name="connsiteY8" fmla="*/ 1682239 h 5043648"/>
                <a:gd name="connsiteX9" fmla="*/ 995555 w 2348035"/>
                <a:gd name="connsiteY9" fmla="*/ 2717409 h 5043648"/>
                <a:gd name="connsiteX10" fmla="*/ 1193962 w 2348035"/>
                <a:gd name="connsiteY10" fmla="*/ 3045213 h 5043648"/>
                <a:gd name="connsiteX11" fmla="*/ 1513140 w 2348035"/>
                <a:gd name="connsiteY11" fmla="*/ 3045213 h 5043648"/>
                <a:gd name="connsiteX12" fmla="*/ 1478634 w 2348035"/>
                <a:gd name="connsiteY12" fmla="*/ 4339175 h 5043648"/>
                <a:gd name="connsiteX13" fmla="*/ 1090445 w 2348035"/>
                <a:gd name="connsiteY13" fmla="*/ 4718737 h 5043648"/>
                <a:gd name="connsiteX14" fmla="*/ 900664 w 2348035"/>
                <a:gd name="connsiteY14" fmla="*/ 4727364 h 5043648"/>
                <a:gd name="connsiteX15" fmla="*/ 452090 w 2348035"/>
                <a:gd name="connsiteY15" fmla="*/ 4347802 h 5043648"/>
                <a:gd name="connsiteX16" fmla="*/ 443464 w 2348035"/>
                <a:gd name="connsiteY16" fmla="*/ 871356 h 5043648"/>
                <a:gd name="connsiteX17" fmla="*/ 952423 w 2348035"/>
                <a:gd name="connsiteY17" fmla="*/ 440036 h 5043648"/>
                <a:gd name="connsiteX18" fmla="*/ 1366490 w 2348035"/>
                <a:gd name="connsiteY18" fmla="*/ 440036 h 5043648"/>
                <a:gd name="connsiteX19" fmla="*/ 1978966 w 2348035"/>
                <a:gd name="connsiteY19" fmla="*/ 957620 h 5043648"/>
                <a:gd name="connsiteX20" fmla="*/ 1978966 w 2348035"/>
                <a:gd name="connsiteY20" fmla="*/ 3994119 h 5043648"/>
                <a:gd name="connsiteX21" fmla="*/ 2065230 w 2348035"/>
                <a:gd name="connsiteY21" fmla="*/ 4063130 h 5043648"/>
                <a:gd name="connsiteX22" fmla="*/ 2211879 w 2348035"/>
                <a:gd name="connsiteY22" fmla="*/ 4106262 h 5043648"/>
                <a:gd name="connsiteX23" fmla="*/ 2280890 w 2348035"/>
                <a:gd name="connsiteY23" fmla="*/ 4002745 h 5043648"/>
                <a:gd name="connsiteX24" fmla="*/ 2298143 w 2348035"/>
                <a:gd name="connsiteY24" fmla="*/ 741960 h 5043648"/>
                <a:gd name="connsiteX25" fmla="*/ 1590777 w 2348035"/>
                <a:gd name="connsiteY25" fmla="*/ 86353 h 5043648"/>
                <a:gd name="connsiteX26" fmla="*/ 754015 w 2348035"/>
                <a:gd name="connsiteY26" fmla="*/ 77726 h 5043648"/>
                <a:gd name="connsiteX27" fmla="*/ 72528 w 2348035"/>
                <a:gd name="connsiteY27" fmla="*/ 724707 h 5043648"/>
                <a:gd name="connsiteX0" fmla="*/ 72528 w 2348035"/>
                <a:gd name="connsiteY0" fmla="*/ 724707 h 5043648"/>
                <a:gd name="connsiteX1" fmla="*/ 98407 w 2348035"/>
                <a:gd name="connsiteY1" fmla="*/ 4399560 h 5043648"/>
                <a:gd name="connsiteX2" fmla="*/ 771268 w 2348035"/>
                <a:gd name="connsiteY2" fmla="*/ 4986156 h 5043648"/>
                <a:gd name="connsiteX3" fmla="*/ 1202589 w 2348035"/>
                <a:gd name="connsiteY3" fmla="*/ 4968903 h 5043648"/>
                <a:gd name="connsiteX4" fmla="*/ 1754679 w 2348035"/>
                <a:gd name="connsiteY4" fmla="*/ 4520330 h 5043648"/>
                <a:gd name="connsiteX5" fmla="*/ 1797811 w 2348035"/>
                <a:gd name="connsiteY5" fmla="*/ 1725371 h 5043648"/>
                <a:gd name="connsiteX6" fmla="*/ 1539019 w 2348035"/>
                <a:gd name="connsiteY6" fmla="*/ 1440700 h 5043648"/>
                <a:gd name="connsiteX7" fmla="*/ 1262974 w 2348035"/>
                <a:gd name="connsiteY7" fmla="*/ 1466579 h 5043648"/>
                <a:gd name="connsiteX8" fmla="*/ 1030060 w 2348035"/>
                <a:gd name="connsiteY8" fmla="*/ 1682239 h 5043648"/>
                <a:gd name="connsiteX9" fmla="*/ 995555 w 2348035"/>
                <a:gd name="connsiteY9" fmla="*/ 2717409 h 5043648"/>
                <a:gd name="connsiteX10" fmla="*/ 1193962 w 2348035"/>
                <a:gd name="connsiteY10" fmla="*/ 3045213 h 5043648"/>
                <a:gd name="connsiteX11" fmla="*/ 1513140 w 2348035"/>
                <a:gd name="connsiteY11" fmla="*/ 3045213 h 5043648"/>
                <a:gd name="connsiteX12" fmla="*/ 1478634 w 2348035"/>
                <a:gd name="connsiteY12" fmla="*/ 4339175 h 5043648"/>
                <a:gd name="connsiteX13" fmla="*/ 1090445 w 2348035"/>
                <a:gd name="connsiteY13" fmla="*/ 4718737 h 5043648"/>
                <a:gd name="connsiteX14" fmla="*/ 900664 w 2348035"/>
                <a:gd name="connsiteY14" fmla="*/ 4727364 h 5043648"/>
                <a:gd name="connsiteX15" fmla="*/ 452090 w 2348035"/>
                <a:gd name="connsiteY15" fmla="*/ 4347802 h 5043648"/>
                <a:gd name="connsiteX16" fmla="*/ 443464 w 2348035"/>
                <a:gd name="connsiteY16" fmla="*/ 871356 h 5043648"/>
                <a:gd name="connsiteX17" fmla="*/ 952423 w 2348035"/>
                <a:gd name="connsiteY17" fmla="*/ 440036 h 5043648"/>
                <a:gd name="connsiteX18" fmla="*/ 1366490 w 2348035"/>
                <a:gd name="connsiteY18" fmla="*/ 440036 h 5043648"/>
                <a:gd name="connsiteX19" fmla="*/ 1978966 w 2348035"/>
                <a:gd name="connsiteY19" fmla="*/ 957620 h 5043648"/>
                <a:gd name="connsiteX20" fmla="*/ 1978966 w 2348035"/>
                <a:gd name="connsiteY20" fmla="*/ 3994119 h 5043648"/>
                <a:gd name="connsiteX21" fmla="*/ 2065230 w 2348035"/>
                <a:gd name="connsiteY21" fmla="*/ 4063130 h 5043648"/>
                <a:gd name="connsiteX22" fmla="*/ 2211879 w 2348035"/>
                <a:gd name="connsiteY22" fmla="*/ 4106262 h 5043648"/>
                <a:gd name="connsiteX23" fmla="*/ 2280890 w 2348035"/>
                <a:gd name="connsiteY23" fmla="*/ 4002745 h 5043648"/>
                <a:gd name="connsiteX24" fmla="*/ 2298143 w 2348035"/>
                <a:gd name="connsiteY24" fmla="*/ 741960 h 5043648"/>
                <a:gd name="connsiteX25" fmla="*/ 1590777 w 2348035"/>
                <a:gd name="connsiteY25" fmla="*/ 86353 h 5043648"/>
                <a:gd name="connsiteX26" fmla="*/ 754015 w 2348035"/>
                <a:gd name="connsiteY26" fmla="*/ 77726 h 5043648"/>
                <a:gd name="connsiteX27" fmla="*/ 72528 w 2348035"/>
                <a:gd name="connsiteY27" fmla="*/ 724707 h 5043648"/>
                <a:gd name="connsiteX0" fmla="*/ 72528 w 2348035"/>
                <a:gd name="connsiteY0" fmla="*/ 724707 h 5043648"/>
                <a:gd name="connsiteX1" fmla="*/ 98407 w 2348035"/>
                <a:gd name="connsiteY1" fmla="*/ 4399560 h 5043648"/>
                <a:gd name="connsiteX2" fmla="*/ 771268 w 2348035"/>
                <a:gd name="connsiteY2" fmla="*/ 4986156 h 5043648"/>
                <a:gd name="connsiteX3" fmla="*/ 1202589 w 2348035"/>
                <a:gd name="connsiteY3" fmla="*/ 4968903 h 5043648"/>
                <a:gd name="connsiteX4" fmla="*/ 1754679 w 2348035"/>
                <a:gd name="connsiteY4" fmla="*/ 4520330 h 5043648"/>
                <a:gd name="connsiteX5" fmla="*/ 1797811 w 2348035"/>
                <a:gd name="connsiteY5" fmla="*/ 1725371 h 5043648"/>
                <a:gd name="connsiteX6" fmla="*/ 1539019 w 2348035"/>
                <a:gd name="connsiteY6" fmla="*/ 1440700 h 5043648"/>
                <a:gd name="connsiteX7" fmla="*/ 1262974 w 2348035"/>
                <a:gd name="connsiteY7" fmla="*/ 1466579 h 5043648"/>
                <a:gd name="connsiteX8" fmla="*/ 1030060 w 2348035"/>
                <a:gd name="connsiteY8" fmla="*/ 1682239 h 5043648"/>
                <a:gd name="connsiteX9" fmla="*/ 995555 w 2348035"/>
                <a:gd name="connsiteY9" fmla="*/ 2717409 h 5043648"/>
                <a:gd name="connsiteX10" fmla="*/ 1193962 w 2348035"/>
                <a:gd name="connsiteY10" fmla="*/ 3045213 h 5043648"/>
                <a:gd name="connsiteX11" fmla="*/ 1513140 w 2348035"/>
                <a:gd name="connsiteY11" fmla="*/ 3045213 h 5043648"/>
                <a:gd name="connsiteX12" fmla="*/ 1478634 w 2348035"/>
                <a:gd name="connsiteY12" fmla="*/ 4339175 h 5043648"/>
                <a:gd name="connsiteX13" fmla="*/ 1090445 w 2348035"/>
                <a:gd name="connsiteY13" fmla="*/ 4718737 h 5043648"/>
                <a:gd name="connsiteX14" fmla="*/ 900664 w 2348035"/>
                <a:gd name="connsiteY14" fmla="*/ 4727364 h 5043648"/>
                <a:gd name="connsiteX15" fmla="*/ 452090 w 2348035"/>
                <a:gd name="connsiteY15" fmla="*/ 4347802 h 5043648"/>
                <a:gd name="connsiteX16" fmla="*/ 443464 w 2348035"/>
                <a:gd name="connsiteY16" fmla="*/ 871356 h 5043648"/>
                <a:gd name="connsiteX17" fmla="*/ 952423 w 2348035"/>
                <a:gd name="connsiteY17" fmla="*/ 440036 h 5043648"/>
                <a:gd name="connsiteX18" fmla="*/ 1366490 w 2348035"/>
                <a:gd name="connsiteY18" fmla="*/ 440036 h 5043648"/>
                <a:gd name="connsiteX19" fmla="*/ 1978966 w 2348035"/>
                <a:gd name="connsiteY19" fmla="*/ 957620 h 5043648"/>
                <a:gd name="connsiteX20" fmla="*/ 1978966 w 2348035"/>
                <a:gd name="connsiteY20" fmla="*/ 3994119 h 5043648"/>
                <a:gd name="connsiteX21" fmla="*/ 2065230 w 2348035"/>
                <a:gd name="connsiteY21" fmla="*/ 4063130 h 5043648"/>
                <a:gd name="connsiteX22" fmla="*/ 2211879 w 2348035"/>
                <a:gd name="connsiteY22" fmla="*/ 4106262 h 5043648"/>
                <a:gd name="connsiteX23" fmla="*/ 2280890 w 2348035"/>
                <a:gd name="connsiteY23" fmla="*/ 4002745 h 5043648"/>
                <a:gd name="connsiteX24" fmla="*/ 2298143 w 2348035"/>
                <a:gd name="connsiteY24" fmla="*/ 741960 h 5043648"/>
                <a:gd name="connsiteX25" fmla="*/ 1590777 w 2348035"/>
                <a:gd name="connsiteY25" fmla="*/ 86353 h 5043648"/>
                <a:gd name="connsiteX26" fmla="*/ 754015 w 2348035"/>
                <a:gd name="connsiteY26" fmla="*/ 77726 h 5043648"/>
                <a:gd name="connsiteX27" fmla="*/ 72528 w 2348035"/>
                <a:gd name="connsiteY27" fmla="*/ 724707 h 5043648"/>
                <a:gd name="connsiteX0" fmla="*/ 72528 w 2348035"/>
                <a:gd name="connsiteY0" fmla="*/ 695165 h 5014106"/>
                <a:gd name="connsiteX1" fmla="*/ 98407 w 2348035"/>
                <a:gd name="connsiteY1" fmla="*/ 4370018 h 5014106"/>
                <a:gd name="connsiteX2" fmla="*/ 771268 w 2348035"/>
                <a:gd name="connsiteY2" fmla="*/ 4956614 h 5014106"/>
                <a:gd name="connsiteX3" fmla="*/ 1202589 w 2348035"/>
                <a:gd name="connsiteY3" fmla="*/ 4939361 h 5014106"/>
                <a:gd name="connsiteX4" fmla="*/ 1754679 w 2348035"/>
                <a:gd name="connsiteY4" fmla="*/ 4490788 h 5014106"/>
                <a:gd name="connsiteX5" fmla="*/ 1797811 w 2348035"/>
                <a:gd name="connsiteY5" fmla="*/ 1695829 h 5014106"/>
                <a:gd name="connsiteX6" fmla="*/ 1539019 w 2348035"/>
                <a:gd name="connsiteY6" fmla="*/ 1411158 h 5014106"/>
                <a:gd name="connsiteX7" fmla="*/ 1262974 w 2348035"/>
                <a:gd name="connsiteY7" fmla="*/ 1437037 h 5014106"/>
                <a:gd name="connsiteX8" fmla="*/ 1030060 w 2348035"/>
                <a:gd name="connsiteY8" fmla="*/ 1652697 h 5014106"/>
                <a:gd name="connsiteX9" fmla="*/ 995555 w 2348035"/>
                <a:gd name="connsiteY9" fmla="*/ 2687867 h 5014106"/>
                <a:gd name="connsiteX10" fmla="*/ 1193962 w 2348035"/>
                <a:gd name="connsiteY10" fmla="*/ 3015671 h 5014106"/>
                <a:gd name="connsiteX11" fmla="*/ 1513140 w 2348035"/>
                <a:gd name="connsiteY11" fmla="*/ 3015671 h 5014106"/>
                <a:gd name="connsiteX12" fmla="*/ 1478634 w 2348035"/>
                <a:gd name="connsiteY12" fmla="*/ 4309633 h 5014106"/>
                <a:gd name="connsiteX13" fmla="*/ 1090445 w 2348035"/>
                <a:gd name="connsiteY13" fmla="*/ 4689195 h 5014106"/>
                <a:gd name="connsiteX14" fmla="*/ 900664 w 2348035"/>
                <a:gd name="connsiteY14" fmla="*/ 4697822 h 5014106"/>
                <a:gd name="connsiteX15" fmla="*/ 452090 w 2348035"/>
                <a:gd name="connsiteY15" fmla="*/ 4318260 h 5014106"/>
                <a:gd name="connsiteX16" fmla="*/ 443464 w 2348035"/>
                <a:gd name="connsiteY16" fmla="*/ 841814 h 5014106"/>
                <a:gd name="connsiteX17" fmla="*/ 952423 w 2348035"/>
                <a:gd name="connsiteY17" fmla="*/ 410494 h 5014106"/>
                <a:gd name="connsiteX18" fmla="*/ 1366490 w 2348035"/>
                <a:gd name="connsiteY18" fmla="*/ 410494 h 5014106"/>
                <a:gd name="connsiteX19" fmla="*/ 1978966 w 2348035"/>
                <a:gd name="connsiteY19" fmla="*/ 928078 h 5014106"/>
                <a:gd name="connsiteX20" fmla="*/ 1978966 w 2348035"/>
                <a:gd name="connsiteY20" fmla="*/ 3964577 h 5014106"/>
                <a:gd name="connsiteX21" fmla="*/ 2065230 w 2348035"/>
                <a:gd name="connsiteY21" fmla="*/ 4033588 h 5014106"/>
                <a:gd name="connsiteX22" fmla="*/ 2211879 w 2348035"/>
                <a:gd name="connsiteY22" fmla="*/ 4076720 h 5014106"/>
                <a:gd name="connsiteX23" fmla="*/ 2280890 w 2348035"/>
                <a:gd name="connsiteY23" fmla="*/ 3973203 h 5014106"/>
                <a:gd name="connsiteX24" fmla="*/ 2298143 w 2348035"/>
                <a:gd name="connsiteY24" fmla="*/ 712418 h 5014106"/>
                <a:gd name="connsiteX25" fmla="*/ 1590777 w 2348035"/>
                <a:gd name="connsiteY25" fmla="*/ 56811 h 5014106"/>
                <a:gd name="connsiteX26" fmla="*/ 754015 w 2348035"/>
                <a:gd name="connsiteY26" fmla="*/ 48184 h 5014106"/>
                <a:gd name="connsiteX27" fmla="*/ 72528 w 2348035"/>
                <a:gd name="connsiteY27" fmla="*/ 695165 h 5014106"/>
                <a:gd name="connsiteX0" fmla="*/ 72528 w 2348035"/>
                <a:gd name="connsiteY0" fmla="*/ 715945 h 5034886"/>
                <a:gd name="connsiteX1" fmla="*/ 98407 w 2348035"/>
                <a:gd name="connsiteY1" fmla="*/ 4390798 h 5034886"/>
                <a:gd name="connsiteX2" fmla="*/ 771268 w 2348035"/>
                <a:gd name="connsiteY2" fmla="*/ 4977394 h 5034886"/>
                <a:gd name="connsiteX3" fmla="*/ 1202589 w 2348035"/>
                <a:gd name="connsiteY3" fmla="*/ 4960141 h 5034886"/>
                <a:gd name="connsiteX4" fmla="*/ 1754679 w 2348035"/>
                <a:gd name="connsiteY4" fmla="*/ 4511568 h 5034886"/>
                <a:gd name="connsiteX5" fmla="*/ 1797811 w 2348035"/>
                <a:gd name="connsiteY5" fmla="*/ 1716609 h 5034886"/>
                <a:gd name="connsiteX6" fmla="*/ 1539019 w 2348035"/>
                <a:gd name="connsiteY6" fmla="*/ 1431938 h 5034886"/>
                <a:gd name="connsiteX7" fmla="*/ 1262974 w 2348035"/>
                <a:gd name="connsiteY7" fmla="*/ 1457817 h 5034886"/>
                <a:gd name="connsiteX8" fmla="*/ 1030060 w 2348035"/>
                <a:gd name="connsiteY8" fmla="*/ 1673477 h 5034886"/>
                <a:gd name="connsiteX9" fmla="*/ 995555 w 2348035"/>
                <a:gd name="connsiteY9" fmla="*/ 2708647 h 5034886"/>
                <a:gd name="connsiteX10" fmla="*/ 1193962 w 2348035"/>
                <a:gd name="connsiteY10" fmla="*/ 3036451 h 5034886"/>
                <a:gd name="connsiteX11" fmla="*/ 1513140 w 2348035"/>
                <a:gd name="connsiteY11" fmla="*/ 3036451 h 5034886"/>
                <a:gd name="connsiteX12" fmla="*/ 1478634 w 2348035"/>
                <a:gd name="connsiteY12" fmla="*/ 4330413 h 5034886"/>
                <a:gd name="connsiteX13" fmla="*/ 1090445 w 2348035"/>
                <a:gd name="connsiteY13" fmla="*/ 4709975 h 5034886"/>
                <a:gd name="connsiteX14" fmla="*/ 900664 w 2348035"/>
                <a:gd name="connsiteY14" fmla="*/ 4718602 h 5034886"/>
                <a:gd name="connsiteX15" fmla="*/ 452090 w 2348035"/>
                <a:gd name="connsiteY15" fmla="*/ 4339040 h 5034886"/>
                <a:gd name="connsiteX16" fmla="*/ 443464 w 2348035"/>
                <a:gd name="connsiteY16" fmla="*/ 862594 h 5034886"/>
                <a:gd name="connsiteX17" fmla="*/ 952423 w 2348035"/>
                <a:gd name="connsiteY17" fmla="*/ 431274 h 5034886"/>
                <a:gd name="connsiteX18" fmla="*/ 1366490 w 2348035"/>
                <a:gd name="connsiteY18" fmla="*/ 431274 h 5034886"/>
                <a:gd name="connsiteX19" fmla="*/ 1978966 w 2348035"/>
                <a:gd name="connsiteY19" fmla="*/ 948858 h 5034886"/>
                <a:gd name="connsiteX20" fmla="*/ 1978966 w 2348035"/>
                <a:gd name="connsiteY20" fmla="*/ 3985357 h 5034886"/>
                <a:gd name="connsiteX21" fmla="*/ 2065230 w 2348035"/>
                <a:gd name="connsiteY21" fmla="*/ 4054368 h 5034886"/>
                <a:gd name="connsiteX22" fmla="*/ 2211879 w 2348035"/>
                <a:gd name="connsiteY22" fmla="*/ 4097500 h 5034886"/>
                <a:gd name="connsiteX23" fmla="*/ 2280890 w 2348035"/>
                <a:gd name="connsiteY23" fmla="*/ 3993983 h 5034886"/>
                <a:gd name="connsiteX24" fmla="*/ 2298143 w 2348035"/>
                <a:gd name="connsiteY24" fmla="*/ 733198 h 5034886"/>
                <a:gd name="connsiteX25" fmla="*/ 1590777 w 2348035"/>
                <a:gd name="connsiteY25" fmla="*/ 48470 h 5034886"/>
                <a:gd name="connsiteX26" fmla="*/ 754015 w 2348035"/>
                <a:gd name="connsiteY26" fmla="*/ 68964 h 5034886"/>
                <a:gd name="connsiteX27" fmla="*/ 72528 w 2348035"/>
                <a:gd name="connsiteY27" fmla="*/ 715945 h 503488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80830 h 4999771"/>
                <a:gd name="connsiteX1" fmla="*/ 98407 w 2348035"/>
                <a:gd name="connsiteY1" fmla="*/ 4355683 h 4999771"/>
                <a:gd name="connsiteX2" fmla="*/ 771268 w 2348035"/>
                <a:gd name="connsiteY2" fmla="*/ 4942279 h 4999771"/>
                <a:gd name="connsiteX3" fmla="*/ 1202589 w 2348035"/>
                <a:gd name="connsiteY3" fmla="*/ 4925026 h 4999771"/>
                <a:gd name="connsiteX4" fmla="*/ 1754679 w 2348035"/>
                <a:gd name="connsiteY4" fmla="*/ 4476453 h 4999771"/>
                <a:gd name="connsiteX5" fmla="*/ 1797811 w 2348035"/>
                <a:gd name="connsiteY5" fmla="*/ 1681494 h 4999771"/>
                <a:gd name="connsiteX6" fmla="*/ 1539019 w 2348035"/>
                <a:gd name="connsiteY6" fmla="*/ 1396823 h 4999771"/>
                <a:gd name="connsiteX7" fmla="*/ 1262974 w 2348035"/>
                <a:gd name="connsiteY7" fmla="*/ 1422702 h 4999771"/>
                <a:gd name="connsiteX8" fmla="*/ 1030060 w 2348035"/>
                <a:gd name="connsiteY8" fmla="*/ 1638362 h 4999771"/>
                <a:gd name="connsiteX9" fmla="*/ 995555 w 2348035"/>
                <a:gd name="connsiteY9" fmla="*/ 2673532 h 4999771"/>
                <a:gd name="connsiteX10" fmla="*/ 1193962 w 2348035"/>
                <a:gd name="connsiteY10" fmla="*/ 3001336 h 4999771"/>
                <a:gd name="connsiteX11" fmla="*/ 1513140 w 2348035"/>
                <a:gd name="connsiteY11" fmla="*/ 3001336 h 4999771"/>
                <a:gd name="connsiteX12" fmla="*/ 1478634 w 2348035"/>
                <a:gd name="connsiteY12" fmla="*/ 4295298 h 4999771"/>
                <a:gd name="connsiteX13" fmla="*/ 1090445 w 2348035"/>
                <a:gd name="connsiteY13" fmla="*/ 4674860 h 4999771"/>
                <a:gd name="connsiteX14" fmla="*/ 900664 w 2348035"/>
                <a:gd name="connsiteY14" fmla="*/ 4683487 h 4999771"/>
                <a:gd name="connsiteX15" fmla="*/ 452090 w 2348035"/>
                <a:gd name="connsiteY15" fmla="*/ 4303925 h 4999771"/>
                <a:gd name="connsiteX16" fmla="*/ 443464 w 2348035"/>
                <a:gd name="connsiteY16" fmla="*/ 827479 h 4999771"/>
                <a:gd name="connsiteX17" fmla="*/ 952423 w 2348035"/>
                <a:gd name="connsiteY17" fmla="*/ 396159 h 4999771"/>
                <a:gd name="connsiteX18" fmla="*/ 1366490 w 2348035"/>
                <a:gd name="connsiteY18" fmla="*/ 396159 h 4999771"/>
                <a:gd name="connsiteX19" fmla="*/ 1978966 w 2348035"/>
                <a:gd name="connsiteY19" fmla="*/ 913743 h 4999771"/>
                <a:gd name="connsiteX20" fmla="*/ 1978966 w 2348035"/>
                <a:gd name="connsiteY20" fmla="*/ 3950242 h 4999771"/>
                <a:gd name="connsiteX21" fmla="*/ 2065230 w 2348035"/>
                <a:gd name="connsiteY21" fmla="*/ 4019253 h 4999771"/>
                <a:gd name="connsiteX22" fmla="*/ 2211879 w 2348035"/>
                <a:gd name="connsiteY22" fmla="*/ 4062385 h 4999771"/>
                <a:gd name="connsiteX23" fmla="*/ 2280890 w 2348035"/>
                <a:gd name="connsiteY23" fmla="*/ 3958868 h 4999771"/>
                <a:gd name="connsiteX24" fmla="*/ 2298143 w 2348035"/>
                <a:gd name="connsiteY24" fmla="*/ 698083 h 4999771"/>
                <a:gd name="connsiteX25" fmla="*/ 1590777 w 2348035"/>
                <a:gd name="connsiteY25" fmla="*/ 13355 h 4999771"/>
                <a:gd name="connsiteX26" fmla="*/ 754015 w 2348035"/>
                <a:gd name="connsiteY26" fmla="*/ 33849 h 4999771"/>
                <a:gd name="connsiteX27" fmla="*/ 72528 w 2348035"/>
                <a:gd name="connsiteY27" fmla="*/ 680830 h 4999771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72528 w 2348035"/>
                <a:gd name="connsiteY0" fmla="*/ 667475 h 4986416"/>
                <a:gd name="connsiteX1" fmla="*/ 98407 w 2348035"/>
                <a:gd name="connsiteY1" fmla="*/ 4342328 h 4986416"/>
                <a:gd name="connsiteX2" fmla="*/ 771268 w 2348035"/>
                <a:gd name="connsiteY2" fmla="*/ 4928924 h 4986416"/>
                <a:gd name="connsiteX3" fmla="*/ 1202589 w 2348035"/>
                <a:gd name="connsiteY3" fmla="*/ 4911671 h 4986416"/>
                <a:gd name="connsiteX4" fmla="*/ 1754679 w 2348035"/>
                <a:gd name="connsiteY4" fmla="*/ 4463098 h 4986416"/>
                <a:gd name="connsiteX5" fmla="*/ 1797811 w 2348035"/>
                <a:gd name="connsiteY5" fmla="*/ 1668139 h 4986416"/>
                <a:gd name="connsiteX6" fmla="*/ 1539019 w 2348035"/>
                <a:gd name="connsiteY6" fmla="*/ 1383468 h 4986416"/>
                <a:gd name="connsiteX7" fmla="*/ 1262974 w 2348035"/>
                <a:gd name="connsiteY7" fmla="*/ 1409347 h 4986416"/>
                <a:gd name="connsiteX8" fmla="*/ 1030060 w 2348035"/>
                <a:gd name="connsiteY8" fmla="*/ 1625007 h 4986416"/>
                <a:gd name="connsiteX9" fmla="*/ 995555 w 2348035"/>
                <a:gd name="connsiteY9" fmla="*/ 2660177 h 4986416"/>
                <a:gd name="connsiteX10" fmla="*/ 1193962 w 2348035"/>
                <a:gd name="connsiteY10" fmla="*/ 2987981 h 4986416"/>
                <a:gd name="connsiteX11" fmla="*/ 1513140 w 2348035"/>
                <a:gd name="connsiteY11" fmla="*/ 2987981 h 4986416"/>
                <a:gd name="connsiteX12" fmla="*/ 1478634 w 2348035"/>
                <a:gd name="connsiteY12" fmla="*/ 4281943 h 4986416"/>
                <a:gd name="connsiteX13" fmla="*/ 1090445 w 2348035"/>
                <a:gd name="connsiteY13" fmla="*/ 4661505 h 4986416"/>
                <a:gd name="connsiteX14" fmla="*/ 900664 w 2348035"/>
                <a:gd name="connsiteY14" fmla="*/ 4670132 h 4986416"/>
                <a:gd name="connsiteX15" fmla="*/ 452090 w 2348035"/>
                <a:gd name="connsiteY15" fmla="*/ 4290570 h 4986416"/>
                <a:gd name="connsiteX16" fmla="*/ 443464 w 2348035"/>
                <a:gd name="connsiteY16" fmla="*/ 814124 h 4986416"/>
                <a:gd name="connsiteX17" fmla="*/ 952423 w 2348035"/>
                <a:gd name="connsiteY17" fmla="*/ 382804 h 4986416"/>
                <a:gd name="connsiteX18" fmla="*/ 1366490 w 2348035"/>
                <a:gd name="connsiteY18" fmla="*/ 382804 h 4986416"/>
                <a:gd name="connsiteX19" fmla="*/ 1978966 w 2348035"/>
                <a:gd name="connsiteY19" fmla="*/ 900388 h 4986416"/>
                <a:gd name="connsiteX20" fmla="*/ 1978966 w 2348035"/>
                <a:gd name="connsiteY20" fmla="*/ 3936887 h 4986416"/>
                <a:gd name="connsiteX21" fmla="*/ 2065230 w 2348035"/>
                <a:gd name="connsiteY21" fmla="*/ 4005898 h 4986416"/>
                <a:gd name="connsiteX22" fmla="*/ 2211879 w 2348035"/>
                <a:gd name="connsiteY22" fmla="*/ 4049030 h 4986416"/>
                <a:gd name="connsiteX23" fmla="*/ 2280890 w 2348035"/>
                <a:gd name="connsiteY23" fmla="*/ 3945513 h 4986416"/>
                <a:gd name="connsiteX24" fmla="*/ 2298143 w 2348035"/>
                <a:gd name="connsiteY24" fmla="*/ 684728 h 4986416"/>
                <a:gd name="connsiteX25" fmla="*/ 1590777 w 2348035"/>
                <a:gd name="connsiteY25" fmla="*/ 0 h 4986416"/>
                <a:gd name="connsiteX26" fmla="*/ 754015 w 2348035"/>
                <a:gd name="connsiteY26" fmla="*/ 20494 h 4986416"/>
                <a:gd name="connsiteX27" fmla="*/ 72528 w 2348035"/>
                <a:gd name="connsiteY27" fmla="*/ 667475 h 4986416"/>
                <a:gd name="connsiteX0" fmla="*/ 25822 w 2301329"/>
                <a:gd name="connsiteY0" fmla="*/ 667475 h 4986416"/>
                <a:gd name="connsiteX1" fmla="*/ 51701 w 2301329"/>
                <a:gd name="connsiteY1" fmla="*/ 4342328 h 4986416"/>
                <a:gd name="connsiteX2" fmla="*/ 724562 w 2301329"/>
                <a:gd name="connsiteY2" fmla="*/ 4928924 h 4986416"/>
                <a:gd name="connsiteX3" fmla="*/ 1155883 w 2301329"/>
                <a:gd name="connsiteY3" fmla="*/ 4911671 h 4986416"/>
                <a:gd name="connsiteX4" fmla="*/ 1707973 w 2301329"/>
                <a:gd name="connsiteY4" fmla="*/ 4463098 h 4986416"/>
                <a:gd name="connsiteX5" fmla="*/ 1751105 w 2301329"/>
                <a:gd name="connsiteY5" fmla="*/ 1668139 h 4986416"/>
                <a:gd name="connsiteX6" fmla="*/ 1492313 w 2301329"/>
                <a:gd name="connsiteY6" fmla="*/ 1383468 h 4986416"/>
                <a:gd name="connsiteX7" fmla="*/ 1216268 w 2301329"/>
                <a:gd name="connsiteY7" fmla="*/ 1409347 h 4986416"/>
                <a:gd name="connsiteX8" fmla="*/ 983354 w 2301329"/>
                <a:gd name="connsiteY8" fmla="*/ 1625007 h 4986416"/>
                <a:gd name="connsiteX9" fmla="*/ 948849 w 2301329"/>
                <a:gd name="connsiteY9" fmla="*/ 2660177 h 4986416"/>
                <a:gd name="connsiteX10" fmla="*/ 1147256 w 2301329"/>
                <a:gd name="connsiteY10" fmla="*/ 2987981 h 4986416"/>
                <a:gd name="connsiteX11" fmla="*/ 1466434 w 2301329"/>
                <a:gd name="connsiteY11" fmla="*/ 2987981 h 4986416"/>
                <a:gd name="connsiteX12" fmla="*/ 1431928 w 2301329"/>
                <a:gd name="connsiteY12" fmla="*/ 4281943 h 4986416"/>
                <a:gd name="connsiteX13" fmla="*/ 1043739 w 2301329"/>
                <a:gd name="connsiteY13" fmla="*/ 4661505 h 4986416"/>
                <a:gd name="connsiteX14" fmla="*/ 853958 w 2301329"/>
                <a:gd name="connsiteY14" fmla="*/ 4670132 h 4986416"/>
                <a:gd name="connsiteX15" fmla="*/ 405384 w 2301329"/>
                <a:gd name="connsiteY15" fmla="*/ 4290570 h 4986416"/>
                <a:gd name="connsiteX16" fmla="*/ 396758 w 2301329"/>
                <a:gd name="connsiteY16" fmla="*/ 814124 h 4986416"/>
                <a:gd name="connsiteX17" fmla="*/ 905717 w 2301329"/>
                <a:gd name="connsiteY17" fmla="*/ 382804 h 4986416"/>
                <a:gd name="connsiteX18" fmla="*/ 1319784 w 2301329"/>
                <a:gd name="connsiteY18" fmla="*/ 382804 h 4986416"/>
                <a:gd name="connsiteX19" fmla="*/ 1932260 w 2301329"/>
                <a:gd name="connsiteY19" fmla="*/ 900388 h 4986416"/>
                <a:gd name="connsiteX20" fmla="*/ 1932260 w 2301329"/>
                <a:gd name="connsiteY20" fmla="*/ 3936887 h 4986416"/>
                <a:gd name="connsiteX21" fmla="*/ 2018524 w 2301329"/>
                <a:gd name="connsiteY21" fmla="*/ 4005898 h 4986416"/>
                <a:gd name="connsiteX22" fmla="*/ 2165173 w 2301329"/>
                <a:gd name="connsiteY22" fmla="*/ 4049030 h 4986416"/>
                <a:gd name="connsiteX23" fmla="*/ 2234184 w 2301329"/>
                <a:gd name="connsiteY23" fmla="*/ 3945513 h 4986416"/>
                <a:gd name="connsiteX24" fmla="*/ 2251437 w 2301329"/>
                <a:gd name="connsiteY24" fmla="*/ 684728 h 4986416"/>
                <a:gd name="connsiteX25" fmla="*/ 1544071 w 2301329"/>
                <a:gd name="connsiteY25" fmla="*/ 0 h 4986416"/>
                <a:gd name="connsiteX26" fmla="*/ 707309 w 2301329"/>
                <a:gd name="connsiteY26" fmla="*/ 20494 h 4986416"/>
                <a:gd name="connsiteX27" fmla="*/ 25822 w 2301329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86416"/>
                <a:gd name="connsiteX1" fmla="*/ 25879 w 2275507"/>
                <a:gd name="connsiteY1" fmla="*/ 4342328 h 4986416"/>
                <a:gd name="connsiteX2" fmla="*/ 698740 w 2275507"/>
                <a:gd name="connsiteY2" fmla="*/ 4928924 h 4986416"/>
                <a:gd name="connsiteX3" fmla="*/ 1130061 w 2275507"/>
                <a:gd name="connsiteY3" fmla="*/ 4911671 h 4986416"/>
                <a:gd name="connsiteX4" fmla="*/ 1682151 w 2275507"/>
                <a:gd name="connsiteY4" fmla="*/ 4463098 h 4986416"/>
                <a:gd name="connsiteX5" fmla="*/ 1725283 w 2275507"/>
                <a:gd name="connsiteY5" fmla="*/ 1668139 h 4986416"/>
                <a:gd name="connsiteX6" fmla="*/ 1466491 w 2275507"/>
                <a:gd name="connsiteY6" fmla="*/ 1383468 h 4986416"/>
                <a:gd name="connsiteX7" fmla="*/ 1190446 w 2275507"/>
                <a:gd name="connsiteY7" fmla="*/ 1409347 h 4986416"/>
                <a:gd name="connsiteX8" fmla="*/ 957532 w 2275507"/>
                <a:gd name="connsiteY8" fmla="*/ 1625007 h 4986416"/>
                <a:gd name="connsiteX9" fmla="*/ 923027 w 2275507"/>
                <a:gd name="connsiteY9" fmla="*/ 2660177 h 4986416"/>
                <a:gd name="connsiteX10" fmla="*/ 1121434 w 2275507"/>
                <a:gd name="connsiteY10" fmla="*/ 2987981 h 4986416"/>
                <a:gd name="connsiteX11" fmla="*/ 1440612 w 2275507"/>
                <a:gd name="connsiteY11" fmla="*/ 2987981 h 4986416"/>
                <a:gd name="connsiteX12" fmla="*/ 1406106 w 2275507"/>
                <a:gd name="connsiteY12" fmla="*/ 4281943 h 4986416"/>
                <a:gd name="connsiteX13" fmla="*/ 1017917 w 2275507"/>
                <a:gd name="connsiteY13" fmla="*/ 4661505 h 4986416"/>
                <a:gd name="connsiteX14" fmla="*/ 828136 w 2275507"/>
                <a:gd name="connsiteY14" fmla="*/ 4670132 h 4986416"/>
                <a:gd name="connsiteX15" fmla="*/ 379562 w 2275507"/>
                <a:gd name="connsiteY15" fmla="*/ 4290570 h 4986416"/>
                <a:gd name="connsiteX16" fmla="*/ 370936 w 2275507"/>
                <a:gd name="connsiteY16" fmla="*/ 814124 h 4986416"/>
                <a:gd name="connsiteX17" fmla="*/ 879895 w 2275507"/>
                <a:gd name="connsiteY17" fmla="*/ 382804 h 4986416"/>
                <a:gd name="connsiteX18" fmla="*/ 1293962 w 2275507"/>
                <a:gd name="connsiteY18" fmla="*/ 382804 h 4986416"/>
                <a:gd name="connsiteX19" fmla="*/ 1906438 w 2275507"/>
                <a:gd name="connsiteY19" fmla="*/ 900388 h 4986416"/>
                <a:gd name="connsiteX20" fmla="*/ 1906438 w 2275507"/>
                <a:gd name="connsiteY20" fmla="*/ 3936887 h 4986416"/>
                <a:gd name="connsiteX21" fmla="*/ 1992702 w 2275507"/>
                <a:gd name="connsiteY21" fmla="*/ 4005898 h 4986416"/>
                <a:gd name="connsiteX22" fmla="*/ 2139351 w 2275507"/>
                <a:gd name="connsiteY22" fmla="*/ 4049030 h 4986416"/>
                <a:gd name="connsiteX23" fmla="*/ 2208362 w 2275507"/>
                <a:gd name="connsiteY23" fmla="*/ 3945513 h 4986416"/>
                <a:gd name="connsiteX24" fmla="*/ 2225615 w 2275507"/>
                <a:gd name="connsiteY24" fmla="*/ 684728 h 4986416"/>
                <a:gd name="connsiteX25" fmla="*/ 1518249 w 2275507"/>
                <a:gd name="connsiteY25" fmla="*/ 0 h 4986416"/>
                <a:gd name="connsiteX26" fmla="*/ 681487 w 2275507"/>
                <a:gd name="connsiteY26" fmla="*/ 20494 h 4986416"/>
                <a:gd name="connsiteX27" fmla="*/ 0 w 2275507"/>
                <a:gd name="connsiteY27" fmla="*/ 667475 h 4986416"/>
                <a:gd name="connsiteX0" fmla="*/ 0 w 2275507"/>
                <a:gd name="connsiteY0" fmla="*/ 667475 h 4955259"/>
                <a:gd name="connsiteX1" fmla="*/ 25879 w 2275507"/>
                <a:gd name="connsiteY1" fmla="*/ 4342328 h 4955259"/>
                <a:gd name="connsiteX2" fmla="*/ 698740 w 2275507"/>
                <a:gd name="connsiteY2" fmla="*/ 4928924 h 4955259"/>
                <a:gd name="connsiteX3" fmla="*/ 1130061 w 2275507"/>
                <a:gd name="connsiteY3" fmla="*/ 4911671 h 4955259"/>
                <a:gd name="connsiteX4" fmla="*/ 1682151 w 2275507"/>
                <a:gd name="connsiteY4" fmla="*/ 4463098 h 4955259"/>
                <a:gd name="connsiteX5" fmla="*/ 1725283 w 2275507"/>
                <a:gd name="connsiteY5" fmla="*/ 1668139 h 4955259"/>
                <a:gd name="connsiteX6" fmla="*/ 1466491 w 2275507"/>
                <a:gd name="connsiteY6" fmla="*/ 1383468 h 4955259"/>
                <a:gd name="connsiteX7" fmla="*/ 1190446 w 2275507"/>
                <a:gd name="connsiteY7" fmla="*/ 1409347 h 4955259"/>
                <a:gd name="connsiteX8" fmla="*/ 957532 w 2275507"/>
                <a:gd name="connsiteY8" fmla="*/ 1625007 h 4955259"/>
                <a:gd name="connsiteX9" fmla="*/ 923027 w 2275507"/>
                <a:gd name="connsiteY9" fmla="*/ 2660177 h 4955259"/>
                <a:gd name="connsiteX10" fmla="*/ 1121434 w 2275507"/>
                <a:gd name="connsiteY10" fmla="*/ 2987981 h 4955259"/>
                <a:gd name="connsiteX11" fmla="*/ 1440612 w 2275507"/>
                <a:gd name="connsiteY11" fmla="*/ 2987981 h 4955259"/>
                <a:gd name="connsiteX12" fmla="*/ 1406106 w 2275507"/>
                <a:gd name="connsiteY12" fmla="*/ 4281943 h 4955259"/>
                <a:gd name="connsiteX13" fmla="*/ 1017917 w 2275507"/>
                <a:gd name="connsiteY13" fmla="*/ 4661505 h 4955259"/>
                <a:gd name="connsiteX14" fmla="*/ 828136 w 2275507"/>
                <a:gd name="connsiteY14" fmla="*/ 4670132 h 4955259"/>
                <a:gd name="connsiteX15" fmla="*/ 379562 w 2275507"/>
                <a:gd name="connsiteY15" fmla="*/ 4290570 h 4955259"/>
                <a:gd name="connsiteX16" fmla="*/ 370936 w 2275507"/>
                <a:gd name="connsiteY16" fmla="*/ 814124 h 4955259"/>
                <a:gd name="connsiteX17" fmla="*/ 879895 w 2275507"/>
                <a:gd name="connsiteY17" fmla="*/ 382804 h 4955259"/>
                <a:gd name="connsiteX18" fmla="*/ 1293962 w 2275507"/>
                <a:gd name="connsiteY18" fmla="*/ 382804 h 4955259"/>
                <a:gd name="connsiteX19" fmla="*/ 1906438 w 2275507"/>
                <a:gd name="connsiteY19" fmla="*/ 900388 h 4955259"/>
                <a:gd name="connsiteX20" fmla="*/ 1906438 w 2275507"/>
                <a:gd name="connsiteY20" fmla="*/ 3936887 h 4955259"/>
                <a:gd name="connsiteX21" fmla="*/ 1992702 w 2275507"/>
                <a:gd name="connsiteY21" fmla="*/ 4005898 h 4955259"/>
                <a:gd name="connsiteX22" fmla="*/ 2139351 w 2275507"/>
                <a:gd name="connsiteY22" fmla="*/ 4049030 h 4955259"/>
                <a:gd name="connsiteX23" fmla="*/ 2208362 w 2275507"/>
                <a:gd name="connsiteY23" fmla="*/ 3945513 h 4955259"/>
                <a:gd name="connsiteX24" fmla="*/ 2225615 w 2275507"/>
                <a:gd name="connsiteY24" fmla="*/ 684728 h 4955259"/>
                <a:gd name="connsiteX25" fmla="*/ 1518249 w 2275507"/>
                <a:gd name="connsiteY25" fmla="*/ 0 h 4955259"/>
                <a:gd name="connsiteX26" fmla="*/ 681487 w 2275507"/>
                <a:gd name="connsiteY26" fmla="*/ 20494 h 4955259"/>
                <a:gd name="connsiteX27" fmla="*/ 0 w 2275507"/>
                <a:gd name="connsiteY27" fmla="*/ 667475 h 4955259"/>
                <a:gd name="connsiteX0" fmla="*/ 0 w 2275507"/>
                <a:gd name="connsiteY0" fmla="*/ 667475 h 4975193"/>
                <a:gd name="connsiteX1" fmla="*/ 25879 w 2275507"/>
                <a:gd name="connsiteY1" fmla="*/ 4342328 h 4975193"/>
                <a:gd name="connsiteX2" fmla="*/ 698740 w 2275507"/>
                <a:gd name="connsiteY2" fmla="*/ 4928924 h 4975193"/>
                <a:gd name="connsiteX3" fmla="*/ 1141709 w 2275507"/>
                <a:gd name="connsiteY3" fmla="*/ 4940792 h 4975193"/>
                <a:gd name="connsiteX4" fmla="*/ 1682151 w 2275507"/>
                <a:gd name="connsiteY4" fmla="*/ 4463098 h 4975193"/>
                <a:gd name="connsiteX5" fmla="*/ 1725283 w 2275507"/>
                <a:gd name="connsiteY5" fmla="*/ 1668139 h 4975193"/>
                <a:gd name="connsiteX6" fmla="*/ 1466491 w 2275507"/>
                <a:gd name="connsiteY6" fmla="*/ 1383468 h 4975193"/>
                <a:gd name="connsiteX7" fmla="*/ 1190446 w 2275507"/>
                <a:gd name="connsiteY7" fmla="*/ 1409347 h 4975193"/>
                <a:gd name="connsiteX8" fmla="*/ 957532 w 2275507"/>
                <a:gd name="connsiteY8" fmla="*/ 1625007 h 4975193"/>
                <a:gd name="connsiteX9" fmla="*/ 923027 w 2275507"/>
                <a:gd name="connsiteY9" fmla="*/ 2660177 h 4975193"/>
                <a:gd name="connsiteX10" fmla="*/ 1121434 w 2275507"/>
                <a:gd name="connsiteY10" fmla="*/ 2987981 h 4975193"/>
                <a:gd name="connsiteX11" fmla="*/ 1440612 w 2275507"/>
                <a:gd name="connsiteY11" fmla="*/ 2987981 h 4975193"/>
                <a:gd name="connsiteX12" fmla="*/ 1406106 w 2275507"/>
                <a:gd name="connsiteY12" fmla="*/ 4281943 h 4975193"/>
                <a:gd name="connsiteX13" fmla="*/ 1017917 w 2275507"/>
                <a:gd name="connsiteY13" fmla="*/ 4661505 h 4975193"/>
                <a:gd name="connsiteX14" fmla="*/ 828136 w 2275507"/>
                <a:gd name="connsiteY14" fmla="*/ 4670132 h 4975193"/>
                <a:gd name="connsiteX15" fmla="*/ 379562 w 2275507"/>
                <a:gd name="connsiteY15" fmla="*/ 4290570 h 4975193"/>
                <a:gd name="connsiteX16" fmla="*/ 370936 w 2275507"/>
                <a:gd name="connsiteY16" fmla="*/ 814124 h 4975193"/>
                <a:gd name="connsiteX17" fmla="*/ 879895 w 2275507"/>
                <a:gd name="connsiteY17" fmla="*/ 382804 h 4975193"/>
                <a:gd name="connsiteX18" fmla="*/ 1293962 w 2275507"/>
                <a:gd name="connsiteY18" fmla="*/ 382804 h 4975193"/>
                <a:gd name="connsiteX19" fmla="*/ 1906438 w 2275507"/>
                <a:gd name="connsiteY19" fmla="*/ 900388 h 4975193"/>
                <a:gd name="connsiteX20" fmla="*/ 1906438 w 2275507"/>
                <a:gd name="connsiteY20" fmla="*/ 3936887 h 4975193"/>
                <a:gd name="connsiteX21" fmla="*/ 1992702 w 2275507"/>
                <a:gd name="connsiteY21" fmla="*/ 4005898 h 4975193"/>
                <a:gd name="connsiteX22" fmla="*/ 2139351 w 2275507"/>
                <a:gd name="connsiteY22" fmla="*/ 4049030 h 4975193"/>
                <a:gd name="connsiteX23" fmla="*/ 2208362 w 2275507"/>
                <a:gd name="connsiteY23" fmla="*/ 3945513 h 4975193"/>
                <a:gd name="connsiteX24" fmla="*/ 2225615 w 2275507"/>
                <a:gd name="connsiteY24" fmla="*/ 684728 h 4975193"/>
                <a:gd name="connsiteX25" fmla="*/ 1518249 w 2275507"/>
                <a:gd name="connsiteY25" fmla="*/ 0 h 4975193"/>
                <a:gd name="connsiteX26" fmla="*/ 681487 w 2275507"/>
                <a:gd name="connsiteY26" fmla="*/ 20494 h 4975193"/>
                <a:gd name="connsiteX27" fmla="*/ 0 w 2275507"/>
                <a:gd name="connsiteY27" fmla="*/ 667475 h 4975193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409347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23027 w 2275507"/>
                <a:gd name="connsiteY9" fmla="*/ 2660177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507"/>
                <a:gd name="connsiteY0" fmla="*/ 667475 h 4940792"/>
                <a:gd name="connsiteX1" fmla="*/ 25879 w 2275507"/>
                <a:gd name="connsiteY1" fmla="*/ 4342328 h 4940792"/>
                <a:gd name="connsiteX2" fmla="*/ 698740 w 2275507"/>
                <a:gd name="connsiteY2" fmla="*/ 4928924 h 4940792"/>
                <a:gd name="connsiteX3" fmla="*/ 1141709 w 2275507"/>
                <a:gd name="connsiteY3" fmla="*/ 4940792 h 4940792"/>
                <a:gd name="connsiteX4" fmla="*/ 1682151 w 2275507"/>
                <a:gd name="connsiteY4" fmla="*/ 4463098 h 4940792"/>
                <a:gd name="connsiteX5" fmla="*/ 1725283 w 2275507"/>
                <a:gd name="connsiteY5" fmla="*/ 1668139 h 4940792"/>
                <a:gd name="connsiteX6" fmla="*/ 1466491 w 2275507"/>
                <a:gd name="connsiteY6" fmla="*/ 1383468 h 4940792"/>
                <a:gd name="connsiteX7" fmla="*/ 1190446 w 2275507"/>
                <a:gd name="connsiteY7" fmla="*/ 1386050 h 4940792"/>
                <a:gd name="connsiteX8" fmla="*/ 957532 w 2275507"/>
                <a:gd name="connsiteY8" fmla="*/ 1625007 h 4940792"/>
                <a:gd name="connsiteX9" fmla="*/ 940499 w 2275507"/>
                <a:gd name="connsiteY9" fmla="*/ 2654353 h 4940792"/>
                <a:gd name="connsiteX10" fmla="*/ 1121434 w 2275507"/>
                <a:gd name="connsiteY10" fmla="*/ 2987981 h 4940792"/>
                <a:gd name="connsiteX11" fmla="*/ 1440612 w 2275507"/>
                <a:gd name="connsiteY11" fmla="*/ 2987981 h 4940792"/>
                <a:gd name="connsiteX12" fmla="*/ 1406106 w 2275507"/>
                <a:gd name="connsiteY12" fmla="*/ 4281943 h 4940792"/>
                <a:gd name="connsiteX13" fmla="*/ 1017917 w 2275507"/>
                <a:gd name="connsiteY13" fmla="*/ 4661505 h 4940792"/>
                <a:gd name="connsiteX14" fmla="*/ 828136 w 2275507"/>
                <a:gd name="connsiteY14" fmla="*/ 4670132 h 4940792"/>
                <a:gd name="connsiteX15" fmla="*/ 379562 w 2275507"/>
                <a:gd name="connsiteY15" fmla="*/ 4290570 h 4940792"/>
                <a:gd name="connsiteX16" fmla="*/ 370936 w 2275507"/>
                <a:gd name="connsiteY16" fmla="*/ 814124 h 4940792"/>
                <a:gd name="connsiteX17" fmla="*/ 879895 w 2275507"/>
                <a:gd name="connsiteY17" fmla="*/ 382804 h 4940792"/>
                <a:gd name="connsiteX18" fmla="*/ 1293962 w 2275507"/>
                <a:gd name="connsiteY18" fmla="*/ 382804 h 4940792"/>
                <a:gd name="connsiteX19" fmla="*/ 1906438 w 2275507"/>
                <a:gd name="connsiteY19" fmla="*/ 900388 h 4940792"/>
                <a:gd name="connsiteX20" fmla="*/ 1906438 w 2275507"/>
                <a:gd name="connsiteY20" fmla="*/ 3936887 h 4940792"/>
                <a:gd name="connsiteX21" fmla="*/ 1992702 w 2275507"/>
                <a:gd name="connsiteY21" fmla="*/ 4005898 h 4940792"/>
                <a:gd name="connsiteX22" fmla="*/ 2139351 w 2275507"/>
                <a:gd name="connsiteY22" fmla="*/ 4049030 h 4940792"/>
                <a:gd name="connsiteX23" fmla="*/ 2208362 w 2275507"/>
                <a:gd name="connsiteY23" fmla="*/ 3945513 h 4940792"/>
                <a:gd name="connsiteX24" fmla="*/ 2225615 w 2275507"/>
                <a:gd name="connsiteY24" fmla="*/ 684728 h 4940792"/>
                <a:gd name="connsiteX25" fmla="*/ 1518249 w 2275507"/>
                <a:gd name="connsiteY25" fmla="*/ 0 h 4940792"/>
                <a:gd name="connsiteX26" fmla="*/ 681487 w 2275507"/>
                <a:gd name="connsiteY26" fmla="*/ 20494 h 4940792"/>
                <a:gd name="connsiteX27" fmla="*/ 0 w 2275507"/>
                <a:gd name="connsiteY27" fmla="*/ 667475 h 4940792"/>
                <a:gd name="connsiteX0" fmla="*/ 0 w 2275918"/>
                <a:gd name="connsiteY0" fmla="*/ 667475 h 4940792"/>
                <a:gd name="connsiteX1" fmla="*/ 25879 w 2275918"/>
                <a:gd name="connsiteY1" fmla="*/ 4342328 h 4940792"/>
                <a:gd name="connsiteX2" fmla="*/ 698740 w 2275918"/>
                <a:gd name="connsiteY2" fmla="*/ 4928924 h 4940792"/>
                <a:gd name="connsiteX3" fmla="*/ 1141709 w 2275918"/>
                <a:gd name="connsiteY3" fmla="*/ 4940792 h 4940792"/>
                <a:gd name="connsiteX4" fmla="*/ 1682151 w 2275918"/>
                <a:gd name="connsiteY4" fmla="*/ 4463098 h 4940792"/>
                <a:gd name="connsiteX5" fmla="*/ 1725283 w 2275918"/>
                <a:gd name="connsiteY5" fmla="*/ 1668139 h 4940792"/>
                <a:gd name="connsiteX6" fmla="*/ 1466491 w 2275918"/>
                <a:gd name="connsiteY6" fmla="*/ 1383468 h 4940792"/>
                <a:gd name="connsiteX7" fmla="*/ 1190446 w 2275918"/>
                <a:gd name="connsiteY7" fmla="*/ 1386050 h 4940792"/>
                <a:gd name="connsiteX8" fmla="*/ 957532 w 2275918"/>
                <a:gd name="connsiteY8" fmla="*/ 1625007 h 4940792"/>
                <a:gd name="connsiteX9" fmla="*/ 940499 w 2275918"/>
                <a:gd name="connsiteY9" fmla="*/ 2654353 h 4940792"/>
                <a:gd name="connsiteX10" fmla="*/ 1121434 w 2275918"/>
                <a:gd name="connsiteY10" fmla="*/ 2987981 h 4940792"/>
                <a:gd name="connsiteX11" fmla="*/ 1440612 w 2275918"/>
                <a:gd name="connsiteY11" fmla="*/ 2987981 h 4940792"/>
                <a:gd name="connsiteX12" fmla="*/ 1406106 w 2275918"/>
                <a:gd name="connsiteY12" fmla="*/ 4281943 h 4940792"/>
                <a:gd name="connsiteX13" fmla="*/ 1017917 w 2275918"/>
                <a:gd name="connsiteY13" fmla="*/ 4661505 h 4940792"/>
                <a:gd name="connsiteX14" fmla="*/ 828136 w 2275918"/>
                <a:gd name="connsiteY14" fmla="*/ 4670132 h 4940792"/>
                <a:gd name="connsiteX15" fmla="*/ 379562 w 2275918"/>
                <a:gd name="connsiteY15" fmla="*/ 4290570 h 4940792"/>
                <a:gd name="connsiteX16" fmla="*/ 370936 w 2275918"/>
                <a:gd name="connsiteY16" fmla="*/ 814124 h 4940792"/>
                <a:gd name="connsiteX17" fmla="*/ 879895 w 2275918"/>
                <a:gd name="connsiteY17" fmla="*/ 382804 h 4940792"/>
                <a:gd name="connsiteX18" fmla="*/ 1293962 w 2275918"/>
                <a:gd name="connsiteY18" fmla="*/ 382804 h 4940792"/>
                <a:gd name="connsiteX19" fmla="*/ 1906438 w 2275918"/>
                <a:gd name="connsiteY19" fmla="*/ 900388 h 4940792"/>
                <a:gd name="connsiteX20" fmla="*/ 1906438 w 2275918"/>
                <a:gd name="connsiteY20" fmla="*/ 3936887 h 4940792"/>
                <a:gd name="connsiteX21" fmla="*/ 1992702 w 2275918"/>
                <a:gd name="connsiteY21" fmla="*/ 4005898 h 4940792"/>
                <a:gd name="connsiteX22" fmla="*/ 2127703 w 2275918"/>
                <a:gd name="connsiteY22" fmla="*/ 4014085 h 4940792"/>
                <a:gd name="connsiteX23" fmla="*/ 2208362 w 2275918"/>
                <a:gd name="connsiteY23" fmla="*/ 3945513 h 4940792"/>
                <a:gd name="connsiteX24" fmla="*/ 2225615 w 2275918"/>
                <a:gd name="connsiteY24" fmla="*/ 684728 h 4940792"/>
                <a:gd name="connsiteX25" fmla="*/ 1518249 w 2275918"/>
                <a:gd name="connsiteY25" fmla="*/ 0 h 4940792"/>
                <a:gd name="connsiteX26" fmla="*/ 681487 w 2275918"/>
                <a:gd name="connsiteY26" fmla="*/ 20494 h 4940792"/>
                <a:gd name="connsiteX27" fmla="*/ 0 w 2275918"/>
                <a:gd name="connsiteY27" fmla="*/ 667475 h 4940792"/>
                <a:gd name="connsiteX0" fmla="*/ 0 w 2275918"/>
                <a:gd name="connsiteY0" fmla="*/ 667475 h 4940792"/>
                <a:gd name="connsiteX1" fmla="*/ 25879 w 2275918"/>
                <a:gd name="connsiteY1" fmla="*/ 4342328 h 4940792"/>
                <a:gd name="connsiteX2" fmla="*/ 698740 w 2275918"/>
                <a:gd name="connsiteY2" fmla="*/ 4928924 h 4940792"/>
                <a:gd name="connsiteX3" fmla="*/ 1141709 w 2275918"/>
                <a:gd name="connsiteY3" fmla="*/ 4940792 h 4940792"/>
                <a:gd name="connsiteX4" fmla="*/ 1682151 w 2275918"/>
                <a:gd name="connsiteY4" fmla="*/ 4463098 h 4940792"/>
                <a:gd name="connsiteX5" fmla="*/ 1725283 w 2275918"/>
                <a:gd name="connsiteY5" fmla="*/ 1668139 h 4940792"/>
                <a:gd name="connsiteX6" fmla="*/ 1466491 w 2275918"/>
                <a:gd name="connsiteY6" fmla="*/ 1383468 h 4940792"/>
                <a:gd name="connsiteX7" fmla="*/ 1190446 w 2275918"/>
                <a:gd name="connsiteY7" fmla="*/ 1386050 h 4940792"/>
                <a:gd name="connsiteX8" fmla="*/ 957532 w 2275918"/>
                <a:gd name="connsiteY8" fmla="*/ 1625007 h 4940792"/>
                <a:gd name="connsiteX9" fmla="*/ 940499 w 2275918"/>
                <a:gd name="connsiteY9" fmla="*/ 2654353 h 4940792"/>
                <a:gd name="connsiteX10" fmla="*/ 1121434 w 2275918"/>
                <a:gd name="connsiteY10" fmla="*/ 2987981 h 4940792"/>
                <a:gd name="connsiteX11" fmla="*/ 1440612 w 2275918"/>
                <a:gd name="connsiteY11" fmla="*/ 2987981 h 4940792"/>
                <a:gd name="connsiteX12" fmla="*/ 1406106 w 2275918"/>
                <a:gd name="connsiteY12" fmla="*/ 4281943 h 4940792"/>
                <a:gd name="connsiteX13" fmla="*/ 1017917 w 2275918"/>
                <a:gd name="connsiteY13" fmla="*/ 4661505 h 4940792"/>
                <a:gd name="connsiteX14" fmla="*/ 828136 w 2275918"/>
                <a:gd name="connsiteY14" fmla="*/ 4670132 h 4940792"/>
                <a:gd name="connsiteX15" fmla="*/ 379562 w 2275918"/>
                <a:gd name="connsiteY15" fmla="*/ 4290570 h 4940792"/>
                <a:gd name="connsiteX16" fmla="*/ 370936 w 2275918"/>
                <a:gd name="connsiteY16" fmla="*/ 814124 h 4940792"/>
                <a:gd name="connsiteX17" fmla="*/ 879895 w 2275918"/>
                <a:gd name="connsiteY17" fmla="*/ 382804 h 4940792"/>
                <a:gd name="connsiteX18" fmla="*/ 1293962 w 2275918"/>
                <a:gd name="connsiteY18" fmla="*/ 382804 h 4940792"/>
                <a:gd name="connsiteX19" fmla="*/ 1906438 w 2275918"/>
                <a:gd name="connsiteY19" fmla="*/ 900388 h 4940792"/>
                <a:gd name="connsiteX20" fmla="*/ 1906438 w 2275918"/>
                <a:gd name="connsiteY20" fmla="*/ 3936887 h 4940792"/>
                <a:gd name="connsiteX21" fmla="*/ 1992702 w 2275918"/>
                <a:gd name="connsiteY21" fmla="*/ 4005898 h 4940792"/>
                <a:gd name="connsiteX22" fmla="*/ 2127703 w 2275918"/>
                <a:gd name="connsiteY22" fmla="*/ 4014085 h 4940792"/>
                <a:gd name="connsiteX23" fmla="*/ 2208362 w 2275918"/>
                <a:gd name="connsiteY23" fmla="*/ 3945513 h 4940792"/>
                <a:gd name="connsiteX24" fmla="*/ 2225615 w 2275918"/>
                <a:gd name="connsiteY24" fmla="*/ 684728 h 4940792"/>
                <a:gd name="connsiteX25" fmla="*/ 1518249 w 2275918"/>
                <a:gd name="connsiteY25" fmla="*/ 0 h 4940792"/>
                <a:gd name="connsiteX26" fmla="*/ 681487 w 2275918"/>
                <a:gd name="connsiteY26" fmla="*/ 20494 h 4940792"/>
                <a:gd name="connsiteX27" fmla="*/ 0 w 2275918"/>
                <a:gd name="connsiteY27" fmla="*/ 667475 h 4940792"/>
                <a:gd name="connsiteX0" fmla="*/ 0 w 2275918"/>
                <a:gd name="connsiteY0" fmla="*/ 667475 h 4940792"/>
                <a:gd name="connsiteX1" fmla="*/ 25879 w 2275918"/>
                <a:gd name="connsiteY1" fmla="*/ 4342328 h 4940792"/>
                <a:gd name="connsiteX2" fmla="*/ 698740 w 2275918"/>
                <a:gd name="connsiteY2" fmla="*/ 4928924 h 4940792"/>
                <a:gd name="connsiteX3" fmla="*/ 1141709 w 2275918"/>
                <a:gd name="connsiteY3" fmla="*/ 4940792 h 4940792"/>
                <a:gd name="connsiteX4" fmla="*/ 1682151 w 2275918"/>
                <a:gd name="connsiteY4" fmla="*/ 4463098 h 4940792"/>
                <a:gd name="connsiteX5" fmla="*/ 1725283 w 2275918"/>
                <a:gd name="connsiteY5" fmla="*/ 1668139 h 4940792"/>
                <a:gd name="connsiteX6" fmla="*/ 1466491 w 2275918"/>
                <a:gd name="connsiteY6" fmla="*/ 1383468 h 4940792"/>
                <a:gd name="connsiteX7" fmla="*/ 1190446 w 2275918"/>
                <a:gd name="connsiteY7" fmla="*/ 1386050 h 4940792"/>
                <a:gd name="connsiteX8" fmla="*/ 957532 w 2275918"/>
                <a:gd name="connsiteY8" fmla="*/ 1625007 h 4940792"/>
                <a:gd name="connsiteX9" fmla="*/ 940499 w 2275918"/>
                <a:gd name="connsiteY9" fmla="*/ 2654353 h 4940792"/>
                <a:gd name="connsiteX10" fmla="*/ 1121434 w 2275918"/>
                <a:gd name="connsiteY10" fmla="*/ 2987981 h 4940792"/>
                <a:gd name="connsiteX11" fmla="*/ 1440612 w 2275918"/>
                <a:gd name="connsiteY11" fmla="*/ 2987981 h 4940792"/>
                <a:gd name="connsiteX12" fmla="*/ 1406106 w 2275918"/>
                <a:gd name="connsiteY12" fmla="*/ 4281943 h 4940792"/>
                <a:gd name="connsiteX13" fmla="*/ 1017917 w 2275918"/>
                <a:gd name="connsiteY13" fmla="*/ 4661505 h 4940792"/>
                <a:gd name="connsiteX14" fmla="*/ 828136 w 2275918"/>
                <a:gd name="connsiteY14" fmla="*/ 4670132 h 4940792"/>
                <a:gd name="connsiteX15" fmla="*/ 379562 w 2275918"/>
                <a:gd name="connsiteY15" fmla="*/ 4290570 h 4940792"/>
                <a:gd name="connsiteX16" fmla="*/ 370936 w 2275918"/>
                <a:gd name="connsiteY16" fmla="*/ 814124 h 4940792"/>
                <a:gd name="connsiteX17" fmla="*/ 879895 w 2275918"/>
                <a:gd name="connsiteY17" fmla="*/ 382804 h 4940792"/>
                <a:gd name="connsiteX18" fmla="*/ 1293962 w 2275918"/>
                <a:gd name="connsiteY18" fmla="*/ 382804 h 4940792"/>
                <a:gd name="connsiteX19" fmla="*/ 1906438 w 2275918"/>
                <a:gd name="connsiteY19" fmla="*/ 900388 h 4940792"/>
                <a:gd name="connsiteX20" fmla="*/ 1906438 w 2275918"/>
                <a:gd name="connsiteY20" fmla="*/ 3936887 h 4940792"/>
                <a:gd name="connsiteX21" fmla="*/ 1992702 w 2275918"/>
                <a:gd name="connsiteY21" fmla="*/ 4005898 h 4940792"/>
                <a:gd name="connsiteX22" fmla="*/ 2127703 w 2275918"/>
                <a:gd name="connsiteY22" fmla="*/ 4014085 h 4940792"/>
                <a:gd name="connsiteX23" fmla="*/ 2208362 w 2275918"/>
                <a:gd name="connsiteY23" fmla="*/ 3945513 h 4940792"/>
                <a:gd name="connsiteX24" fmla="*/ 2225615 w 2275918"/>
                <a:gd name="connsiteY24" fmla="*/ 684728 h 4940792"/>
                <a:gd name="connsiteX25" fmla="*/ 1518249 w 2275918"/>
                <a:gd name="connsiteY25" fmla="*/ 0 h 4940792"/>
                <a:gd name="connsiteX26" fmla="*/ 681487 w 2275918"/>
                <a:gd name="connsiteY26" fmla="*/ 20494 h 4940792"/>
                <a:gd name="connsiteX27" fmla="*/ 0 w 2275918"/>
                <a:gd name="connsiteY27" fmla="*/ 667475 h 4940792"/>
                <a:gd name="connsiteX0" fmla="*/ 0 w 2275918"/>
                <a:gd name="connsiteY0" fmla="*/ 667475 h 4940792"/>
                <a:gd name="connsiteX1" fmla="*/ 25879 w 2275918"/>
                <a:gd name="connsiteY1" fmla="*/ 4342328 h 4940792"/>
                <a:gd name="connsiteX2" fmla="*/ 698740 w 2275918"/>
                <a:gd name="connsiteY2" fmla="*/ 4928924 h 4940792"/>
                <a:gd name="connsiteX3" fmla="*/ 1141709 w 2275918"/>
                <a:gd name="connsiteY3" fmla="*/ 4940792 h 4940792"/>
                <a:gd name="connsiteX4" fmla="*/ 1682151 w 2275918"/>
                <a:gd name="connsiteY4" fmla="*/ 4463098 h 4940792"/>
                <a:gd name="connsiteX5" fmla="*/ 1725283 w 2275918"/>
                <a:gd name="connsiteY5" fmla="*/ 1668139 h 4940792"/>
                <a:gd name="connsiteX6" fmla="*/ 1466491 w 2275918"/>
                <a:gd name="connsiteY6" fmla="*/ 1383468 h 4940792"/>
                <a:gd name="connsiteX7" fmla="*/ 1190446 w 2275918"/>
                <a:gd name="connsiteY7" fmla="*/ 1386050 h 4940792"/>
                <a:gd name="connsiteX8" fmla="*/ 957532 w 2275918"/>
                <a:gd name="connsiteY8" fmla="*/ 1625007 h 4940792"/>
                <a:gd name="connsiteX9" fmla="*/ 940499 w 2275918"/>
                <a:gd name="connsiteY9" fmla="*/ 2654353 h 4940792"/>
                <a:gd name="connsiteX10" fmla="*/ 1121434 w 2275918"/>
                <a:gd name="connsiteY10" fmla="*/ 2987981 h 4940792"/>
                <a:gd name="connsiteX11" fmla="*/ 1440612 w 2275918"/>
                <a:gd name="connsiteY11" fmla="*/ 2987981 h 4940792"/>
                <a:gd name="connsiteX12" fmla="*/ 1406106 w 2275918"/>
                <a:gd name="connsiteY12" fmla="*/ 4281943 h 4940792"/>
                <a:gd name="connsiteX13" fmla="*/ 1017917 w 2275918"/>
                <a:gd name="connsiteY13" fmla="*/ 4661505 h 4940792"/>
                <a:gd name="connsiteX14" fmla="*/ 828136 w 2275918"/>
                <a:gd name="connsiteY14" fmla="*/ 4670132 h 4940792"/>
                <a:gd name="connsiteX15" fmla="*/ 379562 w 2275918"/>
                <a:gd name="connsiteY15" fmla="*/ 4290570 h 4940792"/>
                <a:gd name="connsiteX16" fmla="*/ 370936 w 2275918"/>
                <a:gd name="connsiteY16" fmla="*/ 814124 h 4940792"/>
                <a:gd name="connsiteX17" fmla="*/ 879895 w 2275918"/>
                <a:gd name="connsiteY17" fmla="*/ 382804 h 4940792"/>
                <a:gd name="connsiteX18" fmla="*/ 1293962 w 2275918"/>
                <a:gd name="connsiteY18" fmla="*/ 382804 h 4940792"/>
                <a:gd name="connsiteX19" fmla="*/ 1906438 w 2275918"/>
                <a:gd name="connsiteY19" fmla="*/ 900388 h 4940792"/>
                <a:gd name="connsiteX20" fmla="*/ 1906438 w 2275918"/>
                <a:gd name="connsiteY20" fmla="*/ 3936887 h 4940792"/>
                <a:gd name="connsiteX21" fmla="*/ 1992702 w 2275918"/>
                <a:gd name="connsiteY21" fmla="*/ 4005898 h 4940792"/>
                <a:gd name="connsiteX22" fmla="*/ 2127703 w 2275918"/>
                <a:gd name="connsiteY22" fmla="*/ 4014085 h 4940792"/>
                <a:gd name="connsiteX23" fmla="*/ 2208362 w 2275918"/>
                <a:gd name="connsiteY23" fmla="*/ 3945513 h 4940792"/>
                <a:gd name="connsiteX24" fmla="*/ 2225615 w 2275918"/>
                <a:gd name="connsiteY24" fmla="*/ 684728 h 4940792"/>
                <a:gd name="connsiteX25" fmla="*/ 1518249 w 2275918"/>
                <a:gd name="connsiteY25" fmla="*/ 0 h 4940792"/>
                <a:gd name="connsiteX26" fmla="*/ 681487 w 2275918"/>
                <a:gd name="connsiteY26" fmla="*/ 20494 h 4940792"/>
                <a:gd name="connsiteX27" fmla="*/ 0 w 2275918"/>
                <a:gd name="connsiteY27" fmla="*/ 667475 h 4940792"/>
                <a:gd name="connsiteX0" fmla="*/ 0 w 2274700"/>
                <a:gd name="connsiteY0" fmla="*/ 667475 h 4940792"/>
                <a:gd name="connsiteX1" fmla="*/ 25879 w 2274700"/>
                <a:gd name="connsiteY1" fmla="*/ 4342328 h 4940792"/>
                <a:gd name="connsiteX2" fmla="*/ 698740 w 2274700"/>
                <a:gd name="connsiteY2" fmla="*/ 4928924 h 4940792"/>
                <a:gd name="connsiteX3" fmla="*/ 1141709 w 2274700"/>
                <a:gd name="connsiteY3" fmla="*/ 4940792 h 4940792"/>
                <a:gd name="connsiteX4" fmla="*/ 1682151 w 2274700"/>
                <a:gd name="connsiteY4" fmla="*/ 4463098 h 4940792"/>
                <a:gd name="connsiteX5" fmla="*/ 1725283 w 2274700"/>
                <a:gd name="connsiteY5" fmla="*/ 1668139 h 4940792"/>
                <a:gd name="connsiteX6" fmla="*/ 1466491 w 2274700"/>
                <a:gd name="connsiteY6" fmla="*/ 1383468 h 4940792"/>
                <a:gd name="connsiteX7" fmla="*/ 1190446 w 2274700"/>
                <a:gd name="connsiteY7" fmla="*/ 1386050 h 4940792"/>
                <a:gd name="connsiteX8" fmla="*/ 957532 w 2274700"/>
                <a:gd name="connsiteY8" fmla="*/ 1625007 h 4940792"/>
                <a:gd name="connsiteX9" fmla="*/ 940499 w 2274700"/>
                <a:gd name="connsiteY9" fmla="*/ 2654353 h 4940792"/>
                <a:gd name="connsiteX10" fmla="*/ 1121434 w 2274700"/>
                <a:gd name="connsiteY10" fmla="*/ 2987981 h 4940792"/>
                <a:gd name="connsiteX11" fmla="*/ 1440612 w 2274700"/>
                <a:gd name="connsiteY11" fmla="*/ 2987981 h 4940792"/>
                <a:gd name="connsiteX12" fmla="*/ 1406106 w 2274700"/>
                <a:gd name="connsiteY12" fmla="*/ 4281943 h 4940792"/>
                <a:gd name="connsiteX13" fmla="*/ 1017917 w 2274700"/>
                <a:gd name="connsiteY13" fmla="*/ 4661505 h 4940792"/>
                <a:gd name="connsiteX14" fmla="*/ 828136 w 2274700"/>
                <a:gd name="connsiteY14" fmla="*/ 4670132 h 4940792"/>
                <a:gd name="connsiteX15" fmla="*/ 379562 w 2274700"/>
                <a:gd name="connsiteY15" fmla="*/ 4290570 h 4940792"/>
                <a:gd name="connsiteX16" fmla="*/ 370936 w 2274700"/>
                <a:gd name="connsiteY16" fmla="*/ 814124 h 4940792"/>
                <a:gd name="connsiteX17" fmla="*/ 879895 w 2274700"/>
                <a:gd name="connsiteY17" fmla="*/ 382804 h 4940792"/>
                <a:gd name="connsiteX18" fmla="*/ 1293962 w 2274700"/>
                <a:gd name="connsiteY18" fmla="*/ 382804 h 4940792"/>
                <a:gd name="connsiteX19" fmla="*/ 1906438 w 2274700"/>
                <a:gd name="connsiteY19" fmla="*/ 900388 h 4940792"/>
                <a:gd name="connsiteX20" fmla="*/ 1906438 w 2274700"/>
                <a:gd name="connsiteY20" fmla="*/ 3936887 h 4940792"/>
                <a:gd name="connsiteX21" fmla="*/ 1992702 w 2274700"/>
                <a:gd name="connsiteY21" fmla="*/ 4005898 h 4940792"/>
                <a:gd name="connsiteX22" fmla="*/ 2127703 w 2274700"/>
                <a:gd name="connsiteY22" fmla="*/ 4014085 h 4940792"/>
                <a:gd name="connsiteX23" fmla="*/ 2208362 w 2274700"/>
                <a:gd name="connsiteY23" fmla="*/ 3945513 h 4940792"/>
                <a:gd name="connsiteX24" fmla="*/ 2225615 w 2274700"/>
                <a:gd name="connsiteY24" fmla="*/ 684728 h 4940792"/>
                <a:gd name="connsiteX25" fmla="*/ 1518249 w 2274700"/>
                <a:gd name="connsiteY25" fmla="*/ 0 h 4940792"/>
                <a:gd name="connsiteX26" fmla="*/ 681487 w 2274700"/>
                <a:gd name="connsiteY26" fmla="*/ 20494 h 4940792"/>
                <a:gd name="connsiteX27" fmla="*/ 0 w 2274700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17917 w 2225615"/>
                <a:gd name="connsiteY13" fmla="*/ 4661505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17917 w 2225615"/>
                <a:gd name="connsiteY13" fmla="*/ 4661505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17917 w 2225615"/>
                <a:gd name="connsiteY13" fmla="*/ 4661505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84802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84802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14085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406106 w 2225615"/>
                <a:gd name="connsiteY12" fmla="*/ 4281943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44061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82151 w 2225615"/>
                <a:gd name="connsiteY4" fmla="*/ 4463098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725283 w 2225615"/>
                <a:gd name="connsiteY5" fmla="*/ 1668139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66491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06438 w 2225615"/>
                <a:gd name="connsiteY19" fmla="*/ 900388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14055 w 2225615"/>
                <a:gd name="connsiteY19" fmla="*/ 709947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14055 w 2225615"/>
                <a:gd name="connsiteY19" fmla="*/ 709947 h 4940792"/>
                <a:gd name="connsiteX20" fmla="*/ 1906438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14055 w 2225615"/>
                <a:gd name="connsiteY19" fmla="*/ 709947 h 4940792"/>
                <a:gd name="connsiteX20" fmla="*/ 1921673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46732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36908 w 2225615"/>
                <a:gd name="connsiteY19" fmla="*/ 709947 h 4940792"/>
                <a:gd name="connsiteX20" fmla="*/ 1921673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627165 w 2225615"/>
                <a:gd name="connsiteY4" fmla="*/ 4455243 h 4940792"/>
                <a:gd name="connsiteX5" fmla="*/ 1623879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36908 w 2225615"/>
                <a:gd name="connsiteY19" fmla="*/ 709947 h 4940792"/>
                <a:gd name="connsiteX20" fmla="*/ 1921673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  <a:gd name="connsiteX0" fmla="*/ 0 w 2225615"/>
                <a:gd name="connsiteY0" fmla="*/ 667475 h 4940792"/>
                <a:gd name="connsiteX1" fmla="*/ 25879 w 2225615"/>
                <a:gd name="connsiteY1" fmla="*/ 4342328 h 4940792"/>
                <a:gd name="connsiteX2" fmla="*/ 698740 w 2225615"/>
                <a:gd name="connsiteY2" fmla="*/ 4928924 h 4940792"/>
                <a:gd name="connsiteX3" fmla="*/ 1141709 w 2225615"/>
                <a:gd name="connsiteY3" fmla="*/ 4940792 h 4940792"/>
                <a:gd name="connsiteX4" fmla="*/ 1596694 w 2225615"/>
                <a:gd name="connsiteY4" fmla="*/ 4455243 h 4940792"/>
                <a:gd name="connsiteX5" fmla="*/ 1623879 w 2225615"/>
                <a:gd name="connsiteY5" fmla="*/ 1675994 h 4940792"/>
                <a:gd name="connsiteX6" fmla="*/ 1442926 w 2225615"/>
                <a:gd name="connsiteY6" fmla="*/ 1383468 h 4940792"/>
                <a:gd name="connsiteX7" fmla="*/ 1190446 w 2225615"/>
                <a:gd name="connsiteY7" fmla="*/ 1386050 h 4940792"/>
                <a:gd name="connsiteX8" fmla="*/ 957532 w 2225615"/>
                <a:gd name="connsiteY8" fmla="*/ 1625007 h 4940792"/>
                <a:gd name="connsiteX9" fmla="*/ 940499 w 2225615"/>
                <a:gd name="connsiteY9" fmla="*/ 2654353 h 4940792"/>
                <a:gd name="connsiteX10" fmla="*/ 1121434 w 2225615"/>
                <a:gd name="connsiteY10" fmla="*/ 2987981 h 4940792"/>
                <a:gd name="connsiteX11" fmla="*/ 1393482 w 2225615"/>
                <a:gd name="connsiteY11" fmla="*/ 2987981 h 4940792"/>
                <a:gd name="connsiteX12" fmla="*/ 1358975 w 2225615"/>
                <a:gd name="connsiteY12" fmla="*/ 4281944 h 4940792"/>
                <a:gd name="connsiteX13" fmla="*/ 1023741 w 2225615"/>
                <a:gd name="connsiteY13" fmla="*/ 4667329 h 4940792"/>
                <a:gd name="connsiteX14" fmla="*/ 828136 w 2225615"/>
                <a:gd name="connsiteY14" fmla="*/ 4670132 h 4940792"/>
                <a:gd name="connsiteX15" fmla="*/ 379562 w 2225615"/>
                <a:gd name="connsiteY15" fmla="*/ 4290570 h 4940792"/>
                <a:gd name="connsiteX16" fmla="*/ 370936 w 2225615"/>
                <a:gd name="connsiteY16" fmla="*/ 814124 h 4940792"/>
                <a:gd name="connsiteX17" fmla="*/ 879895 w 2225615"/>
                <a:gd name="connsiteY17" fmla="*/ 382804 h 4940792"/>
                <a:gd name="connsiteX18" fmla="*/ 1293962 w 2225615"/>
                <a:gd name="connsiteY18" fmla="*/ 382804 h 4940792"/>
                <a:gd name="connsiteX19" fmla="*/ 1936908 w 2225615"/>
                <a:gd name="connsiteY19" fmla="*/ 709947 h 4940792"/>
                <a:gd name="connsiteX20" fmla="*/ 1921673 w 2225615"/>
                <a:gd name="connsiteY20" fmla="*/ 3936887 h 4940792"/>
                <a:gd name="connsiteX21" fmla="*/ 1992702 w 2225615"/>
                <a:gd name="connsiteY21" fmla="*/ 4005898 h 4940792"/>
                <a:gd name="connsiteX22" fmla="*/ 2127703 w 2225615"/>
                <a:gd name="connsiteY22" fmla="*/ 4006942 h 4940792"/>
                <a:gd name="connsiteX23" fmla="*/ 2208362 w 2225615"/>
                <a:gd name="connsiteY23" fmla="*/ 3945513 h 4940792"/>
                <a:gd name="connsiteX24" fmla="*/ 2225615 w 2225615"/>
                <a:gd name="connsiteY24" fmla="*/ 684728 h 4940792"/>
                <a:gd name="connsiteX25" fmla="*/ 1518249 w 2225615"/>
                <a:gd name="connsiteY25" fmla="*/ 0 h 4940792"/>
                <a:gd name="connsiteX26" fmla="*/ 681487 w 2225615"/>
                <a:gd name="connsiteY26" fmla="*/ 20494 h 4940792"/>
                <a:gd name="connsiteX27" fmla="*/ 0 w 2225615"/>
                <a:gd name="connsiteY27" fmla="*/ 667475 h 494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25615" h="4940792">
                  <a:moveTo>
                    <a:pt x="0" y="667475"/>
                  </a:moveTo>
                  <a:cubicBezTo>
                    <a:pt x="30512" y="4433840"/>
                    <a:pt x="2609" y="673391"/>
                    <a:pt x="25879" y="4342328"/>
                  </a:cubicBezTo>
                  <a:cubicBezTo>
                    <a:pt x="66622" y="5029273"/>
                    <a:pt x="334159" y="4915572"/>
                    <a:pt x="698740" y="4928924"/>
                  </a:cubicBezTo>
                  <a:cubicBezTo>
                    <a:pt x="1168156" y="4942275"/>
                    <a:pt x="709894" y="4925243"/>
                    <a:pt x="1141709" y="4940792"/>
                  </a:cubicBezTo>
                  <a:cubicBezTo>
                    <a:pt x="1416271" y="4886451"/>
                    <a:pt x="1610091" y="4971564"/>
                    <a:pt x="1596694" y="4455243"/>
                  </a:cubicBezTo>
                  <a:cubicBezTo>
                    <a:pt x="1635714" y="1638362"/>
                    <a:pt x="1578283" y="4559716"/>
                    <a:pt x="1623879" y="1675994"/>
                  </a:cubicBezTo>
                  <a:cubicBezTo>
                    <a:pt x="1617057" y="1296680"/>
                    <a:pt x="1537889" y="1409128"/>
                    <a:pt x="1442926" y="1383468"/>
                  </a:cubicBezTo>
                  <a:cubicBezTo>
                    <a:pt x="1243128" y="1369457"/>
                    <a:pt x="1543186" y="1386563"/>
                    <a:pt x="1190446" y="1386050"/>
                  </a:cubicBezTo>
                  <a:cubicBezTo>
                    <a:pt x="1047378" y="1397185"/>
                    <a:pt x="972981" y="1424301"/>
                    <a:pt x="957532" y="1625007"/>
                  </a:cubicBezTo>
                  <a:cubicBezTo>
                    <a:pt x="947907" y="2699343"/>
                    <a:pt x="948127" y="1617627"/>
                    <a:pt x="940499" y="2654353"/>
                  </a:cubicBezTo>
                  <a:cubicBezTo>
                    <a:pt x="944519" y="2910636"/>
                    <a:pt x="1014785" y="2955672"/>
                    <a:pt x="1121434" y="2987981"/>
                  </a:cubicBezTo>
                  <a:cubicBezTo>
                    <a:pt x="1490172" y="2973696"/>
                    <a:pt x="1346037" y="2772321"/>
                    <a:pt x="1393482" y="2987981"/>
                  </a:cubicBezTo>
                  <a:cubicBezTo>
                    <a:pt x="1365212" y="4391779"/>
                    <a:pt x="1399333" y="3006114"/>
                    <a:pt x="1358975" y="4281944"/>
                  </a:cubicBezTo>
                  <a:cubicBezTo>
                    <a:pt x="1341915" y="4655022"/>
                    <a:pt x="1207432" y="4596807"/>
                    <a:pt x="1023741" y="4667329"/>
                  </a:cubicBezTo>
                  <a:cubicBezTo>
                    <a:pt x="822578" y="4685434"/>
                    <a:pt x="1051012" y="4673711"/>
                    <a:pt x="828136" y="4670132"/>
                  </a:cubicBezTo>
                  <a:cubicBezTo>
                    <a:pt x="570314" y="4684025"/>
                    <a:pt x="444113" y="4642028"/>
                    <a:pt x="379562" y="4290570"/>
                  </a:cubicBezTo>
                  <a:cubicBezTo>
                    <a:pt x="303362" y="3647902"/>
                    <a:pt x="287547" y="1465418"/>
                    <a:pt x="370936" y="814124"/>
                  </a:cubicBezTo>
                  <a:cubicBezTo>
                    <a:pt x="361137" y="442392"/>
                    <a:pt x="580452" y="384800"/>
                    <a:pt x="879895" y="382804"/>
                  </a:cubicBezTo>
                  <a:cubicBezTo>
                    <a:pt x="1354064" y="374983"/>
                    <a:pt x="866607" y="383903"/>
                    <a:pt x="1293962" y="382804"/>
                  </a:cubicBezTo>
                  <a:cubicBezTo>
                    <a:pt x="1587360" y="375881"/>
                    <a:pt x="1918623" y="346129"/>
                    <a:pt x="1936908" y="709947"/>
                  </a:cubicBezTo>
                  <a:cubicBezTo>
                    <a:pt x="1934152" y="3929010"/>
                    <a:pt x="1924769" y="897422"/>
                    <a:pt x="1921673" y="3936887"/>
                  </a:cubicBezTo>
                  <a:cubicBezTo>
                    <a:pt x="1926783" y="4023223"/>
                    <a:pt x="1931132" y="4007062"/>
                    <a:pt x="1992702" y="4005898"/>
                  </a:cubicBezTo>
                  <a:cubicBezTo>
                    <a:pt x="2143440" y="4005538"/>
                    <a:pt x="1986924" y="4005358"/>
                    <a:pt x="2127703" y="4006942"/>
                  </a:cubicBezTo>
                  <a:cubicBezTo>
                    <a:pt x="2204415" y="4006404"/>
                    <a:pt x="2206847" y="4018316"/>
                    <a:pt x="2208362" y="3945513"/>
                  </a:cubicBezTo>
                  <a:cubicBezTo>
                    <a:pt x="2218857" y="647420"/>
                    <a:pt x="2212501" y="4155404"/>
                    <a:pt x="2225615" y="684728"/>
                  </a:cubicBezTo>
                  <a:cubicBezTo>
                    <a:pt x="2221255" y="114506"/>
                    <a:pt x="1729010" y="5870"/>
                    <a:pt x="1518249" y="0"/>
                  </a:cubicBezTo>
                  <a:cubicBezTo>
                    <a:pt x="661001" y="23250"/>
                    <a:pt x="1601436" y="27"/>
                    <a:pt x="681487" y="20494"/>
                  </a:cubicBezTo>
                  <a:cubicBezTo>
                    <a:pt x="681762" y="23489"/>
                    <a:pt x="4432" y="28707"/>
                    <a:pt x="0" y="667475"/>
                  </a:cubicBezTo>
                  <a:close/>
                </a:path>
              </a:pathLst>
            </a:custGeom>
            <a:solidFill>
              <a:srgbClr val="007ABD"/>
            </a:solidFill>
            <a:ln>
              <a:solidFill>
                <a:srgbClr val="007A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10256478" y="62962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12" name="Group 211"/>
          <p:cNvGrpSpPr/>
          <p:nvPr/>
        </p:nvGrpSpPr>
        <p:grpSpPr>
          <a:xfrm>
            <a:off x="1482915" y="1295524"/>
            <a:ext cx="792000" cy="792000"/>
            <a:chOff x="10157159" y="1325592"/>
            <a:chExt cx="792000" cy="792000"/>
          </a:xfrm>
        </p:grpSpPr>
        <p:sp>
          <p:nvSpPr>
            <p:cNvPr id="213" name="Freeform 61"/>
            <p:cNvSpPr>
              <a:spLocks noEditPoints="1"/>
            </p:cNvSpPr>
            <p:nvPr/>
          </p:nvSpPr>
          <p:spPr bwMode="black">
            <a:xfrm>
              <a:off x="10260342" y="1354659"/>
              <a:ext cx="585634" cy="733866"/>
            </a:xfrm>
            <a:custGeom>
              <a:avLst/>
              <a:gdLst>
                <a:gd name="T0" fmla="*/ 91 w 162"/>
                <a:gd name="T1" fmla="*/ 100 h 203"/>
                <a:gd name="T2" fmla="*/ 128 w 162"/>
                <a:gd name="T3" fmla="*/ 203 h 203"/>
                <a:gd name="T4" fmla="*/ 108 w 162"/>
                <a:gd name="T5" fmla="*/ 203 h 203"/>
                <a:gd name="T6" fmla="*/ 81 w 162"/>
                <a:gd name="T7" fmla="*/ 180 h 203"/>
                <a:gd name="T8" fmla="*/ 54 w 162"/>
                <a:gd name="T9" fmla="*/ 203 h 203"/>
                <a:gd name="T10" fmla="*/ 34 w 162"/>
                <a:gd name="T11" fmla="*/ 203 h 203"/>
                <a:gd name="T12" fmla="*/ 71 w 162"/>
                <a:gd name="T13" fmla="*/ 100 h 203"/>
                <a:gd name="T14" fmla="*/ 64 w 162"/>
                <a:gd name="T15" fmla="*/ 86 h 203"/>
                <a:gd name="T16" fmla="*/ 81 w 162"/>
                <a:gd name="T17" fmla="*/ 69 h 203"/>
                <a:gd name="T18" fmla="*/ 98 w 162"/>
                <a:gd name="T19" fmla="*/ 86 h 203"/>
                <a:gd name="T20" fmla="*/ 91 w 162"/>
                <a:gd name="T21" fmla="*/ 100 h 203"/>
                <a:gd name="T22" fmla="*/ 81 w 162"/>
                <a:gd name="T23" fmla="*/ 34 h 203"/>
                <a:gd name="T24" fmla="*/ 130 w 162"/>
                <a:gd name="T25" fmla="*/ 83 h 203"/>
                <a:gd name="T26" fmla="*/ 107 w 162"/>
                <a:gd name="T27" fmla="*/ 123 h 203"/>
                <a:gd name="T28" fmla="*/ 106 w 162"/>
                <a:gd name="T29" fmla="*/ 117 h 203"/>
                <a:gd name="T30" fmla="*/ 121 w 162"/>
                <a:gd name="T31" fmla="*/ 86 h 203"/>
                <a:gd name="T32" fmla="*/ 81 w 162"/>
                <a:gd name="T33" fmla="*/ 47 h 203"/>
                <a:gd name="T34" fmla="*/ 42 w 162"/>
                <a:gd name="T35" fmla="*/ 86 h 203"/>
                <a:gd name="T36" fmla="*/ 56 w 162"/>
                <a:gd name="T37" fmla="*/ 117 h 203"/>
                <a:gd name="T38" fmla="*/ 55 w 162"/>
                <a:gd name="T39" fmla="*/ 123 h 203"/>
                <a:gd name="T40" fmla="*/ 33 w 162"/>
                <a:gd name="T41" fmla="*/ 83 h 203"/>
                <a:gd name="T42" fmla="*/ 81 w 162"/>
                <a:gd name="T43" fmla="*/ 34 h 203"/>
                <a:gd name="T44" fmla="*/ 81 w 162"/>
                <a:gd name="T45" fmla="*/ 0 h 203"/>
                <a:gd name="T46" fmla="*/ 162 w 162"/>
                <a:gd name="T47" fmla="*/ 81 h 203"/>
                <a:gd name="T48" fmla="*/ 118 w 162"/>
                <a:gd name="T49" fmla="*/ 154 h 203"/>
                <a:gd name="T50" fmla="*/ 115 w 162"/>
                <a:gd name="T51" fmla="*/ 148 h 203"/>
                <a:gd name="T52" fmla="*/ 153 w 162"/>
                <a:gd name="T53" fmla="*/ 85 h 203"/>
                <a:gd name="T54" fmla="*/ 81 w 162"/>
                <a:gd name="T55" fmla="*/ 13 h 203"/>
                <a:gd name="T56" fmla="*/ 10 w 162"/>
                <a:gd name="T57" fmla="*/ 85 h 203"/>
                <a:gd name="T58" fmla="*/ 47 w 162"/>
                <a:gd name="T59" fmla="*/ 148 h 203"/>
                <a:gd name="T60" fmla="*/ 45 w 162"/>
                <a:gd name="T61" fmla="*/ 154 h 203"/>
                <a:gd name="T62" fmla="*/ 0 w 162"/>
                <a:gd name="T63" fmla="*/ 81 h 203"/>
                <a:gd name="T64" fmla="*/ 81 w 162"/>
                <a:gd name="T65" fmla="*/ 0 h 203"/>
                <a:gd name="T66" fmla="*/ 81 w 162"/>
                <a:gd name="T67" fmla="*/ 124 h 203"/>
                <a:gd name="T68" fmla="*/ 89 w 162"/>
                <a:gd name="T69" fmla="*/ 132 h 203"/>
                <a:gd name="T70" fmla="*/ 81 w 162"/>
                <a:gd name="T71" fmla="*/ 139 h 203"/>
                <a:gd name="T72" fmla="*/ 73 w 162"/>
                <a:gd name="T73" fmla="*/ 132 h 203"/>
                <a:gd name="T74" fmla="*/ 81 w 162"/>
                <a:gd name="T75" fmla="*/ 124 h 203"/>
                <a:gd name="T76" fmla="*/ 81 w 162"/>
                <a:gd name="T77" fmla="*/ 171 h 203"/>
                <a:gd name="T78" fmla="*/ 95 w 162"/>
                <a:gd name="T79" fmla="*/ 160 h 203"/>
                <a:gd name="T80" fmla="*/ 81 w 162"/>
                <a:gd name="T81" fmla="*/ 149 h 203"/>
                <a:gd name="T82" fmla="*/ 68 w 162"/>
                <a:gd name="T83" fmla="*/ 160 h 203"/>
                <a:gd name="T84" fmla="*/ 81 w 162"/>
                <a:gd name="T85" fmla="*/ 17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2" h="203">
                  <a:moveTo>
                    <a:pt x="91" y="100"/>
                  </a:moveTo>
                  <a:cubicBezTo>
                    <a:pt x="98" y="144"/>
                    <a:pt x="114" y="181"/>
                    <a:pt x="128" y="203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8" y="190"/>
                    <a:pt x="100" y="180"/>
                    <a:pt x="81" y="180"/>
                  </a:cubicBezTo>
                  <a:cubicBezTo>
                    <a:pt x="63" y="180"/>
                    <a:pt x="55" y="190"/>
                    <a:pt x="54" y="203"/>
                  </a:cubicBezTo>
                  <a:cubicBezTo>
                    <a:pt x="34" y="203"/>
                    <a:pt x="34" y="203"/>
                    <a:pt x="34" y="203"/>
                  </a:cubicBezTo>
                  <a:cubicBezTo>
                    <a:pt x="49" y="181"/>
                    <a:pt x="64" y="144"/>
                    <a:pt x="71" y="100"/>
                  </a:cubicBezTo>
                  <a:cubicBezTo>
                    <a:pt x="67" y="97"/>
                    <a:pt x="64" y="92"/>
                    <a:pt x="64" y="86"/>
                  </a:cubicBezTo>
                  <a:cubicBezTo>
                    <a:pt x="64" y="77"/>
                    <a:pt x="72" y="69"/>
                    <a:pt x="81" y="69"/>
                  </a:cubicBezTo>
                  <a:cubicBezTo>
                    <a:pt x="91" y="69"/>
                    <a:pt x="98" y="77"/>
                    <a:pt x="98" y="86"/>
                  </a:cubicBezTo>
                  <a:cubicBezTo>
                    <a:pt x="98" y="92"/>
                    <a:pt x="96" y="97"/>
                    <a:pt x="91" y="100"/>
                  </a:cubicBezTo>
                  <a:close/>
                  <a:moveTo>
                    <a:pt x="81" y="34"/>
                  </a:moveTo>
                  <a:cubicBezTo>
                    <a:pt x="108" y="34"/>
                    <a:pt x="130" y="56"/>
                    <a:pt x="130" y="83"/>
                  </a:cubicBezTo>
                  <a:cubicBezTo>
                    <a:pt x="130" y="100"/>
                    <a:pt x="121" y="115"/>
                    <a:pt x="107" y="123"/>
                  </a:cubicBezTo>
                  <a:cubicBezTo>
                    <a:pt x="107" y="121"/>
                    <a:pt x="106" y="119"/>
                    <a:pt x="106" y="117"/>
                  </a:cubicBezTo>
                  <a:cubicBezTo>
                    <a:pt x="115" y="110"/>
                    <a:pt x="121" y="99"/>
                    <a:pt x="121" y="86"/>
                  </a:cubicBezTo>
                  <a:cubicBezTo>
                    <a:pt x="121" y="64"/>
                    <a:pt x="103" y="47"/>
                    <a:pt x="81" y="47"/>
                  </a:cubicBezTo>
                  <a:cubicBezTo>
                    <a:pt x="59" y="47"/>
                    <a:pt x="42" y="64"/>
                    <a:pt x="42" y="86"/>
                  </a:cubicBezTo>
                  <a:cubicBezTo>
                    <a:pt x="42" y="99"/>
                    <a:pt x="47" y="110"/>
                    <a:pt x="56" y="117"/>
                  </a:cubicBezTo>
                  <a:cubicBezTo>
                    <a:pt x="56" y="119"/>
                    <a:pt x="55" y="121"/>
                    <a:pt x="55" y="123"/>
                  </a:cubicBezTo>
                  <a:cubicBezTo>
                    <a:pt x="42" y="115"/>
                    <a:pt x="33" y="100"/>
                    <a:pt x="33" y="83"/>
                  </a:cubicBezTo>
                  <a:cubicBezTo>
                    <a:pt x="33" y="56"/>
                    <a:pt x="54" y="34"/>
                    <a:pt x="81" y="34"/>
                  </a:cubicBezTo>
                  <a:close/>
                  <a:moveTo>
                    <a:pt x="81" y="0"/>
                  </a:moveTo>
                  <a:cubicBezTo>
                    <a:pt x="126" y="0"/>
                    <a:pt x="162" y="37"/>
                    <a:pt x="162" y="81"/>
                  </a:cubicBezTo>
                  <a:cubicBezTo>
                    <a:pt x="162" y="113"/>
                    <a:pt x="144" y="141"/>
                    <a:pt x="118" y="154"/>
                  </a:cubicBezTo>
                  <a:cubicBezTo>
                    <a:pt x="117" y="152"/>
                    <a:pt x="116" y="150"/>
                    <a:pt x="115" y="148"/>
                  </a:cubicBezTo>
                  <a:cubicBezTo>
                    <a:pt x="138" y="136"/>
                    <a:pt x="153" y="112"/>
                    <a:pt x="153" y="85"/>
                  </a:cubicBezTo>
                  <a:cubicBezTo>
                    <a:pt x="153" y="45"/>
                    <a:pt x="121" y="13"/>
                    <a:pt x="81" y="13"/>
                  </a:cubicBezTo>
                  <a:cubicBezTo>
                    <a:pt x="42" y="13"/>
                    <a:pt x="10" y="45"/>
                    <a:pt x="10" y="85"/>
                  </a:cubicBezTo>
                  <a:cubicBezTo>
                    <a:pt x="10" y="112"/>
                    <a:pt x="25" y="136"/>
                    <a:pt x="47" y="148"/>
                  </a:cubicBezTo>
                  <a:cubicBezTo>
                    <a:pt x="46" y="150"/>
                    <a:pt x="46" y="152"/>
                    <a:pt x="45" y="154"/>
                  </a:cubicBezTo>
                  <a:cubicBezTo>
                    <a:pt x="18" y="141"/>
                    <a:pt x="0" y="113"/>
                    <a:pt x="0" y="81"/>
                  </a:cubicBezTo>
                  <a:cubicBezTo>
                    <a:pt x="0" y="37"/>
                    <a:pt x="36" y="0"/>
                    <a:pt x="81" y="0"/>
                  </a:cubicBezTo>
                  <a:close/>
                  <a:moveTo>
                    <a:pt x="81" y="124"/>
                  </a:moveTo>
                  <a:cubicBezTo>
                    <a:pt x="87" y="124"/>
                    <a:pt x="89" y="128"/>
                    <a:pt x="89" y="132"/>
                  </a:cubicBezTo>
                  <a:cubicBezTo>
                    <a:pt x="89" y="135"/>
                    <a:pt x="87" y="139"/>
                    <a:pt x="81" y="139"/>
                  </a:cubicBezTo>
                  <a:cubicBezTo>
                    <a:pt x="75" y="139"/>
                    <a:pt x="73" y="135"/>
                    <a:pt x="73" y="132"/>
                  </a:cubicBezTo>
                  <a:cubicBezTo>
                    <a:pt x="73" y="128"/>
                    <a:pt x="75" y="124"/>
                    <a:pt x="81" y="124"/>
                  </a:cubicBezTo>
                  <a:close/>
                  <a:moveTo>
                    <a:pt x="81" y="171"/>
                  </a:moveTo>
                  <a:cubicBezTo>
                    <a:pt x="91" y="171"/>
                    <a:pt x="95" y="166"/>
                    <a:pt x="95" y="160"/>
                  </a:cubicBezTo>
                  <a:cubicBezTo>
                    <a:pt x="95" y="154"/>
                    <a:pt x="91" y="149"/>
                    <a:pt x="81" y="149"/>
                  </a:cubicBezTo>
                  <a:cubicBezTo>
                    <a:pt x="71" y="149"/>
                    <a:pt x="68" y="154"/>
                    <a:pt x="68" y="160"/>
                  </a:cubicBezTo>
                  <a:cubicBezTo>
                    <a:pt x="68" y="166"/>
                    <a:pt x="71" y="171"/>
                    <a:pt x="81" y="171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111925" tIns="55963" rIns="111925" bIns="5596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10157159" y="132559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24" name="Group 223"/>
          <p:cNvGrpSpPr/>
          <p:nvPr/>
        </p:nvGrpSpPr>
        <p:grpSpPr>
          <a:xfrm>
            <a:off x="2295363" y="2083874"/>
            <a:ext cx="792000" cy="792000"/>
            <a:chOff x="9706250" y="1001603"/>
            <a:chExt cx="792000" cy="792000"/>
          </a:xfrm>
        </p:grpSpPr>
        <p:sp>
          <p:nvSpPr>
            <p:cNvPr id="225" name="Freeform 9"/>
            <p:cNvSpPr>
              <a:spLocks noEditPoints="1"/>
            </p:cNvSpPr>
            <p:nvPr/>
          </p:nvSpPr>
          <p:spPr bwMode="black">
            <a:xfrm>
              <a:off x="9756576" y="1051929"/>
              <a:ext cx="691349" cy="691349"/>
            </a:xfrm>
            <a:custGeom>
              <a:avLst/>
              <a:gdLst>
                <a:gd name="T0" fmla="*/ 88 w 149"/>
                <a:gd name="T1" fmla="*/ 67 h 149"/>
                <a:gd name="T2" fmla="*/ 65 w 149"/>
                <a:gd name="T3" fmla="*/ 46 h 149"/>
                <a:gd name="T4" fmla="*/ 84 w 149"/>
                <a:gd name="T5" fmla="*/ 46 h 149"/>
                <a:gd name="T6" fmla="*/ 115 w 149"/>
                <a:gd name="T7" fmla="*/ 75 h 149"/>
                <a:gd name="T8" fmla="*/ 84 w 149"/>
                <a:gd name="T9" fmla="*/ 104 h 149"/>
                <a:gd name="T10" fmla="*/ 65 w 149"/>
                <a:gd name="T11" fmla="*/ 104 h 149"/>
                <a:gd name="T12" fmla="*/ 88 w 149"/>
                <a:gd name="T13" fmla="*/ 82 h 149"/>
                <a:gd name="T14" fmla="*/ 36 w 149"/>
                <a:gd name="T15" fmla="*/ 82 h 149"/>
                <a:gd name="T16" fmla="*/ 36 w 149"/>
                <a:gd name="T17" fmla="*/ 67 h 149"/>
                <a:gd name="T18" fmla="*/ 88 w 149"/>
                <a:gd name="T19" fmla="*/ 67 h 149"/>
                <a:gd name="T20" fmla="*/ 74 w 149"/>
                <a:gd name="T21" fmla="*/ 9 h 149"/>
                <a:gd name="T22" fmla="*/ 140 w 149"/>
                <a:gd name="T23" fmla="*/ 75 h 149"/>
                <a:gd name="T24" fmla="*/ 74 w 149"/>
                <a:gd name="T25" fmla="*/ 140 h 149"/>
                <a:gd name="T26" fmla="*/ 9 w 149"/>
                <a:gd name="T27" fmla="*/ 75 h 149"/>
                <a:gd name="T28" fmla="*/ 74 w 149"/>
                <a:gd name="T29" fmla="*/ 9 h 149"/>
                <a:gd name="T30" fmla="*/ 74 w 149"/>
                <a:gd name="T31" fmla="*/ 0 h 149"/>
                <a:gd name="T32" fmla="*/ 0 w 149"/>
                <a:gd name="T33" fmla="*/ 75 h 149"/>
                <a:gd name="T34" fmla="*/ 74 w 149"/>
                <a:gd name="T35" fmla="*/ 149 h 149"/>
                <a:gd name="T36" fmla="*/ 149 w 149"/>
                <a:gd name="T37" fmla="*/ 75 h 149"/>
                <a:gd name="T38" fmla="*/ 74 w 149"/>
                <a:gd name="T3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88" y="67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67"/>
                    <a:pt x="36" y="67"/>
                    <a:pt x="36" y="67"/>
                  </a:cubicBezTo>
                  <a:lnTo>
                    <a:pt x="88" y="67"/>
                  </a:lnTo>
                  <a:close/>
                  <a:moveTo>
                    <a:pt x="74" y="9"/>
                  </a:moveTo>
                  <a:cubicBezTo>
                    <a:pt x="110" y="9"/>
                    <a:pt x="140" y="39"/>
                    <a:pt x="140" y="75"/>
                  </a:cubicBezTo>
                  <a:cubicBezTo>
                    <a:pt x="140" y="111"/>
                    <a:pt x="110" y="140"/>
                    <a:pt x="74" y="140"/>
                  </a:cubicBezTo>
                  <a:cubicBezTo>
                    <a:pt x="38" y="140"/>
                    <a:pt x="9" y="111"/>
                    <a:pt x="9" y="75"/>
                  </a:cubicBezTo>
                  <a:cubicBezTo>
                    <a:pt x="9" y="39"/>
                    <a:pt x="38" y="9"/>
                    <a:pt x="74" y="9"/>
                  </a:cubicBezTo>
                  <a:moveTo>
                    <a:pt x="74" y="0"/>
                  </a:moveTo>
                  <a:cubicBezTo>
                    <a:pt x="33" y="0"/>
                    <a:pt x="0" y="33"/>
                    <a:pt x="0" y="75"/>
                  </a:cubicBezTo>
                  <a:cubicBezTo>
                    <a:pt x="0" y="116"/>
                    <a:pt x="33" y="149"/>
                    <a:pt x="74" y="149"/>
                  </a:cubicBezTo>
                  <a:cubicBezTo>
                    <a:pt x="116" y="149"/>
                    <a:pt x="149" y="116"/>
                    <a:pt x="149" y="75"/>
                  </a:cubicBezTo>
                  <a:cubicBezTo>
                    <a:pt x="149" y="33"/>
                    <a:pt x="116" y="0"/>
                    <a:pt x="74" y="0"/>
                  </a:cubicBezTo>
                </a:path>
              </a:pathLst>
            </a:custGeom>
            <a:solidFill>
              <a:srgbClr val="007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9706250" y="100160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735262" y="2043430"/>
            <a:ext cx="792000" cy="792000"/>
            <a:chOff x="9782396" y="1550648"/>
            <a:chExt cx="792000" cy="792000"/>
          </a:xfrm>
        </p:grpSpPr>
        <p:sp>
          <p:nvSpPr>
            <p:cNvPr id="228" name="Rectangle 227"/>
            <p:cNvSpPr/>
            <p:nvPr/>
          </p:nvSpPr>
          <p:spPr>
            <a:xfrm>
              <a:off x="9782396" y="155064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Round Diagonal Corner Rectangle 53"/>
            <p:cNvSpPr/>
            <p:nvPr>
              <p:custDataLst>
                <p:tags r:id="rId6"/>
              </p:custDataLst>
            </p:nvPr>
          </p:nvSpPr>
          <p:spPr bwMode="auto">
            <a:xfrm flipH="1">
              <a:off x="9883605" y="1611099"/>
              <a:ext cx="589583" cy="671099"/>
            </a:xfrm>
            <a:custGeom>
              <a:avLst/>
              <a:gdLst/>
              <a:ahLst/>
              <a:cxnLst/>
              <a:rect l="l" t="t" r="r" b="b"/>
              <a:pathLst>
                <a:path w="1069848" h="1217762">
                  <a:moveTo>
                    <a:pt x="859964" y="887952"/>
                  </a:moveTo>
                  <a:cubicBezTo>
                    <a:pt x="859964" y="887952"/>
                    <a:pt x="859964" y="887952"/>
                    <a:pt x="859964" y="887953"/>
                  </a:cubicBezTo>
                  <a:lnTo>
                    <a:pt x="859964" y="887953"/>
                  </a:lnTo>
                  <a:close/>
                  <a:moveTo>
                    <a:pt x="823054" y="851043"/>
                  </a:moveTo>
                  <a:lnTo>
                    <a:pt x="246792" y="851043"/>
                  </a:lnTo>
                  <a:cubicBezTo>
                    <a:pt x="226407" y="851043"/>
                    <a:pt x="209882" y="867568"/>
                    <a:pt x="209882" y="887953"/>
                  </a:cubicBezTo>
                  <a:lnTo>
                    <a:pt x="209883" y="887953"/>
                  </a:lnTo>
                  <a:cubicBezTo>
                    <a:pt x="209883" y="908338"/>
                    <a:pt x="226408" y="924863"/>
                    <a:pt x="246793" y="924863"/>
                  </a:cubicBezTo>
                  <a:lnTo>
                    <a:pt x="823054" y="924862"/>
                  </a:lnTo>
                  <a:cubicBezTo>
                    <a:pt x="843439" y="924862"/>
                    <a:pt x="859964" y="908337"/>
                    <a:pt x="859964" y="887953"/>
                  </a:cubicBezTo>
                  <a:cubicBezTo>
                    <a:pt x="859964" y="867568"/>
                    <a:pt x="843439" y="851043"/>
                    <a:pt x="823054" y="851043"/>
                  </a:cubicBezTo>
                  <a:close/>
                  <a:moveTo>
                    <a:pt x="859964" y="716502"/>
                  </a:moveTo>
                  <a:lnTo>
                    <a:pt x="859964" y="716503"/>
                  </a:lnTo>
                  <a:lnTo>
                    <a:pt x="859964" y="716503"/>
                  </a:lnTo>
                  <a:close/>
                  <a:moveTo>
                    <a:pt x="823054" y="679593"/>
                  </a:moveTo>
                  <a:lnTo>
                    <a:pt x="246792" y="679593"/>
                  </a:lnTo>
                  <a:cubicBezTo>
                    <a:pt x="226407" y="679593"/>
                    <a:pt x="209882" y="696118"/>
                    <a:pt x="209882" y="716503"/>
                  </a:cubicBezTo>
                  <a:lnTo>
                    <a:pt x="209883" y="716503"/>
                  </a:lnTo>
                  <a:cubicBezTo>
                    <a:pt x="209883" y="736888"/>
                    <a:pt x="226408" y="753413"/>
                    <a:pt x="246793" y="753413"/>
                  </a:cubicBezTo>
                  <a:lnTo>
                    <a:pt x="823054" y="753412"/>
                  </a:lnTo>
                  <a:cubicBezTo>
                    <a:pt x="843439" y="753412"/>
                    <a:pt x="859964" y="736887"/>
                    <a:pt x="859964" y="716503"/>
                  </a:cubicBezTo>
                  <a:cubicBezTo>
                    <a:pt x="859964" y="696118"/>
                    <a:pt x="843439" y="679593"/>
                    <a:pt x="823054" y="679593"/>
                  </a:cubicBezTo>
                  <a:close/>
                  <a:moveTo>
                    <a:pt x="859964" y="545051"/>
                  </a:moveTo>
                  <a:lnTo>
                    <a:pt x="859964" y="545052"/>
                  </a:lnTo>
                  <a:lnTo>
                    <a:pt x="859964" y="545052"/>
                  </a:lnTo>
                  <a:close/>
                  <a:moveTo>
                    <a:pt x="823054" y="508142"/>
                  </a:moveTo>
                  <a:lnTo>
                    <a:pt x="246792" y="508142"/>
                  </a:lnTo>
                  <a:cubicBezTo>
                    <a:pt x="226407" y="508142"/>
                    <a:pt x="209882" y="524667"/>
                    <a:pt x="209882" y="545052"/>
                  </a:cubicBezTo>
                  <a:lnTo>
                    <a:pt x="209883" y="545052"/>
                  </a:lnTo>
                  <a:cubicBezTo>
                    <a:pt x="209883" y="565437"/>
                    <a:pt x="226408" y="581962"/>
                    <a:pt x="246793" y="581962"/>
                  </a:cubicBezTo>
                  <a:lnTo>
                    <a:pt x="823054" y="581961"/>
                  </a:lnTo>
                  <a:cubicBezTo>
                    <a:pt x="843439" y="581961"/>
                    <a:pt x="859964" y="565436"/>
                    <a:pt x="859964" y="545052"/>
                  </a:cubicBezTo>
                  <a:cubicBezTo>
                    <a:pt x="859964" y="524667"/>
                    <a:pt x="843439" y="508142"/>
                    <a:pt x="823054" y="508142"/>
                  </a:cubicBezTo>
                  <a:close/>
                  <a:moveTo>
                    <a:pt x="607552" y="375982"/>
                  </a:moveTo>
                  <a:lnTo>
                    <a:pt x="607552" y="375983"/>
                  </a:lnTo>
                  <a:lnTo>
                    <a:pt x="607552" y="375983"/>
                  </a:lnTo>
                  <a:close/>
                  <a:moveTo>
                    <a:pt x="570642" y="339073"/>
                  </a:moveTo>
                  <a:lnTo>
                    <a:pt x="246792" y="339073"/>
                  </a:lnTo>
                  <a:cubicBezTo>
                    <a:pt x="226407" y="339073"/>
                    <a:pt x="209882" y="355598"/>
                    <a:pt x="209882" y="375983"/>
                  </a:cubicBezTo>
                  <a:lnTo>
                    <a:pt x="209883" y="375983"/>
                  </a:lnTo>
                  <a:cubicBezTo>
                    <a:pt x="209883" y="396368"/>
                    <a:pt x="226408" y="412893"/>
                    <a:pt x="246793" y="412893"/>
                  </a:cubicBezTo>
                  <a:lnTo>
                    <a:pt x="570642" y="412892"/>
                  </a:lnTo>
                  <a:cubicBezTo>
                    <a:pt x="591027" y="412892"/>
                    <a:pt x="607552" y="396367"/>
                    <a:pt x="607552" y="375983"/>
                  </a:cubicBezTo>
                  <a:cubicBezTo>
                    <a:pt x="607552" y="355598"/>
                    <a:pt x="591027" y="339073"/>
                    <a:pt x="570642" y="339073"/>
                  </a:cubicBezTo>
                  <a:close/>
                  <a:moveTo>
                    <a:pt x="679213" y="74747"/>
                  </a:moveTo>
                  <a:lnTo>
                    <a:pt x="679213" y="291168"/>
                  </a:lnTo>
                  <a:cubicBezTo>
                    <a:pt x="679213" y="325515"/>
                    <a:pt x="707057" y="353359"/>
                    <a:pt x="741404" y="353359"/>
                  </a:cubicBezTo>
                  <a:lnTo>
                    <a:pt x="992124" y="353359"/>
                  </a:lnTo>
                  <a:lnTo>
                    <a:pt x="992124" y="1044200"/>
                  </a:lnTo>
                  <a:cubicBezTo>
                    <a:pt x="992124" y="1097470"/>
                    <a:pt x="971294" y="1150179"/>
                    <a:pt x="897731" y="1140654"/>
                  </a:cubicBezTo>
                  <a:lnTo>
                    <a:pt x="77724" y="1140654"/>
                  </a:lnTo>
                  <a:lnTo>
                    <a:pt x="77724" y="173562"/>
                  </a:lnTo>
                  <a:cubicBezTo>
                    <a:pt x="80105" y="89336"/>
                    <a:pt x="119986" y="77108"/>
                    <a:pt x="172117" y="77108"/>
                  </a:cubicBezTo>
                  <a:close/>
                  <a:moveTo>
                    <a:pt x="733418" y="0"/>
                  </a:moveTo>
                  <a:lnTo>
                    <a:pt x="110440" y="0"/>
                  </a:lnTo>
                  <a:cubicBezTo>
                    <a:pt x="49446" y="0"/>
                    <a:pt x="0" y="49446"/>
                    <a:pt x="0" y="110440"/>
                  </a:cubicBezTo>
                  <a:lnTo>
                    <a:pt x="0" y="1217762"/>
                  </a:lnTo>
                  <a:lnTo>
                    <a:pt x="959408" y="1217762"/>
                  </a:lnTo>
                  <a:cubicBezTo>
                    <a:pt x="1020402" y="1217762"/>
                    <a:pt x="1069848" y="1168316"/>
                    <a:pt x="1069848" y="1107322"/>
                  </a:cubicBezTo>
                  <a:lnTo>
                    <a:pt x="1069848" y="310551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30" name="Group 229"/>
          <p:cNvGrpSpPr/>
          <p:nvPr/>
        </p:nvGrpSpPr>
        <p:grpSpPr>
          <a:xfrm>
            <a:off x="1470395" y="2150139"/>
            <a:ext cx="792000" cy="792000"/>
            <a:chOff x="9928115" y="2224467"/>
            <a:chExt cx="792000" cy="792000"/>
          </a:xfrm>
        </p:grpSpPr>
        <p:sp>
          <p:nvSpPr>
            <p:cNvPr id="231" name="Round Diagonal Corner Rectangle 53"/>
            <p:cNvSpPr/>
            <p:nvPr>
              <p:custDataLst>
                <p:tags r:id="rId5"/>
              </p:custDataLst>
            </p:nvPr>
          </p:nvSpPr>
          <p:spPr bwMode="auto">
            <a:xfrm flipH="1">
              <a:off x="10078281" y="2225155"/>
              <a:ext cx="491669" cy="790625"/>
            </a:xfrm>
            <a:custGeom>
              <a:avLst/>
              <a:gdLst/>
              <a:ahLst/>
              <a:cxnLst/>
              <a:rect l="l" t="t" r="r" b="b"/>
              <a:pathLst>
                <a:path w="1408414" h="2264786">
                  <a:moveTo>
                    <a:pt x="779673" y="1440947"/>
                  </a:moveTo>
                  <a:lnTo>
                    <a:pt x="622452" y="1440947"/>
                  </a:lnTo>
                  <a:lnTo>
                    <a:pt x="622452" y="1981788"/>
                  </a:lnTo>
                  <a:lnTo>
                    <a:pt x="402343" y="1742812"/>
                  </a:lnTo>
                  <a:lnTo>
                    <a:pt x="402343" y="1944055"/>
                  </a:lnTo>
                  <a:lnTo>
                    <a:pt x="697918" y="2264786"/>
                  </a:lnTo>
                  <a:lnTo>
                    <a:pt x="1006070" y="1944055"/>
                  </a:lnTo>
                  <a:lnTo>
                    <a:pt x="1006070" y="1742812"/>
                  </a:lnTo>
                  <a:lnTo>
                    <a:pt x="779673" y="1981788"/>
                  </a:lnTo>
                  <a:close/>
                  <a:moveTo>
                    <a:pt x="1083519" y="1120366"/>
                  </a:moveTo>
                  <a:lnTo>
                    <a:pt x="324892" y="1120366"/>
                  </a:lnTo>
                  <a:cubicBezTo>
                    <a:pt x="298056" y="1120366"/>
                    <a:pt x="276302" y="1142120"/>
                    <a:pt x="276302" y="1168956"/>
                  </a:cubicBezTo>
                  <a:lnTo>
                    <a:pt x="276303" y="1168956"/>
                  </a:lnTo>
                  <a:cubicBezTo>
                    <a:pt x="276303" y="1195792"/>
                    <a:pt x="298058" y="1217547"/>
                    <a:pt x="324894" y="1217547"/>
                  </a:cubicBezTo>
                  <a:lnTo>
                    <a:pt x="1083519" y="1217546"/>
                  </a:lnTo>
                  <a:cubicBezTo>
                    <a:pt x="1110355" y="1217546"/>
                    <a:pt x="1132110" y="1195791"/>
                    <a:pt x="1132110" y="1168956"/>
                  </a:cubicBezTo>
                  <a:cubicBezTo>
                    <a:pt x="1132110" y="1142120"/>
                    <a:pt x="1110355" y="1120366"/>
                    <a:pt x="1083519" y="1120366"/>
                  </a:cubicBezTo>
                  <a:close/>
                  <a:moveTo>
                    <a:pt x="1083519" y="894658"/>
                  </a:moveTo>
                  <a:lnTo>
                    <a:pt x="324892" y="894658"/>
                  </a:lnTo>
                  <a:cubicBezTo>
                    <a:pt x="298056" y="894658"/>
                    <a:pt x="276302" y="916413"/>
                    <a:pt x="276302" y="943249"/>
                  </a:cubicBezTo>
                  <a:lnTo>
                    <a:pt x="276303" y="943249"/>
                  </a:lnTo>
                  <a:cubicBezTo>
                    <a:pt x="276303" y="970085"/>
                    <a:pt x="298058" y="991840"/>
                    <a:pt x="324894" y="991840"/>
                  </a:cubicBezTo>
                  <a:lnTo>
                    <a:pt x="1083519" y="991838"/>
                  </a:lnTo>
                  <a:cubicBezTo>
                    <a:pt x="1110355" y="991838"/>
                    <a:pt x="1132110" y="970084"/>
                    <a:pt x="1132110" y="943249"/>
                  </a:cubicBezTo>
                  <a:cubicBezTo>
                    <a:pt x="1132110" y="916413"/>
                    <a:pt x="1110355" y="894658"/>
                    <a:pt x="1083519" y="894658"/>
                  </a:cubicBezTo>
                  <a:close/>
                  <a:moveTo>
                    <a:pt x="1083519" y="668950"/>
                  </a:moveTo>
                  <a:lnTo>
                    <a:pt x="324892" y="668950"/>
                  </a:lnTo>
                  <a:cubicBezTo>
                    <a:pt x="298056" y="668950"/>
                    <a:pt x="276302" y="690704"/>
                    <a:pt x="276302" y="717540"/>
                  </a:cubicBezTo>
                  <a:lnTo>
                    <a:pt x="276303" y="717540"/>
                  </a:lnTo>
                  <a:cubicBezTo>
                    <a:pt x="276303" y="744376"/>
                    <a:pt x="298058" y="766131"/>
                    <a:pt x="324894" y="766131"/>
                  </a:cubicBezTo>
                  <a:lnTo>
                    <a:pt x="1083519" y="766130"/>
                  </a:lnTo>
                  <a:cubicBezTo>
                    <a:pt x="1110355" y="766130"/>
                    <a:pt x="1132110" y="744375"/>
                    <a:pt x="1132110" y="717540"/>
                  </a:cubicBezTo>
                  <a:cubicBezTo>
                    <a:pt x="1132110" y="690704"/>
                    <a:pt x="1110355" y="668950"/>
                    <a:pt x="1083519" y="668950"/>
                  </a:cubicBezTo>
                  <a:close/>
                  <a:moveTo>
                    <a:pt x="751229" y="446377"/>
                  </a:moveTo>
                  <a:lnTo>
                    <a:pt x="324892" y="446377"/>
                  </a:lnTo>
                  <a:cubicBezTo>
                    <a:pt x="298056" y="446377"/>
                    <a:pt x="276302" y="468131"/>
                    <a:pt x="276302" y="494967"/>
                  </a:cubicBezTo>
                  <a:lnTo>
                    <a:pt x="276303" y="494967"/>
                  </a:lnTo>
                  <a:cubicBezTo>
                    <a:pt x="276303" y="521803"/>
                    <a:pt x="298058" y="543558"/>
                    <a:pt x="324894" y="543558"/>
                  </a:cubicBezTo>
                  <a:lnTo>
                    <a:pt x="751229" y="543557"/>
                  </a:lnTo>
                  <a:cubicBezTo>
                    <a:pt x="778065" y="543557"/>
                    <a:pt x="799819" y="521802"/>
                    <a:pt x="799819" y="494967"/>
                  </a:cubicBezTo>
                  <a:cubicBezTo>
                    <a:pt x="799819" y="468131"/>
                    <a:pt x="778065" y="446377"/>
                    <a:pt x="751229" y="446377"/>
                  </a:cubicBezTo>
                  <a:close/>
                  <a:moveTo>
                    <a:pt x="965517" y="0"/>
                  </a:moveTo>
                  <a:lnTo>
                    <a:pt x="145390" y="0"/>
                  </a:lnTo>
                  <a:cubicBezTo>
                    <a:pt x="65094" y="0"/>
                    <a:pt x="0" y="65094"/>
                    <a:pt x="0" y="145390"/>
                  </a:cubicBezTo>
                  <a:lnTo>
                    <a:pt x="0" y="1603137"/>
                  </a:lnTo>
                  <a:lnTo>
                    <a:pt x="578459" y="1603137"/>
                  </a:lnTo>
                  <a:lnTo>
                    <a:pt x="578459" y="1501627"/>
                  </a:lnTo>
                  <a:lnTo>
                    <a:pt x="102321" y="1501627"/>
                  </a:lnTo>
                  <a:lnTo>
                    <a:pt x="102321" y="228488"/>
                  </a:lnTo>
                  <a:cubicBezTo>
                    <a:pt x="105455" y="117608"/>
                    <a:pt x="157957" y="101510"/>
                    <a:pt x="226586" y="101510"/>
                  </a:cubicBezTo>
                  <a:lnTo>
                    <a:pt x="894158" y="98402"/>
                  </a:lnTo>
                  <a:lnTo>
                    <a:pt x="894158" y="383312"/>
                  </a:lnTo>
                  <a:cubicBezTo>
                    <a:pt x="894158" y="428528"/>
                    <a:pt x="930814" y="465184"/>
                    <a:pt x="976030" y="465184"/>
                  </a:cubicBezTo>
                  <a:lnTo>
                    <a:pt x="1306094" y="465184"/>
                  </a:lnTo>
                  <a:lnTo>
                    <a:pt x="1306094" y="1374649"/>
                  </a:lnTo>
                  <a:cubicBezTo>
                    <a:pt x="1306094" y="1444777"/>
                    <a:pt x="1278672" y="1514167"/>
                    <a:pt x="1181829" y="1501627"/>
                  </a:cubicBezTo>
                  <a:lnTo>
                    <a:pt x="820282" y="1501627"/>
                  </a:lnTo>
                  <a:lnTo>
                    <a:pt x="820282" y="1603137"/>
                  </a:lnTo>
                  <a:lnTo>
                    <a:pt x="1263024" y="1603137"/>
                  </a:lnTo>
                  <a:cubicBezTo>
                    <a:pt x="1343320" y="1603137"/>
                    <a:pt x="1408414" y="1538043"/>
                    <a:pt x="1408414" y="1457747"/>
                  </a:cubicBezTo>
                  <a:lnTo>
                    <a:pt x="1408414" y="408829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9928115" y="222446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58599" y="2109710"/>
            <a:ext cx="618442" cy="618442"/>
            <a:chOff x="9758155" y="851942"/>
            <a:chExt cx="792000" cy="792000"/>
          </a:xfrm>
        </p:grpSpPr>
        <p:sp>
          <p:nvSpPr>
            <p:cNvPr id="234" name="Freeform 122"/>
            <p:cNvSpPr>
              <a:spLocks/>
            </p:cNvSpPr>
            <p:nvPr/>
          </p:nvSpPr>
          <p:spPr bwMode="black">
            <a:xfrm rot="4549081">
              <a:off x="9826196" y="920742"/>
              <a:ext cx="655918" cy="654401"/>
            </a:xfrm>
            <a:custGeom>
              <a:avLst/>
              <a:gdLst>
                <a:gd name="T0" fmla="*/ 61 w 70"/>
                <a:gd name="T1" fmla="*/ 11 h 71"/>
                <a:gd name="T2" fmla="*/ 60 w 70"/>
                <a:gd name="T3" fmla="*/ 11 h 71"/>
                <a:gd name="T4" fmla="*/ 53 w 70"/>
                <a:gd name="T5" fmla="*/ 18 h 71"/>
                <a:gd name="T6" fmla="*/ 53 w 70"/>
                <a:gd name="T7" fmla="*/ 19 h 71"/>
                <a:gd name="T8" fmla="*/ 53 w 70"/>
                <a:gd name="T9" fmla="*/ 19 h 71"/>
                <a:gd name="T10" fmla="*/ 60 w 70"/>
                <a:gd name="T11" fmla="*/ 35 h 71"/>
                <a:gd name="T12" fmla="*/ 35 w 70"/>
                <a:gd name="T13" fmla="*/ 60 h 71"/>
                <a:gd name="T14" fmla="*/ 10 w 70"/>
                <a:gd name="T15" fmla="*/ 36 h 71"/>
                <a:gd name="T16" fmla="*/ 16 w 70"/>
                <a:gd name="T17" fmla="*/ 21 h 71"/>
                <a:gd name="T18" fmla="*/ 18 w 70"/>
                <a:gd name="T19" fmla="*/ 18 h 71"/>
                <a:gd name="T20" fmla="*/ 25 w 70"/>
                <a:gd name="T21" fmla="*/ 26 h 71"/>
                <a:gd name="T22" fmla="*/ 30 w 70"/>
                <a:gd name="T23" fmla="*/ 0 h 71"/>
                <a:gd name="T24" fmla="*/ 4 w 70"/>
                <a:gd name="T25" fmla="*/ 2 h 71"/>
                <a:gd name="T26" fmla="*/ 11 w 70"/>
                <a:gd name="T27" fmla="*/ 10 h 71"/>
                <a:gd name="T28" fmla="*/ 9 w 70"/>
                <a:gd name="T29" fmla="*/ 12 h 71"/>
                <a:gd name="T30" fmla="*/ 0 w 70"/>
                <a:gd name="T31" fmla="*/ 36 h 71"/>
                <a:gd name="T32" fmla="*/ 35 w 70"/>
                <a:gd name="T33" fmla="*/ 71 h 71"/>
                <a:gd name="T34" fmla="*/ 35 w 70"/>
                <a:gd name="T35" fmla="*/ 71 h 71"/>
                <a:gd name="T36" fmla="*/ 70 w 70"/>
                <a:gd name="T37" fmla="*/ 35 h 71"/>
                <a:gd name="T38" fmla="*/ 61 w 70"/>
                <a:gd name="T39" fmla="*/ 1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71">
                  <a:moveTo>
                    <a:pt x="61" y="11"/>
                  </a:moveTo>
                  <a:cubicBezTo>
                    <a:pt x="60" y="11"/>
                    <a:pt x="60" y="11"/>
                    <a:pt x="60" y="11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7" y="23"/>
                    <a:pt x="60" y="29"/>
                    <a:pt x="60" y="35"/>
                  </a:cubicBezTo>
                  <a:cubicBezTo>
                    <a:pt x="60" y="49"/>
                    <a:pt x="49" y="60"/>
                    <a:pt x="35" y="60"/>
                  </a:cubicBezTo>
                  <a:cubicBezTo>
                    <a:pt x="22" y="60"/>
                    <a:pt x="11" y="49"/>
                    <a:pt x="10" y="36"/>
                  </a:cubicBezTo>
                  <a:cubicBezTo>
                    <a:pt x="10" y="30"/>
                    <a:pt x="12" y="25"/>
                    <a:pt x="16" y="21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3" y="19"/>
                    <a:pt x="0" y="27"/>
                    <a:pt x="0" y="36"/>
                  </a:cubicBezTo>
                  <a:cubicBezTo>
                    <a:pt x="0" y="55"/>
                    <a:pt x="16" y="71"/>
                    <a:pt x="35" y="71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55" y="71"/>
                    <a:pt x="70" y="55"/>
                    <a:pt x="70" y="35"/>
                  </a:cubicBezTo>
                  <a:cubicBezTo>
                    <a:pt x="70" y="26"/>
                    <a:pt x="67" y="18"/>
                    <a:pt x="61" y="11"/>
                  </a:cubicBezTo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5" name="Rectangle 234"/>
            <p:cNvSpPr/>
            <p:nvPr/>
          </p:nvSpPr>
          <p:spPr>
            <a:xfrm>
              <a:off x="9758155" y="85194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44" name="Rectangle 243"/>
          <p:cNvSpPr/>
          <p:nvPr/>
        </p:nvSpPr>
        <p:spPr>
          <a:xfrm>
            <a:off x="3905857" y="2968334"/>
            <a:ext cx="792000" cy="79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45" name="Group 244"/>
          <p:cNvGrpSpPr/>
          <p:nvPr/>
        </p:nvGrpSpPr>
        <p:grpSpPr>
          <a:xfrm>
            <a:off x="3084720" y="2117308"/>
            <a:ext cx="792000" cy="792000"/>
            <a:chOff x="3335910" y="-3028432"/>
            <a:chExt cx="792000" cy="792000"/>
          </a:xfrm>
        </p:grpSpPr>
        <p:sp>
          <p:nvSpPr>
            <p:cNvPr id="246" name="Freeform 25"/>
            <p:cNvSpPr>
              <a:spLocks noEditPoints="1"/>
            </p:cNvSpPr>
            <p:nvPr/>
          </p:nvSpPr>
          <p:spPr bwMode="black">
            <a:xfrm>
              <a:off x="3375810" y="-2935643"/>
              <a:ext cx="712201" cy="606422"/>
            </a:xfrm>
            <a:custGeom>
              <a:avLst/>
              <a:gdLst>
                <a:gd name="T0" fmla="*/ 300 w 300"/>
                <a:gd name="T1" fmla="*/ 201 h 255"/>
                <a:gd name="T2" fmla="*/ 288 w 300"/>
                <a:gd name="T3" fmla="*/ 210 h 255"/>
                <a:gd name="T4" fmla="*/ 285 w 300"/>
                <a:gd name="T5" fmla="*/ 214 h 255"/>
                <a:gd name="T6" fmla="*/ 266 w 300"/>
                <a:gd name="T7" fmla="*/ 230 h 255"/>
                <a:gd name="T8" fmla="*/ 229 w 300"/>
                <a:gd name="T9" fmla="*/ 245 h 255"/>
                <a:gd name="T10" fmla="*/ 169 w 300"/>
                <a:gd name="T11" fmla="*/ 253 h 255"/>
                <a:gd name="T12" fmla="*/ 47 w 300"/>
                <a:gd name="T13" fmla="*/ 231 h 255"/>
                <a:gd name="T14" fmla="*/ 47 w 300"/>
                <a:gd name="T15" fmla="*/ 186 h 255"/>
                <a:gd name="T16" fmla="*/ 89 w 300"/>
                <a:gd name="T17" fmla="*/ 168 h 255"/>
                <a:gd name="T18" fmla="*/ 130 w 300"/>
                <a:gd name="T19" fmla="*/ 171 h 255"/>
                <a:gd name="T20" fmla="*/ 163 w 300"/>
                <a:gd name="T21" fmla="*/ 174 h 255"/>
                <a:gd name="T22" fmla="*/ 198 w 300"/>
                <a:gd name="T23" fmla="*/ 169 h 255"/>
                <a:gd name="T24" fmla="*/ 219 w 300"/>
                <a:gd name="T25" fmla="*/ 182 h 255"/>
                <a:gd name="T26" fmla="*/ 201 w 300"/>
                <a:gd name="T27" fmla="*/ 195 h 255"/>
                <a:gd name="T28" fmla="*/ 174 w 300"/>
                <a:gd name="T29" fmla="*/ 194 h 255"/>
                <a:gd name="T30" fmla="*/ 144 w 300"/>
                <a:gd name="T31" fmla="*/ 202 h 255"/>
                <a:gd name="T32" fmla="*/ 177 w 300"/>
                <a:gd name="T33" fmla="*/ 217 h 255"/>
                <a:gd name="T34" fmla="*/ 223 w 300"/>
                <a:gd name="T35" fmla="*/ 218 h 255"/>
                <a:gd name="T36" fmla="*/ 255 w 300"/>
                <a:gd name="T37" fmla="*/ 209 h 255"/>
                <a:gd name="T38" fmla="*/ 287 w 300"/>
                <a:gd name="T39" fmla="*/ 193 h 255"/>
                <a:gd name="T40" fmla="*/ 300 w 300"/>
                <a:gd name="T41" fmla="*/ 201 h 255"/>
                <a:gd name="T42" fmla="*/ 34 w 300"/>
                <a:gd name="T43" fmla="*/ 173 h 255"/>
                <a:gd name="T44" fmla="*/ 0 w 300"/>
                <a:gd name="T45" fmla="*/ 173 h 255"/>
                <a:gd name="T46" fmla="*/ 0 w 300"/>
                <a:gd name="T47" fmla="*/ 240 h 255"/>
                <a:gd name="T48" fmla="*/ 34 w 300"/>
                <a:gd name="T49" fmla="*/ 240 h 255"/>
                <a:gd name="T50" fmla="*/ 39 w 300"/>
                <a:gd name="T51" fmla="*/ 235 h 255"/>
                <a:gd name="T52" fmla="*/ 39 w 300"/>
                <a:gd name="T53" fmla="*/ 177 h 255"/>
                <a:gd name="T54" fmla="*/ 34 w 300"/>
                <a:gd name="T55" fmla="*/ 173 h 255"/>
                <a:gd name="T56" fmla="*/ 246 w 300"/>
                <a:gd name="T57" fmla="*/ 24 h 255"/>
                <a:gd name="T58" fmla="*/ 246 w 300"/>
                <a:gd name="T59" fmla="*/ 147 h 255"/>
                <a:gd name="T60" fmla="*/ 123 w 300"/>
                <a:gd name="T61" fmla="*/ 147 h 255"/>
                <a:gd name="T62" fmla="*/ 123 w 300"/>
                <a:gd name="T63" fmla="*/ 122 h 255"/>
                <a:gd name="T64" fmla="*/ 99 w 300"/>
                <a:gd name="T65" fmla="*/ 122 h 255"/>
                <a:gd name="T66" fmla="*/ 99 w 300"/>
                <a:gd name="T67" fmla="*/ 0 h 255"/>
                <a:gd name="T68" fmla="*/ 221 w 300"/>
                <a:gd name="T69" fmla="*/ 0 h 255"/>
                <a:gd name="T70" fmla="*/ 221 w 300"/>
                <a:gd name="T71" fmla="*/ 24 h 255"/>
                <a:gd name="T72" fmla="*/ 246 w 300"/>
                <a:gd name="T73" fmla="*/ 24 h 255"/>
                <a:gd name="T74" fmla="*/ 123 w 300"/>
                <a:gd name="T75" fmla="*/ 116 h 255"/>
                <a:gd name="T76" fmla="*/ 123 w 300"/>
                <a:gd name="T77" fmla="*/ 24 h 255"/>
                <a:gd name="T78" fmla="*/ 215 w 300"/>
                <a:gd name="T79" fmla="*/ 24 h 255"/>
                <a:gd name="T80" fmla="*/ 215 w 300"/>
                <a:gd name="T81" fmla="*/ 6 h 255"/>
                <a:gd name="T82" fmla="*/ 105 w 300"/>
                <a:gd name="T83" fmla="*/ 6 h 255"/>
                <a:gd name="T84" fmla="*/ 105 w 300"/>
                <a:gd name="T85" fmla="*/ 116 h 255"/>
                <a:gd name="T86" fmla="*/ 123 w 300"/>
                <a:gd name="T87" fmla="*/ 116 h 255"/>
                <a:gd name="T88" fmla="*/ 224 w 300"/>
                <a:gd name="T89" fmla="*/ 85 h 255"/>
                <a:gd name="T90" fmla="*/ 183 w 300"/>
                <a:gd name="T91" fmla="*/ 56 h 255"/>
                <a:gd name="T92" fmla="*/ 183 w 300"/>
                <a:gd name="T93" fmla="*/ 76 h 255"/>
                <a:gd name="T94" fmla="*/ 145 w 300"/>
                <a:gd name="T95" fmla="*/ 76 h 255"/>
                <a:gd name="T96" fmla="*/ 145 w 300"/>
                <a:gd name="T97" fmla="*/ 94 h 255"/>
                <a:gd name="T98" fmla="*/ 183 w 300"/>
                <a:gd name="T99" fmla="*/ 94 h 255"/>
                <a:gd name="T100" fmla="*/ 183 w 300"/>
                <a:gd name="T101" fmla="*/ 115 h 255"/>
                <a:gd name="T102" fmla="*/ 224 w 300"/>
                <a:gd name="T103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255">
                  <a:moveTo>
                    <a:pt x="300" y="201"/>
                  </a:moveTo>
                  <a:cubicBezTo>
                    <a:pt x="300" y="201"/>
                    <a:pt x="299" y="202"/>
                    <a:pt x="288" y="210"/>
                  </a:cubicBezTo>
                  <a:cubicBezTo>
                    <a:pt x="288" y="210"/>
                    <a:pt x="286" y="214"/>
                    <a:pt x="285" y="214"/>
                  </a:cubicBezTo>
                  <a:cubicBezTo>
                    <a:pt x="280" y="218"/>
                    <a:pt x="275" y="223"/>
                    <a:pt x="266" y="230"/>
                  </a:cubicBezTo>
                  <a:cubicBezTo>
                    <a:pt x="257" y="231"/>
                    <a:pt x="238" y="240"/>
                    <a:pt x="229" y="245"/>
                  </a:cubicBezTo>
                  <a:cubicBezTo>
                    <a:pt x="212" y="244"/>
                    <a:pt x="187" y="248"/>
                    <a:pt x="169" y="253"/>
                  </a:cubicBezTo>
                  <a:cubicBezTo>
                    <a:pt x="143" y="249"/>
                    <a:pt x="140" y="255"/>
                    <a:pt x="47" y="231"/>
                  </a:cubicBezTo>
                  <a:cubicBezTo>
                    <a:pt x="47" y="231"/>
                    <a:pt x="47" y="194"/>
                    <a:pt x="47" y="186"/>
                  </a:cubicBezTo>
                  <a:cubicBezTo>
                    <a:pt x="64" y="182"/>
                    <a:pt x="69" y="171"/>
                    <a:pt x="89" y="168"/>
                  </a:cubicBezTo>
                  <a:cubicBezTo>
                    <a:pt x="103" y="166"/>
                    <a:pt x="116" y="167"/>
                    <a:pt x="130" y="171"/>
                  </a:cubicBezTo>
                  <a:cubicBezTo>
                    <a:pt x="139" y="174"/>
                    <a:pt x="148" y="176"/>
                    <a:pt x="163" y="174"/>
                  </a:cubicBezTo>
                  <a:cubicBezTo>
                    <a:pt x="176" y="173"/>
                    <a:pt x="181" y="169"/>
                    <a:pt x="198" y="169"/>
                  </a:cubicBezTo>
                  <a:cubicBezTo>
                    <a:pt x="209" y="169"/>
                    <a:pt x="220" y="176"/>
                    <a:pt x="219" y="182"/>
                  </a:cubicBezTo>
                  <a:cubicBezTo>
                    <a:pt x="219" y="188"/>
                    <a:pt x="208" y="194"/>
                    <a:pt x="201" y="195"/>
                  </a:cubicBezTo>
                  <a:cubicBezTo>
                    <a:pt x="185" y="195"/>
                    <a:pt x="189" y="194"/>
                    <a:pt x="174" y="194"/>
                  </a:cubicBezTo>
                  <a:cubicBezTo>
                    <a:pt x="156" y="194"/>
                    <a:pt x="155" y="197"/>
                    <a:pt x="144" y="202"/>
                  </a:cubicBezTo>
                  <a:cubicBezTo>
                    <a:pt x="155" y="205"/>
                    <a:pt x="162" y="209"/>
                    <a:pt x="177" y="217"/>
                  </a:cubicBezTo>
                  <a:cubicBezTo>
                    <a:pt x="193" y="215"/>
                    <a:pt x="209" y="217"/>
                    <a:pt x="223" y="218"/>
                  </a:cubicBezTo>
                  <a:cubicBezTo>
                    <a:pt x="235" y="215"/>
                    <a:pt x="241" y="210"/>
                    <a:pt x="255" y="209"/>
                  </a:cubicBezTo>
                  <a:cubicBezTo>
                    <a:pt x="264" y="202"/>
                    <a:pt x="276" y="191"/>
                    <a:pt x="287" y="193"/>
                  </a:cubicBezTo>
                  <a:cubicBezTo>
                    <a:pt x="293" y="194"/>
                    <a:pt x="300" y="201"/>
                    <a:pt x="300" y="201"/>
                  </a:cubicBezTo>
                  <a:close/>
                  <a:moveTo>
                    <a:pt x="34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7" y="240"/>
                    <a:pt x="39" y="238"/>
                    <a:pt x="39" y="235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5"/>
                    <a:pt x="37" y="173"/>
                    <a:pt x="34" y="173"/>
                  </a:cubicBezTo>
                  <a:close/>
                  <a:moveTo>
                    <a:pt x="246" y="24"/>
                  </a:moveTo>
                  <a:cubicBezTo>
                    <a:pt x="246" y="147"/>
                    <a:pt x="246" y="147"/>
                    <a:pt x="246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24"/>
                    <a:pt x="221" y="24"/>
                    <a:pt x="221" y="24"/>
                  </a:cubicBezTo>
                  <a:lnTo>
                    <a:pt x="246" y="24"/>
                  </a:lnTo>
                  <a:close/>
                  <a:moveTo>
                    <a:pt x="123" y="116"/>
                  </a:moveTo>
                  <a:cubicBezTo>
                    <a:pt x="123" y="24"/>
                    <a:pt x="123" y="24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116"/>
                    <a:pt x="105" y="116"/>
                    <a:pt x="105" y="116"/>
                  </a:cubicBezTo>
                  <a:lnTo>
                    <a:pt x="123" y="116"/>
                  </a:lnTo>
                  <a:close/>
                  <a:moveTo>
                    <a:pt x="224" y="85"/>
                  </a:moveTo>
                  <a:cubicBezTo>
                    <a:pt x="183" y="56"/>
                    <a:pt x="183" y="56"/>
                    <a:pt x="183" y="5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115"/>
                    <a:pt x="183" y="115"/>
                    <a:pt x="183" y="115"/>
                  </a:cubicBezTo>
                  <a:lnTo>
                    <a:pt x="224" y="85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60515" tIns="30258" rIns="60515" bIns="30258" numCol="1" anchor="t" anchorCtr="0" compatLnSpc="1">
              <a:prstTxWarp prst="textNoShape">
                <a:avLst/>
              </a:prstTxWarp>
            </a:bodyPr>
            <a:lstStyle/>
            <a:p>
              <a:pPr defTabSz="685761"/>
              <a:endParaRPr lang="en-US" sz="1600">
                <a:solidFill>
                  <a:srgbClr val="292929"/>
                </a:solidFill>
                <a:latin typeface="NotesStyle-Regular" pitchFamily="50" charset="0"/>
              </a:endParaRPr>
            </a:p>
          </p:txBody>
        </p:sp>
        <p:sp>
          <p:nvSpPr>
            <p:cNvPr id="247" name="Rectangle 246"/>
            <p:cNvSpPr/>
            <p:nvPr/>
          </p:nvSpPr>
          <p:spPr>
            <a:xfrm>
              <a:off x="3335910" y="-302843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7951655" y="2155469"/>
            <a:ext cx="792000" cy="792000"/>
            <a:chOff x="3407650" y="-4512579"/>
            <a:chExt cx="792000" cy="792000"/>
          </a:xfrm>
        </p:grpSpPr>
        <p:sp>
          <p:nvSpPr>
            <p:cNvPr id="249" name="Oval 12"/>
            <p:cNvSpPr/>
            <p:nvPr>
              <p:custDataLst>
                <p:tags r:id="rId4"/>
              </p:custDataLst>
            </p:nvPr>
          </p:nvSpPr>
          <p:spPr>
            <a:xfrm>
              <a:off x="3546434" y="-4427689"/>
              <a:ext cx="514433" cy="622220"/>
            </a:xfrm>
            <a:custGeom>
              <a:avLst/>
              <a:gdLst/>
              <a:ahLst/>
              <a:cxnLst/>
              <a:rect l="l" t="t" r="r" b="b"/>
              <a:pathLst>
                <a:path w="3586696" h="4338217">
                  <a:moveTo>
                    <a:pt x="1920909" y="2775511"/>
                  </a:moveTo>
                  <a:lnTo>
                    <a:pt x="1946256" y="2783955"/>
                  </a:lnTo>
                  <a:lnTo>
                    <a:pt x="1946050" y="2784079"/>
                  </a:lnTo>
                  <a:lnTo>
                    <a:pt x="1972149" y="2813875"/>
                  </a:lnTo>
                  <a:cubicBezTo>
                    <a:pt x="1972325" y="2813778"/>
                    <a:pt x="1972500" y="2813681"/>
                    <a:pt x="1972659" y="2813554"/>
                  </a:cubicBezTo>
                  <a:cubicBezTo>
                    <a:pt x="1988199" y="2841546"/>
                    <a:pt x="1980888" y="2877206"/>
                    <a:pt x="1954700" y="2897641"/>
                  </a:cubicBezTo>
                  <a:lnTo>
                    <a:pt x="1810521" y="3010148"/>
                  </a:lnTo>
                  <a:cubicBezTo>
                    <a:pt x="1780661" y="3033449"/>
                    <a:pt x="1737566" y="3028131"/>
                    <a:pt x="1714265" y="2998270"/>
                  </a:cubicBezTo>
                  <a:cubicBezTo>
                    <a:pt x="1690964" y="2968410"/>
                    <a:pt x="1696281" y="2925315"/>
                    <a:pt x="1726142" y="2902014"/>
                  </a:cubicBezTo>
                  <a:lnTo>
                    <a:pt x="1870321" y="2789507"/>
                  </a:lnTo>
                  <a:cubicBezTo>
                    <a:pt x="1885251" y="2777857"/>
                    <a:pt x="1903490" y="2773361"/>
                    <a:pt x="1920909" y="2775511"/>
                  </a:cubicBezTo>
                  <a:close/>
                  <a:moveTo>
                    <a:pt x="1189333" y="2600230"/>
                  </a:moveTo>
                  <a:lnTo>
                    <a:pt x="1227994" y="2623791"/>
                  </a:lnTo>
                  <a:cubicBezTo>
                    <a:pt x="1247967" y="2622812"/>
                    <a:pt x="1315195" y="2668333"/>
                    <a:pt x="1398496" y="2722159"/>
                  </a:cubicBezTo>
                  <a:cubicBezTo>
                    <a:pt x="1537032" y="2789432"/>
                    <a:pt x="1673054" y="2821338"/>
                    <a:pt x="1802038" y="2824411"/>
                  </a:cubicBezTo>
                  <a:lnTo>
                    <a:pt x="1713824" y="2896498"/>
                  </a:lnTo>
                  <a:cubicBezTo>
                    <a:pt x="1679046" y="2924917"/>
                    <a:pt x="1674476" y="2975454"/>
                    <a:pt x="1703613" y="3009373"/>
                  </a:cubicBezTo>
                  <a:cubicBezTo>
                    <a:pt x="1732751" y="3043294"/>
                    <a:pt x="1784564" y="3047753"/>
                    <a:pt x="1819342" y="3019333"/>
                  </a:cubicBezTo>
                  <a:lnTo>
                    <a:pt x="1963529" y="2901505"/>
                  </a:lnTo>
                  <a:cubicBezTo>
                    <a:pt x="1990461" y="2879497"/>
                    <a:pt x="1999277" y="2844224"/>
                    <a:pt x="1986191" y="2814654"/>
                  </a:cubicBezTo>
                  <a:lnTo>
                    <a:pt x="1988670" y="2814115"/>
                  </a:lnTo>
                  <a:lnTo>
                    <a:pt x="1991729" y="2818997"/>
                  </a:lnTo>
                  <a:cubicBezTo>
                    <a:pt x="1995611" y="2816467"/>
                    <a:pt x="1999468" y="2813934"/>
                    <a:pt x="2003040" y="2810999"/>
                  </a:cubicBezTo>
                  <a:cubicBezTo>
                    <a:pt x="2167927" y="2783294"/>
                    <a:pt x="2314435" y="2712091"/>
                    <a:pt x="2430930" y="2621084"/>
                  </a:cubicBezTo>
                  <a:lnTo>
                    <a:pt x="2608862" y="2935722"/>
                  </a:lnTo>
                  <a:cubicBezTo>
                    <a:pt x="2742890" y="2979699"/>
                    <a:pt x="2695925" y="2982655"/>
                    <a:pt x="2867844" y="3014636"/>
                  </a:cubicBezTo>
                  <a:cubicBezTo>
                    <a:pt x="2921042" y="3003451"/>
                    <a:pt x="3470178" y="3215796"/>
                    <a:pt x="3535337" y="3347130"/>
                  </a:cubicBezTo>
                  <a:cubicBezTo>
                    <a:pt x="3547003" y="3370641"/>
                    <a:pt x="3728799" y="3664599"/>
                    <a:pt x="3329780" y="4123117"/>
                  </a:cubicBezTo>
                  <a:cubicBezTo>
                    <a:pt x="3239536" y="3931376"/>
                    <a:pt x="3182700" y="3856167"/>
                    <a:pt x="3131718" y="3827088"/>
                  </a:cubicBezTo>
                  <a:cubicBezTo>
                    <a:pt x="3126039" y="3954581"/>
                    <a:pt x="3217968" y="4143546"/>
                    <a:pt x="3220186" y="4288929"/>
                  </a:cubicBezTo>
                  <a:cubicBezTo>
                    <a:pt x="2884642" y="4368687"/>
                    <a:pt x="1457615" y="4327018"/>
                    <a:pt x="1014188" y="4329690"/>
                  </a:cubicBezTo>
                  <a:cubicBezTo>
                    <a:pt x="570762" y="4332363"/>
                    <a:pt x="713112" y="4316028"/>
                    <a:pt x="559624" y="4304969"/>
                  </a:cubicBezTo>
                  <a:cubicBezTo>
                    <a:pt x="561835" y="4159587"/>
                    <a:pt x="573565" y="3946561"/>
                    <a:pt x="696213" y="3851151"/>
                  </a:cubicBezTo>
                  <a:cubicBezTo>
                    <a:pt x="645233" y="3880228"/>
                    <a:pt x="564335" y="3867212"/>
                    <a:pt x="433988" y="4219363"/>
                  </a:cubicBezTo>
                  <a:cubicBezTo>
                    <a:pt x="42989" y="3873132"/>
                    <a:pt x="-89758" y="3418510"/>
                    <a:pt x="59999" y="3323069"/>
                  </a:cubicBezTo>
                  <a:cubicBezTo>
                    <a:pt x="149354" y="3266121"/>
                    <a:pt x="652367" y="2910819"/>
                    <a:pt x="846112" y="2991991"/>
                  </a:cubicBezTo>
                  <a:cubicBezTo>
                    <a:pt x="1014514" y="2992004"/>
                    <a:pt x="1624048" y="3601578"/>
                    <a:pt x="2217537" y="3160462"/>
                  </a:cubicBezTo>
                  <a:cubicBezTo>
                    <a:pt x="2026922" y="3232014"/>
                    <a:pt x="1623040" y="3233422"/>
                    <a:pt x="1324791" y="3104247"/>
                  </a:cubicBezTo>
                  <a:cubicBezTo>
                    <a:pt x="1256511" y="3070558"/>
                    <a:pt x="1197945" y="3033126"/>
                    <a:pt x="1155599" y="2998266"/>
                  </a:cubicBezTo>
                  <a:lnTo>
                    <a:pt x="1076693" y="2921536"/>
                  </a:lnTo>
                  <a:cubicBezTo>
                    <a:pt x="1072300" y="2919482"/>
                    <a:pt x="1071173" y="2916485"/>
                    <a:pt x="1070850" y="2913982"/>
                  </a:cubicBezTo>
                  <a:lnTo>
                    <a:pt x="1073489" y="2902329"/>
                  </a:lnTo>
                  <a:cubicBezTo>
                    <a:pt x="1066634" y="2899034"/>
                    <a:pt x="1061555" y="2894005"/>
                    <a:pt x="1056580" y="2888968"/>
                  </a:cubicBezTo>
                  <a:close/>
                  <a:moveTo>
                    <a:pt x="2796722" y="1246485"/>
                  </a:moveTo>
                  <a:cubicBezTo>
                    <a:pt x="3012310" y="1295710"/>
                    <a:pt x="3153282" y="1498338"/>
                    <a:pt x="3115862" y="1711697"/>
                  </a:cubicBezTo>
                  <a:cubicBezTo>
                    <a:pt x="3078442" y="1925056"/>
                    <a:pt x="2876136" y="2072130"/>
                    <a:pt x="2655660" y="2050784"/>
                  </a:cubicBezTo>
                  <a:close/>
                  <a:moveTo>
                    <a:pt x="780027" y="1246484"/>
                  </a:moveTo>
                  <a:lnTo>
                    <a:pt x="921090" y="2050784"/>
                  </a:lnTo>
                  <a:cubicBezTo>
                    <a:pt x="700613" y="2072129"/>
                    <a:pt x="498308" y="1925055"/>
                    <a:pt x="460887" y="1711696"/>
                  </a:cubicBezTo>
                  <a:cubicBezTo>
                    <a:pt x="423467" y="1498336"/>
                    <a:pt x="564440" y="1295709"/>
                    <a:pt x="780027" y="1246484"/>
                  </a:cubicBezTo>
                  <a:close/>
                  <a:moveTo>
                    <a:pt x="1848441" y="171371"/>
                  </a:moveTo>
                  <a:cubicBezTo>
                    <a:pt x="1969295" y="176782"/>
                    <a:pt x="2073506" y="204781"/>
                    <a:pt x="2167584" y="240544"/>
                  </a:cubicBezTo>
                  <a:cubicBezTo>
                    <a:pt x="2566093" y="409005"/>
                    <a:pt x="2660653" y="684755"/>
                    <a:pt x="2685741" y="847570"/>
                  </a:cubicBezTo>
                  <a:cubicBezTo>
                    <a:pt x="2691196" y="889607"/>
                    <a:pt x="2687399" y="926230"/>
                    <a:pt x="2682280" y="962042"/>
                  </a:cubicBezTo>
                  <a:cubicBezTo>
                    <a:pt x="2649659" y="957770"/>
                    <a:pt x="2620095" y="960088"/>
                    <a:pt x="2613747" y="998104"/>
                  </a:cubicBezTo>
                  <a:cubicBezTo>
                    <a:pt x="2607005" y="1038472"/>
                    <a:pt x="2620208" y="1106049"/>
                    <a:pt x="2637279" y="1182337"/>
                  </a:cubicBezTo>
                  <a:lnTo>
                    <a:pt x="2622610" y="1262678"/>
                  </a:lnTo>
                  <a:lnTo>
                    <a:pt x="2510611" y="1910576"/>
                  </a:lnTo>
                  <a:cubicBezTo>
                    <a:pt x="2507115" y="1954048"/>
                    <a:pt x="2500453" y="2007816"/>
                    <a:pt x="2526765" y="2038796"/>
                  </a:cubicBezTo>
                  <a:cubicBezTo>
                    <a:pt x="2371357" y="2361580"/>
                    <a:pt x="2328549" y="2416752"/>
                    <a:pt x="2254525" y="2495083"/>
                  </a:cubicBezTo>
                  <a:cubicBezTo>
                    <a:pt x="1858011" y="2914669"/>
                    <a:pt x="1431140" y="2657982"/>
                    <a:pt x="1257080" y="2434667"/>
                  </a:cubicBezTo>
                  <a:cubicBezTo>
                    <a:pt x="1189856" y="2349227"/>
                    <a:pt x="1109749" y="2199054"/>
                    <a:pt x="1036595" y="2043155"/>
                  </a:cubicBezTo>
                  <a:cubicBezTo>
                    <a:pt x="1083513" y="2023737"/>
                    <a:pt x="1082059" y="1973464"/>
                    <a:pt x="1082059" y="1944457"/>
                  </a:cubicBezTo>
                  <a:lnTo>
                    <a:pt x="947455" y="1275315"/>
                  </a:lnTo>
                  <a:cubicBezTo>
                    <a:pt x="950970" y="1269829"/>
                    <a:pt x="954583" y="1264410"/>
                    <a:pt x="959026" y="1259542"/>
                  </a:cubicBezTo>
                  <a:lnTo>
                    <a:pt x="934430" y="1070615"/>
                  </a:lnTo>
                  <a:lnTo>
                    <a:pt x="934428" y="1070617"/>
                  </a:lnTo>
                  <a:lnTo>
                    <a:pt x="896796" y="870157"/>
                  </a:lnTo>
                  <a:cubicBezTo>
                    <a:pt x="938286" y="512528"/>
                    <a:pt x="1202672" y="349714"/>
                    <a:pt x="1429427" y="237720"/>
                  </a:cubicBezTo>
                  <a:cubicBezTo>
                    <a:pt x="1590084" y="183135"/>
                    <a:pt x="1727585" y="165959"/>
                    <a:pt x="1848441" y="171371"/>
                  </a:cubicBezTo>
                  <a:close/>
                  <a:moveTo>
                    <a:pt x="1800355" y="5"/>
                  </a:moveTo>
                  <a:cubicBezTo>
                    <a:pt x="1940741" y="361"/>
                    <a:pt x="2075186" y="18913"/>
                    <a:pt x="2159121" y="54588"/>
                  </a:cubicBezTo>
                  <a:cubicBezTo>
                    <a:pt x="2634503" y="220122"/>
                    <a:pt x="2800888" y="591149"/>
                    <a:pt x="2854368" y="867991"/>
                  </a:cubicBezTo>
                  <a:lnTo>
                    <a:pt x="2640446" y="2066688"/>
                  </a:lnTo>
                  <a:cubicBezTo>
                    <a:pt x="2608425" y="2070367"/>
                    <a:pt x="2584721" y="2067621"/>
                    <a:pt x="2567520" y="2059777"/>
                  </a:cubicBezTo>
                  <a:lnTo>
                    <a:pt x="2590963" y="2068588"/>
                  </a:lnTo>
                  <a:cubicBezTo>
                    <a:pt x="2486572" y="2328372"/>
                    <a:pt x="2300485" y="2631889"/>
                    <a:pt x="1972659" y="2813554"/>
                  </a:cubicBezTo>
                  <a:lnTo>
                    <a:pt x="1966577" y="2801385"/>
                  </a:lnTo>
                  <a:cubicBezTo>
                    <a:pt x="1960850" y="2794046"/>
                    <a:pt x="1953929" y="2788189"/>
                    <a:pt x="1946256" y="2783955"/>
                  </a:cubicBezTo>
                  <a:cubicBezTo>
                    <a:pt x="2251095" y="2623979"/>
                    <a:pt x="2439177" y="2349882"/>
                    <a:pt x="2551312" y="2053845"/>
                  </a:cubicBezTo>
                  <a:lnTo>
                    <a:pt x="2562884" y="2058080"/>
                  </a:lnTo>
                  <a:cubicBezTo>
                    <a:pt x="2510772" y="2032557"/>
                    <a:pt x="2520145" y="1962505"/>
                    <a:pt x="2524571" y="1908290"/>
                  </a:cubicBezTo>
                  <a:lnTo>
                    <a:pt x="2639528" y="1253357"/>
                  </a:lnTo>
                  <a:lnTo>
                    <a:pt x="2679963" y="1035241"/>
                  </a:lnTo>
                  <a:cubicBezTo>
                    <a:pt x="2683282" y="1035237"/>
                    <a:pt x="2686375" y="1034398"/>
                    <a:pt x="2689469" y="1033523"/>
                  </a:cubicBezTo>
                  <a:cubicBezTo>
                    <a:pt x="2694422" y="966929"/>
                    <a:pt x="2714229" y="908897"/>
                    <a:pt x="2704325" y="833741"/>
                  </a:cubicBezTo>
                  <a:cubicBezTo>
                    <a:pt x="2678575" y="669157"/>
                    <a:pt x="2581518" y="390412"/>
                    <a:pt x="2172491" y="220121"/>
                  </a:cubicBezTo>
                  <a:cubicBezTo>
                    <a:pt x="2075928" y="183970"/>
                    <a:pt x="1968967" y="155667"/>
                    <a:pt x="1844923" y="150197"/>
                  </a:cubicBezTo>
                  <a:cubicBezTo>
                    <a:pt x="1720877" y="144727"/>
                    <a:pt x="1579748" y="162089"/>
                    <a:pt x="1414848" y="217267"/>
                  </a:cubicBezTo>
                  <a:cubicBezTo>
                    <a:pt x="1182109" y="330478"/>
                    <a:pt x="910744" y="495060"/>
                    <a:pt x="868158" y="856572"/>
                  </a:cubicBezTo>
                  <a:lnTo>
                    <a:pt x="906782" y="1059209"/>
                  </a:lnTo>
                  <a:cubicBezTo>
                    <a:pt x="906783" y="1059209"/>
                    <a:pt x="906785" y="1059209"/>
                    <a:pt x="906785" y="1059208"/>
                  </a:cubicBezTo>
                  <a:lnTo>
                    <a:pt x="932032" y="1250186"/>
                  </a:lnTo>
                  <a:cubicBezTo>
                    <a:pt x="927470" y="1255108"/>
                    <a:pt x="923762" y="1260584"/>
                    <a:pt x="920153" y="1266130"/>
                  </a:cubicBezTo>
                  <a:lnTo>
                    <a:pt x="1058311" y="1942538"/>
                  </a:lnTo>
                  <a:cubicBezTo>
                    <a:pt x="1058311" y="1983921"/>
                    <a:pt x="1061282" y="2068115"/>
                    <a:pt x="924610" y="2049564"/>
                  </a:cubicBezTo>
                  <a:lnTo>
                    <a:pt x="724058" y="867991"/>
                  </a:lnTo>
                  <a:cubicBezTo>
                    <a:pt x="838447" y="262934"/>
                    <a:pt x="1232124" y="123085"/>
                    <a:pt x="1405936" y="54588"/>
                  </a:cubicBezTo>
                  <a:cubicBezTo>
                    <a:pt x="1513639" y="17486"/>
                    <a:pt x="1659969" y="-352"/>
                    <a:pt x="1800355" y="5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45714" rIns="45714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16" fontAlgn="base">
                <a:spcBef>
                  <a:spcPct val="0"/>
                </a:spcBef>
                <a:spcAft>
                  <a:spcPct val="0"/>
                </a:spcAft>
              </a:pPr>
              <a:endParaRPr lang="nl-NL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Regular" pitchFamily="50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0" name="Rectangle 249"/>
            <p:cNvSpPr/>
            <p:nvPr/>
          </p:nvSpPr>
          <p:spPr>
            <a:xfrm>
              <a:off x="3407650" y="-451257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1" name="Group 250"/>
          <p:cNvGrpSpPr/>
          <p:nvPr/>
        </p:nvGrpSpPr>
        <p:grpSpPr>
          <a:xfrm>
            <a:off x="1490713" y="507839"/>
            <a:ext cx="792000" cy="792000"/>
            <a:chOff x="3384833" y="-3512387"/>
            <a:chExt cx="792000" cy="792000"/>
          </a:xfrm>
        </p:grpSpPr>
        <p:sp>
          <p:nvSpPr>
            <p:cNvPr id="252" name="Freeform 111"/>
            <p:cNvSpPr>
              <a:spLocks noEditPoints="1"/>
            </p:cNvSpPr>
            <p:nvPr/>
          </p:nvSpPr>
          <p:spPr bwMode="black">
            <a:xfrm>
              <a:off x="3537540" y="-3453034"/>
              <a:ext cx="486587" cy="673294"/>
            </a:xfrm>
            <a:custGeom>
              <a:avLst/>
              <a:gdLst>
                <a:gd name="T0" fmla="*/ 42 w 52"/>
                <a:gd name="T1" fmla="*/ 37 h 72"/>
                <a:gd name="T2" fmla="*/ 35 w 52"/>
                <a:gd name="T3" fmla="*/ 32 h 72"/>
                <a:gd name="T4" fmla="*/ 40 w 52"/>
                <a:gd name="T5" fmla="*/ 27 h 72"/>
                <a:gd name="T6" fmla="*/ 47 w 52"/>
                <a:gd name="T7" fmla="*/ 32 h 72"/>
                <a:gd name="T8" fmla="*/ 42 w 52"/>
                <a:gd name="T9" fmla="*/ 52 h 72"/>
                <a:gd name="T10" fmla="*/ 35 w 52"/>
                <a:gd name="T11" fmla="*/ 47 h 72"/>
                <a:gd name="T12" fmla="*/ 40 w 52"/>
                <a:gd name="T13" fmla="*/ 42 h 72"/>
                <a:gd name="T14" fmla="*/ 47 w 52"/>
                <a:gd name="T15" fmla="*/ 46 h 72"/>
                <a:gd name="T16" fmla="*/ 47 w 52"/>
                <a:gd name="T17" fmla="*/ 61 h 72"/>
                <a:gd name="T18" fmla="*/ 40 w 52"/>
                <a:gd name="T19" fmla="*/ 66 h 72"/>
                <a:gd name="T20" fmla="*/ 35 w 52"/>
                <a:gd name="T21" fmla="*/ 61 h 72"/>
                <a:gd name="T22" fmla="*/ 42 w 52"/>
                <a:gd name="T23" fmla="*/ 56 h 72"/>
                <a:gd name="T24" fmla="*/ 32 w 52"/>
                <a:gd name="T25" fmla="*/ 32 h 72"/>
                <a:gd name="T26" fmla="*/ 25 w 52"/>
                <a:gd name="T27" fmla="*/ 37 h 72"/>
                <a:gd name="T28" fmla="*/ 20 w 52"/>
                <a:gd name="T29" fmla="*/ 32 h 72"/>
                <a:gd name="T30" fmla="*/ 27 w 52"/>
                <a:gd name="T31" fmla="*/ 27 h 72"/>
                <a:gd name="T32" fmla="*/ 32 w 52"/>
                <a:gd name="T33" fmla="*/ 47 h 72"/>
                <a:gd name="T34" fmla="*/ 25 w 52"/>
                <a:gd name="T35" fmla="*/ 52 h 72"/>
                <a:gd name="T36" fmla="*/ 20 w 52"/>
                <a:gd name="T37" fmla="*/ 46 h 72"/>
                <a:gd name="T38" fmla="*/ 27 w 52"/>
                <a:gd name="T39" fmla="*/ 42 h 72"/>
                <a:gd name="T40" fmla="*/ 32 w 52"/>
                <a:gd name="T41" fmla="*/ 47 h 72"/>
                <a:gd name="T42" fmla="*/ 27 w 52"/>
                <a:gd name="T43" fmla="*/ 66 h 72"/>
                <a:gd name="T44" fmla="*/ 20 w 52"/>
                <a:gd name="T45" fmla="*/ 61 h 72"/>
                <a:gd name="T46" fmla="*/ 25 w 52"/>
                <a:gd name="T47" fmla="*/ 56 h 72"/>
                <a:gd name="T48" fmla="*/ 32 w 52"/>
                <a:gd name="T49" fmla="*/ 61 h 72"/>
                <a:gd name="T50" fmla="*/ 12 w 52"/>
                <a:gd name="T51" fmla="*/ 37 h 72"/>
                <a:gd name="T52" fmla="*/ 5 w 52"/>
                <a:gd name="T53" fmla="*/ 32 h 72"/>
                <a:gd name="T54" fmla="*/ 10 w 52"/>
                <a:gd name="T55" fmla="*/ 27 h 72"/>
                <a:gd name="T56" fmla="*/ 17 w 52"/>
                <a:gd name="T57" fmla="*/ 32 h 72"/>
                <a:gd name="T58" fmla="*/ 12 w 52"/>
                <a:gd name="T59" fmla="*/ 52 h 72"/>
                <a:gd name="T60" fmla="*/ 5 w 52"/>
                <a:gd name="T61" fmla="*/ 47 h 72"/>
                <a:gd name="T62" fmla="*/ 10 w 52"/>
                <a:gd name="T63" fmla="*/ 42 h 72"/>
                <a:gd name="T64" fmla="*/ 17 w 52"/>
                <a:gd name="T65" fmla="*/ 46 h 72"/>
                <a:gd name="T66" fmla="*/ 17 w 52"/>
                <a:gd name="T67" fmla="*/ 61 h 72"/>
                <a:gd name="T68" fmla="*/ 10 w 52"/>
                <a:gd name="T69" fmla="*/ 66 h 72"/>
                <a:gd name="T70" fmla="*/ 5 w 52"/>
                <a:gd name="T71" fmla="*/ 61 h 72"/>
                <a:gd name="T72" fmla="*/ 12 w 52"/>
                <a:gd name="T73" fmla="*/ 56 h 72"/>
                <a:gd name="T74" fmla="*/ 6 w 52"/>
                <a:gd name="T75" fmla="*/ 11 h 72"/>
                <a:gd name="T76" fmla="*/ 42 w 52"/>
                <a:gd name="T77" fmla="*/ 7 h 72"/>
                <a:gd name="T78" fmla="*/ 46 w 52"/>
                <a:gd name="T79" fmla="*/ 16 h 72"/>
                <a:gd name="T80" fmla="*/ 10 w 52"/>
                <a:gd name="T81" fmla="*/ 20 h 72"/>
                <a:gd name="T82" fmla="*/ 6 w 52"/>
                <a:gd name="T83" fmla="*/ 11 h 72"/>
                <a:gd name="T84" fmla="*/ 0 w 52"/>
                <a:gd name="T85" fmla="*/ 5 h 72"/>
                <a:gd name="T86" fmla="*/ 5 w 52"/>
                <a:gd name="T87" fmla="*/ 72 h 72"/>
                <a:gd name="T88" fmla="*/ 52 w 52"/>
                <a:gd name="T89" fmla="*/ 67 h 72"/>
                <a:gd name="T90" fmla="*/ 47 w 52"/>
                <a:gd name="T9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" h="72">
                  <a:moveTo>
                    <a:pt x="47" y="32"/>
                  </a:moveTo>
                  <a:cubicBezTo>
                    <a:pt x="47" y="35"/>
                    <a:pt x="45" y="37"/>
                    <a:pt x="42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8" y="37"/>
                    <a:pt x="35" y="35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29"/>
                    <a:pt x="38" y="27"/>
                    <a:pt x="40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7"/>
                    <a:pt x="47" y="29"/>
                    <a:pt x="47" y="32"/>
                  </a:cubicBezTo>
                  <a:close/>
                  <a:moveTo>
                    <a:pt x="47" y="47"/>
                  </a:moveTo>
                  <a:cubicBezTo>
                    <a:pt x="47" y="49"/>
                    <a:pt x="45" y="52"/>
                    <a:pt x="42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38" y="52"/>
                    <a:pt x="35" y="49"/>
                    <a:pt x="35" y="47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4"/>
                    <a:pt x="38" y="42"/>
                    <a:pt x="4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5" y="42"/>
                    <a:pt x="47" y="44"/>
                    <a:pt x="47" y="46"/>
                  </a:cubicBezTo>
                  <a:lnTo>
                    <a:pt x="47" y="47"/>
                  </a:lnTo>
                  <a:close/>
                  <a:moveTo>
                    <a:pt x="47" y="61"/>
                  </a:moveTo>
                  <a:cubicBezTo>
                    <a:pt x="47" y="64"/>
                    <a:pt x="45" y="66"/>
                    <a:pt x="42" y="66"/>
                  </a:cubicBezTo>
                  <a:cubicBezTo>
                    <a:pt x="40" y="66"/>
                    <a:pt x="40" y="66"/>
                    <a:pt x="40" y="66"/>
                  </a:cubicBezTo>
                  <a:cubicBezTo>
                    <a:pt x="38" y="66"/>
                    <a:pt x="35" y="64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58"/>
                    <a:pt x="38" y="56"/>
                    <a:pt x="40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5" y="56"/>
                    <a:pt x="47" y="58"/>
                    <a:pt x="47" y="61"/>
                  </a:cubicBezTo>
                  <a:close/>
                  <a:moveTo>
                    <a:pt x="32" y="32"/>
                  </a:moveTo>
                  <a:cubicBezTo>
                    <a:pt x="32" y="35"/>
                    <a:pt x="30" y="37"/>
                    <a:pt x="27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3" y="37"/>
                    <a:pt x="20" y="35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29"/>
                    <a:pt x="23" y="27"/>
                    <a:pt x="25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7"/>
                    <a:pt x="32" y="29"/>
                    <a:pt x="32" y="32"/>
                  </a:cubicBezTo>
                  <a:close/>
                  <a:moveTo>
                    <a:pt x="32" y="47"/>
                  </a:moveTo>
                  <a:cubicBezTo>
                    <a:pt x="32" y="49"/>
                    <a:pt x="30" y="52"/>
                    <a:pt x="27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3" y="52"/>
                    <a:pt x="20" y="49"/>
                    <a:pt x="20" y="47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0" y="44"/>
                    <a:pt x="23" y="42"/>
                    <a:pt x="25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30" y="42"/>
                    <a:pt x="32" y="44"/>
                    <a:pt x="32" y="46"/>
                  </a:cubicBezTo>
                  <a:lnTo>
                    <a:pt x="32" y="47"/>
                  </a:lnTo>
                  <a:close/>
                  <a:moveTo>
                    <a:pt x="32" y="61"/>
                  </a:moveTo>
                  <a:cubicBezTo>
                    <a:pt x="32" y="64"/>
                    <a:pt x="30" y="66"/>
                    <a:pt x="27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3" y="66"/>
                    <a:pt x="20" y="64"/>
                    <a:pt x="20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0" y="58"/>
                    <a:pt x="23" y="56"/>
                    <a:pt x="25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30" y="56"/>
                    <a:pt x="32" y="58"/>
                    <a:pt x="32" y="61"/>
                  </a:cubicBezTo>
                  <a:close/>
                  <a:moveTo>
                    <a:pt x="17" y="32"/>
                  </a:moveTo>
                  <a:cubicBezTo>
                    <a:pt x="17" y="35"/>
                    <a:pt x="15" y="37"/>
                    <a:pt x="12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7" y="37"/>
                    <a:pt x="5" y="35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29"/>
                    <a:pt x="7" y="27"/>
                    <a:pt x="10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5" y="27"/>
                    <a:pt x="17" y="29"/>
                    <a:pt x="17" y="32"/>
                  </a:cubicBezTo>
                  <a:close/>
                  <a:moveTo>
                    <a:pt x="17" y="47"/>
                  </a:moveTo>
                  <a:cubicBezTo>
                    <a:pt x="17" y="49"/>
                    <a:pt x="15" y="52"/>
                    <a:pt x="12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7" y="52"/>
                    <a:pt x="5" y="49"/>
                    <a:pt x="5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4"/>
                    <a:pt x="7" y="42"/>
                    <a:pt x="10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5" y="42"/>
                    <a:pt x="17" y="44"/>
                    <a:pt x="17" y="46"/>
                  </a:cubicBezTo>
                  <a:lnTo>
                    <a:pt x="17" y="47"/>
                  </a:lnTo>
                  <a:close/>
                  <a:moveTo>
                    <a:pt x="17" y="61"/>
                  </a:moveTo>
                  <a:cubicBezTo>
                    <a:pt x="17" y="64"/>
                    <a:pt x="15" y="66"/>
                    <a:pt x="12" y="66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7" y="66"/>
                    <a:pt x="5" y="64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58"/>
                    <a:pt x="7" y="56"/>
                    <a:pt x="10" y="56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5" y="56"/>
                    <a:pt x="17" y="58"/>
                    <a:pt x="17" y="61"/>
                  </a:cubicBezTo>
                  <a:close/>
                  <a:moveTo>
                    <a:pt x="6" y="11"/>
                  </a:moveTo>
                  <a:cubicBezTo>
                    <a:pt x="6" y="9"/>
                    <a:pt x="8" y="7"/>
                    <a:pt x="10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4" y="7"/>
                    <a:pt x="46" y="9"/>
                    <a:pt x="46" y="11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8"/>
                    <a:pt x="44" y="20"/>
                    <a:pt x="42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6" y="18"/>
                    <a:pt x="6" y="16"/>
                  </a:cubicBezTo>
                  <a:lnTo>
                    <a:pt x="6" y="11"/>
                  </a:lnTo>
                  <a:close/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0"/>
                    <a:pt x="2" y="72"/>
                    <a:pt x="5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50" y="72"/>
                    <a:pt x="52" y="70"/>
                    <a:pt x="52" y="67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2"/>
                    <a:pt x="50" y="0"/>
                    <a:pt x="47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67232" tIns="33616" rIns="67232" bIns="33616" numCol="1" anchor="t" anchorCtr="0" compatLnSpc="1">
              <a:prstTxWarp prst="textNoShape">
                <a:avLst/>
              </a:prstTxWarp>
            </a:bodyPr>
            <a:lstStyle/>
            <a:p>
              <a:pPr defTabSz="685761"/>
              <a:endParaRPr lang="en-US" sz="1600">
                <a:solidFill>
                  <a:srgbClr val="292929"/>
                </a:solidFill>
                <a:latin typeface="NotesStyle-Regular" pitchFamily="50" charset="0"/>
              </a:endParaRPr>
            </a:p>
          </p:txBody>
        </p:sp>
        <p:sp>
          <p:nvSpPr>
            <p:cNvPr id="253" name="Rectangle 252"/>
            <p:cNvSpPr/>
            <p:nvPr/>
          </p:nvSpPr>
          <p:spPr>
            <a:xfrm>
              <a:off x="3384833" y="-35123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3896717" y="2135352"/>
            <a:ext cx="792000" cy="792000"/>
            <a:chOff x="5147153" y="1581580"/>
            <a:chExt cx="792000" cy="792000"/>
          </a:xfrm>
        </p:grpSpPr>
        <p:sp>
          <p:nvSpPr>
            <p:cNvPr id="255" name="Freeform 35"/>
            <p:cNvSpPr>
              <a:spLocks/>
            </p:cNvSpPr>
            <p:nvPr/>
          </p:nvSpPr>
          <p:spPr bwMode="auto">
            <a:xfrm>
              <a:off x="5173623" y="1608050"/>
              <a:ext cx="739061" cy="739061"/>
            </a:xfrm>
            <a:custGeom>
              <a:avLst/>
              <a:gdLst>
                <a:gd name="T0" fmla="*/ 120 w 191"/>
                <a:gd name="T1" fmla="*/ 32 h 197"/>
                <a:gd name="T2" fmla="*/ 83 w 191"/>
                <a:gd name="T3" fmla="*/ 3 h 197"/>
                <a:gd name="T4" fmla="*/ 47 w 191"/>
                <a:gd name="T5" fmla="*/ 5 h 197"/>
                <a:gd name="T6" fmla="*/ 44 w 191"/>
                <a:gd name="T7" fmla="*/ 27 h 197"/>
                <a:gd name="T8" fmla="*/ 40 w 191"/>
                <a:gd name="T9" fmla="*/ 29 h 197"/>
                <a:gd name="T10" fmla="*/ 40 w 191"/>
                <a:gd name="T11" fmla="*/ 33 h 197"/>
                <a:gd name="T12" fmla="*/ 45 w 191"/>
                <a:gd name="T13" fmla="*/ 40 h 197"/>
                <a:gd name="T14" fmla="*/ 88 w 191"/>
                <a:gd name="T15" fmla="*/ 44 h 197"/>
                <a:gd name="T16" fmla="*/ 118 w 191"/>
                <a:gd name="T17" fmla="*/ 113 h 197"/>
                <a:gd name="T18" fmla="*/ 144 w 191"/>
                <a:gd name="T19" fmla="*/ 129 h 197"/>
                <a:gd name="T20" fmla="*/ 112 w 191"/>
                <a:gd name="T21" fmla="*/ 109 h 197"/>
                <a:gd name="T22" fmla="*/ 65 w 191"/>
                <a:gd name="T23" fmla="*/ 115 h 197"/>
                <a:gd name="T24" fmla="*/ 0 w 191"/>
                <a:gd name="T25" fmla="*/ 116 h 197"/>
                <a:gd name="T26" fmla="*/ 26 w 191"/>
                <a:gd name="T27" fmla="*/ 174 h 197"/>
                <a:gd name="T28" fmla="*/ 61 w 191"/>
                <a:gd name="T29" fmla="*/ 136 h 197"/>
                <a:gd name="T30" fmla="*/ 57 w 191"/>
                <a:gd name="T31" fmla="*/ 148 h 197"/>
                <a:gd name="T32" fmla="*/ 126 w 191"/>
                <a:gd name="T33" fmla="*/ 140 h 197"/>
                <a:gd name="T34" fmla="*/ 55 w 191"/>
                <a:gd name="T35" fmla="*/ 153 h 197"/>
                <a:gd name="T36" fmla="*/ 30 w 191"/>
                <a:gd name="T37" fmla="*/ 180 h 197"/>
                <a:gd name="T38" fmla="*/ 32 w 191"/>
                <a:gd name="T39" fmla="*/ 182 h 197"/>
                <a:gd name="T40" fmla="*/ 180 w 191"/>
                <a:gd name="T41" fmla="*/ 159 h 197"/>
                <a:gd name="T42" fmla="*/ 185 w 191"/>
                <a:gd name="T43" fmla="*/ 129 h 197"/>
                <a:gd name="T44" fmla="*/ 120 w 191"/>
                <a:gd name="T45" fmla="*/ 3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" h="197">
                  <a:moveTo>
                    <a:pt x="120" y="32"/>
                  </a:moveTo>
                  <a:cubicBezTo>
                    <a:pt x="112" y="23"/>
                    <a:pt x="99" y="9"/>
                    <a:pt x="83" y="3"/>
                  </a:cubicBezTo>
                  <a:cubicBezTo>
                    <a:pt x="72" y="0"/>
                    <a:pt x="47" y="5"/>
                    <a:pt x="47" y="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7"/>
                    <a:pt x="45" y="40"/>
                  </a:cubicBezTo>
                  <a:cubicBezTo>
                    <a:pt x="50" y="42"/>
                    <a:pt x="73" y="53"/>
                    <a:pt x="88" y="44"/>
                  </a:cubicBezTo>
                  <a:cubicBezTo>
                    <a:pt x="118" y="60"/>
                    <a:pt x="105" y="91"/>
                    <a:pt x="118" y="113"/>
                  </a:cubicBezTo>
                  <a:cubicBezTo>
                    <a:pt x="123" y="120"/>
                    <a:pt x="131" y="127"/>
                    <a:pt x="144" y="129"/>
                  </a:cubicBezTo>
                  <a:cubicBezTo>
                    <a:pt x="144" y="129"/>
                    <a:pt x="115" y="131"/>
                    <a:pt x="112" y="109"/>
                  </a:cubicBezTo>
                  <a:cubicBezTo>
                    <a:pt x="101" y="104"/>
                    <a:pt x="82" y="99"/>
                    <a:pt x="65" y="115"/>
                  </a:cubicBezTo>
                  <a:cubicBezTo>
                    <a:pt x="51" y="100"/>
                    <a:pt x="14" y="100"/>
                    <a:pt x="0" y="116"/>
                  </a:cubicBezTo>
                  <a:cubicBezTo>
                    <a:pt x="6" y="141"/>
                    <a:pt x="18" y="163"/>
                    <a:pt x="26" y="174"/>
                  </a:cubicBezTo>
                  <a:cubicBezTo>
                    <a:pt x="52" y="156"/>
                    <a:pt x="61" y="136"/>
                    <a:pt x="61" y="136"/>
                  </a:cubicBezTo>
                  <a:cubicBezTo>
                    <a:pt x="60" y="140"/>
                    <a:pt x="59" y="144"/>
                    <a:pt x="57" y="148"/>
                  </a:cubicBezTo>
                  <a:cubicBezTo>
                    <a:pt x="103" y="167"/>
                    <a:pt x="126" y="140"/>
                    <a:pt x="126" y="140"/>
                  </a:cubicBezTo>
                  <a:cubicBezTo>
                    <a:pt x="107" y="171"/>
                    <a:pt x="63" y="157"/>
                    <a:pt x="55" y="153"/>
                  </a:cubicBezTo>
                  <a:cubicBezTo>
                    <a:pt x="48" y="166"/>
                    <a:pt x="38" y="175"/>
                    <a:pt x="30" y="180"/>
                  </a:cubicBezTo>
                  <a:cubicBezTo>
                    <a:pt x="32" y="181"/>
                    <a:pt x="32" y="182"/>
                    <a:pt x="32" y="182"/>
                  </a:cubicBezTo>
                  <a:cubicBezTo>
                    <a:pt x="88" y="197"/>
                    <a:pt x="154" y="177"/>
                    <a:pt x="180" y="159"/>
                  </a:cubicBezTo>
                  <a:cubicBezTo>
                    <a:pt x="191" y="151"/>
                    <a:pt x="188" y="138"/>
                    <a:pt x="185" y="129"/>
                  </a:cubicBezTo>
                  <a:cubicBezTo>
                    <a:pt x="172" y="91"/>
                    <a:pt x="134" y="49"/>
                    <a:pt x="120" y="32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121883" tIns="60941" rIns="121883" bIns="6094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Segoe UI Light" pitchFamily="34" charset="0"/>
              </a:endParaRPr>
            </a:p>
          </p:txBody>
        </p:sp>
        <p:sp>
          <p:nvSpPr>
            <p:cNvPr id="256" name="Rectangle 255"/>
            <p:cNvSpPr/>
            <p:nvPr/>
          </p:nvSpPr>
          <p:spPr>
            <a:xfrm>
              <a:off x="5147153" y="15815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6387154" y="3383635"/>
            <a:ext cx="792000" cy="792000"/>
            <a:chOff x="2987466" y="-3820461"/>
            <a:chExt cx="792000" cy="792000"/>
          </a:xfrm>
        </p:grpSpPr>
        <p:sp>
          <p:nvSpPr>
            <p:cNvPr id="264" name="Freeform 35"/>
            <p:cNvSpPr>
              <a:spLocks noEditPoints="1"/>
            </p:cNvSpPr>
            <p:nvPr/>
          </p:nvSpPr>
          <p:spPr bwMode="auto">
            <a:xfrm>
              <a:off x="3105862" y="-3705634"/>
              <a:ext cx="555208" cy="562347"/>
            </a:xfrm>
            <a:custGeom>
              <a:avLst/>
              <a:gdLst>
                <a:gd name="T0" fmla="*/ 189 w 296"/>
                <a:gd name="T1" fmla="*/ 136 h 300"/>
                <a:gd name="T2" fmla="*/ 202 w 296"/>
                <a:gd name="T3" fmla="*/ 132 h 300"/>
                <a:gd name="T4" fmla="*/ 206 w 296"/>
                <a:gd name="T5" fmla="*/ 128 h 300"/>
                <a:gd name="T6" fmla="*/ 210 w 296"/>
                <a:gd name="T7" fmla="*/ 116 h 300"/>
                <a:gd name="T8" fmla="*/ 214 w 296"/>
                <a:gd name="T9" fmla="*/ 120 h 300"/>
                <a:gd name="T10" fmla="*/ 227 w 296"/>
                <a:gd name="T11" fmla="*/ 99 h 300"/>
                <a:gd name="T12" fmla="*/ 185 w 296"/>
                <a:gd name="T13" fmla="*/ 205 h 300"/>
                <a:gd name="T14" fmla="*/ 189 w 296"/>
                <a:gd name="T15" fmla="*/ 210 h 300"/>
                <a:gd name="T16" fmla="*/ 202 w 296"/>
                <a:gd name="T17" fmla="*/ 214 h 300"/>
                <a:gd name="T18" fmla="*/ 197 w 296"/>
                <a:gd name="T19" fmla="*/ 218 h 300"/>
                <a:gd name="T20" fmla="*/ 218 w 296"/>
                <a:gd name="T21" fmla="*/ 230 h 300"/>
                <a:gd name="T22" fmla="*/ 222 w 296"/>
                <a:gd name="T23" fmla="*/ 243 h 300"/>
                <a:gd name="T24" fmla="*/ 227 w 296"/>
                <a:gd name="T25" fmla="*/ 247 h 300"/>
                <a:gd name="T26" fmla="*/ 111 w 296"/>
                <a:gd name="T27" fmla="*/ 205 h 300"/>
                <a:gd name="T28" fmla="*/ 107 w 296"/>
                <a:gd name="T29" fmla="*/ 201 h 300"/>
                <a:gd name="T30" fmla="*/ 94 w 296"/>
                <a:gd name="T31" fmla="*/ 222 h 300"/>
                <a:gd name="T32" fmla="*/ 82 w 296"/>
                <a:gd name="T33" fmla="*/ 226 h 300"/>
                <a:gd name="T34" fmla="*/ 77 w 296"/>
                <a:gd name="T35" fmla="*/ 230 h 300"/>
                <a:gd name="T36" fmla="*/ 73 w 296"/>
                <a:gd name="T37" fmla="*/ 243 h 300"/>
                <a:gd name="T38" fmla="*/ 69 w 296"/>
                <a:gd name="T39" fmla="*/ 239 h 300"/>
                <a:gd name="T40" fmla="*/ 102 w 296"/>
                <a:gd name="T41" fmla="*/ 141 h 300"/>
                <a:gd name="T42" fmla="*/ 98 w 296"/>
                <a:gd name="T43" fmla="*/ 128 h 300"/>
                <a:gd name="T44" fmla="*/ 94 w 296"/>
                <a:gd name="T45" fmla="*/ 124 h 300"/>
                <a:gd name="T46" fmla="*/ 82 w 296"/>
                <a:gd name="T47" fmla="*/ 120 h 300"/>
                <a:gd name="T48" fmla="*/ 86 w 296"/>
                <a:gd name="T49" fmla="*/ 116 h 300"/>
                <a:gd name="T50" fmla="*/ 65 w 296"/>
                <a:gd name="T51" fmla="*/ 103 h 300"/>
                <a:gd name="T52" fmla="*/ 72 w 296"/>
                <a:gd name="T53" fmla="*/ 64 h 300"/>
                <a:gd name="T54" fmla="*/ 5 w 296"/>
                <a:gd name="T55" fmla="*/ 89 h 300"/>
                <a:gd name="T56" fmla="*/ 23 w 296"/>
                <a:gd name="T57" fmla="*/ 48 h 300"/>
                <a:gd name="T58" fmla="*/ 72 w 296"/>
                <a:gd name="T59" fmla="*/ 64 h 300"/>
                <a:gd name="T60" fmla="*/ 36 w 296"/>
                <a:gd name="T61" fmla="*/ 0 h 300"/>
                <a:gd name="T62" fmla="*/ 296 w 296"/>
                <a:gd name="T63" fmla="*/ 64 h 300"/>
                <a:gd name="T64" fmla="*/ 229 w 296"/>
                <a:gd name="T65" fmla="*/ 89 h 300"/>
                <a:gd name="T66" fmla="*/ 247 w 296"/>
                <a:gd name="T67" fmla="*/ 48 h 300"/>
                <a:gd name="T68" fmla="*/ 296 w 296"/>
                <a:gd name="T69" fmla="*/ 64 h 300"/>
                <a:gd name="T70" fmla="*/ 260 w 296"/>
                <a:gd name="T71" fmla="*/ 0 h 300"/>
                <a:gd name="T72" fmla="*/ 296 w 296"/>
                <a:gd name="T73" fmla="*/ 275 h 300"/>
                <a:gd name="T74" fmla="*/ 229 w 296"/>
                <a:gd name="T75" fmla="*/ 300 h 300"/>
                <a:gd name="T76" fmla="*/ 247 w 296"/>
                <a:gd name="T77" fmla="*/ 259 h 300"/>
                <a:gd name="T78" fmla="*/ 296 w 296"/>
                <a:gd name="T79" fmla="*/ 275 h 300"/>
                <a:gd name="T80" fmla="*/ 260 w 296"/>
                <a:gd name="T81" fmla="*/ 211 h 300"/>
                <a:gd name="T82" fmla="*/ 72 w 296"/>
                <a:gd name="T83" fmla="*/ 275 h 300"/>
                <a:gd name="T84" fmla="*/ 5 w 296"/>
                <a:gd name="T85" fmla="*/ 300 h 300"/>
                <a:gd name="T86" fmla="*/ 23 w 296"/>
                <a:gd name="T87" fmla="*/ 259 h 300"/>
                <a:gd name="T88" fmla="*/ 72 w 296"/>
                <a:gd name="T89" fmla="*/ 275 h 300"/>
                <a:gd name="T90" fmla="*/ 36 w 296"/>
                <a:gd name="T91" fmla="*/ 211 h 300"/>
                <a:gd name="T92" fmla="*/ 125 w 296"/>
                <a:gd name="T93" fmla="*/ 116 h 300"/>
                <a:gd name="T94" fmla="*/ 147 w 296"/>
                <a:gd name="T95" fmla="*/ 145 h 300"/>
                <a:gd name="T96" fmla="*/ 150 w 296"/>
                <a:gd name="T97" fmla="*/ 176 h 300"/>
                <a:gd name="T98" fmla="*/ 190 w 296"/>
                <a:gd name="T99" fmla="*/ 164 h 300"/>
                <a:gd name="T100" fmla="*/ 110 w 296"/>
                <a:gd name="T101" fmla="*/ 194 h 300"/>
                <a:gd name="T102" fmla="*/ 131 w 296"/>
                <a:gd name="T103" fmla="*/ 145 h 300"/>
                <a:gd name="T104" fmla="*/ 145 w 296"/>
                <a:gd name="T105" fmla="*/ 156 h 300"/>
                <a:gd name="T106" fmla="*/ 144 w 296"/>
                <a:gd name="T107" fmla="*/ 150 h 300"/>
                <a:gd name="T108" fmla="*/ 147 w 296"/>
                <a:gd name="T109" fmla="*/ 150 h 300"/>
                <a:gd name="T110" fmla="*/ 149 w 296"/>
                <a:gd name="T111" fmla="*/ 15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6" h="300">
                  <a:moveTo>
                    <a:pt x="189" y="145"/>
                  </a:moveTo>
                  <a:cubicBezTo>
                    <a:pt x="185" y="141"/>
                    <a:pt x="185" y="141"/>
                    <a:pt x="185" y="141"/>
                  </a:cubicBezTo>
                  <a:cubicBezTo>
                    <a:pt x="189" y="136"/>
                    <a:pt x="189" y="136"/>
                    <a:pt x="189" y="136"/>
                  </a:cubicBezTo>
                  <a:cubicBezTo>
                    <a:pt x="193" y="141"/>
                    <a:pt x="193" y="141"/>
                    <a:pt x="193" y="141"/>
                  </a:cubicBezTo>
                  <a:cubicBezTo>
                    <a:pt x="189" y="145"/>
                    <a:pt x="189" y="145"/>
                    <a:pt x="189" y="145"/>
                  </a:cubicBezTo>
                  <a:close/>
                  <a:moveTo>
                    <a:pt x="202" y="132"/>
                  </a:moveTo>
                  <a:cubicBezTo>
                    <a:pt x="197" y="128"/>
                    <a:pt x="197" y="128"/>
                    <a:pt x="197" y="128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2" y="132"/>
                    <a:pt x="202" y="132"/>
                    <a:pt x="202" y="132"/>
                  </a:cubicBezTo>
                  <a:close/>
                  <a:moveTo>
                    <a:pt x="214" y="120"/>
                  </a:moveTo>
                  <a:cubicBezTo>
                    <a:pt x="210" y="116"/>
                    <a:pt x="210" y="116"/>
                    <a:pt x="210" y="116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8" y="116"/>
                    <a:pt x="218" y="116"/>
                    <a:pt x="218" y="116"/>
                  </a:cubicBezTo>
                  <a:cubicBezTo>
                    <a:pt x="214" y="120"/>
                    <a:pt x="214" y="120"/>
                    <a:pt x="214" y="120"/>
                  </a:cubicBezTo>
                  <a:close/>
                  <a:moveTo>
                    <a:pt x="227" y="107"/>
                  </a:moveTo>
                  <a:cubicBezTo>
                    <a:pt x="222" y="103"/>
                    <a:pt x="222" y="103"/>
                    <a:pt x="222" y="103"/>
                  </a:cubicBezTo>
                  <a:cubicBezTo>
                    <a:pt x="227" y="99"/>
                    <a:pt x="227" y="99"/>
                    <a:pt x="227" y="99"/>
                  </a:cubicBezTo>
                  <a:cubicBezTo>
                    <a:pt x="231" y="103"/>
                    <a:pt x="231" y="103"/>
                    <a:pt x="231" y="103"/>
                  </a:cubicBezTo>
                  <a:cubicBezTo>
                    <a:pt x="227" y="107"/>
                    <a:pt x="227" y="107"/>
                    <a:pt x="227" y="107"/>
                  </a:cubicBezTo>
                  <a:close/>
                  <a:moveTo>
                    <a:pt x="185" y="205"/>
                  </a:moveTo>
                  <a:cubicBezTo>
                    <a:pt x="189" y="201"/>
                    <a:pt x="189" y="201"/>
                    <a:pt x="189" y="201"/>
                  </a:cubicBezTo>
                  <a:cubicBezTo>
                    <a:pt x="193" y="205"/>
                    <a:pt x="193" y="205"/>
                    <a:pt x="193" y="205"/>
                  </a:cubicBezTo>
                  <a:cubicBezTo>
                    <a:pt x="189" y="210"/>
                    <a:pt x="189" y="210"/>
                    <a:pt x="189" y="210"/>
                  </a:cubicBezTo>
                  <a:cubicBezTo>
                    <a:pt x="185" y="205"/>
                    <a:pt x="185" y="205"/>
                    <a:pt x="185" y="205"/>
                  </a:cubicBezTo>
                  <a:close/>
                  <a:moveTo>
                    <a:pt x="197" y="218"/>
                  </a:moveTo>
                  <a:cubicBezTo>
                    <a:pt x="202" y="214"/>
                    <a:pt x="202" y="214"/>
                    <a:pt x="202" y="214"/>
                  </a:cubicBezTo>
                  <a:cubicBezTo>
                    <a:pt x="206" y="218"/>
                    <a:pt x="206" y="218"/>
                    <a:pt x="206" y="218"/>
                  </a:cubicBezTo>
                  <a:cubicBezTo>
                    <a:pt x="202" y="222"/>
                    <a:pt x="202" y="222"/>
                    <a:pt x="202" y="222"/>
                  </a:cubicBezTo>
                  <a:cubicBezTo>
                    <a:pt x="197" y="218"/>
                    <a:pt x="197" y="218"/>
                    <a:pt x="197" y="218"/>
                  </a:cubicBezTo>
                  <a:close/>
                  <a:moveTo>
                    <a:pt x="210" y="230"/>
                  </a:moveTo>
                  <a:cubicBezTo>
                    <a:pt x="214" y="226"/>
                    <a:pt x="214" y="226"/>
                    <a:pt x="214" y="226"/>
                  </a:cubicBezTo>
                  <a:cubicBezTo>
                    <a:pt x="218" y="230"/>
                    <a:pt x="218" y="230"/>
                    <a:pt x="218" y="230"/>
                  </a:cubicBezTo>
                  <a:cubicBezTo>
                    <a:pt x="214" y="235"/>
                    <a:pt x="214" y="235"/>
                    <a:pt x="214" y="235"/>
                  </a:cubicBezTo>
                  <a:cubicBezTo>
                    <a:pt x="210" y="230"/>
                    <a:pt x="210" y="230"/>
                    <a:pt x="210" y="230"/>
                  </a:cubicBezTo>
                  <a:close/>
                  <a:moveTo>
                    <a:pt x="222" y="243"/>
                  </a:moveTo>
                  <a:cubicBezTo>
                    <a:pt x="227" y="239"/>
                    <a:pt x="227" y="239"/>
                    <a:pt x="227" y="239"/>
                  </a:cubicBezTo>
                  <a:cubicBezTo>
                    <a:pt x="231" y="243"/>
                    <a:pt x="231" y="243"/>
                    <a:pt x="231" y="243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2" y="243"/>
                    <a:pt x="222" y="243"/>
                    <a:pt x="222" y="243"/>
                  </a:cubicBezTo>
                  <a:close/>
                  <a:moveTo>
                    <a:pt x="107" y="201"/>
                  </a:moveTo>
                  <a:cubicBezTo>
                    <a:pt x="111" y="205"/>
                    <a:pt x="111" y="205"/>
                    <a:pt x="111" y="205"/>
                  </a:cubicBezTo>
                  <a:cubicBezTo>
                    <a:pt x="107" y="210"/>
                    <a:pt x="107" y="210"/>
                    <a:pt x="107" y="210"/>
                  </a:cubicBezTo>
                  <a:cubicBezTo>
                    <a:pt x="102" y="205"/>
                    <a:pt x="102" y="205"/>
                    <a:pt x="102" y="205"/>
                  </a:cubicBezTo>
                  <a:cubicBezTo>
                    <a:pt x="107" y="201"/>
                    <a:pt x="107" y="201"/>
                    <a:pt x="107" y="201"/>
                  </a:cubicBezTo>
                  <a:close/>
                  <a:moveTo>
                    <a:pt x="94" y="214"/>
                  </a:moveTo>
                  <a:cubicBezTo>
                    <a:pt x="98" y="218"/>
                    <a:pt x="98" y="218"/>
                    <a:pt x="98" y="218"/>
                  </a:cubicBezTo>
                  <a:cubicBezTo>
                    <a:pt x="94" y="222"/>
                    <a:pt x="94" y="222"/>
                    <a:pt x="94" y="222"/>
                  </a:cubicBezTo>
                  <a:cubicBezTo>
                    <a:pt x="90" y="218"/>
                    <a:pt x="90" y="218"/>
                    <a:pt x="90" y="218"/>
                  </a:cubicBezTo>
                  <a:cubicBezTo>
                    <a:pt x="94" y="214"/>
                    <a:pt x="94" y="214"/>
                    <a:pt x="94" y="214"/>
                  </a:cubicBezTo>
                  <a:close/>
                  <a:moveTo>
                    <a:pt x="82" y="226"/>
                  </a:moveTo>
                  <a:cubicBezTo>
                    <a:pt x="86" y="230"/>
                    <a:pt x="86" y="230"/>
                    <a:pt x="86" y="230"/>
                  </a:cubicBezTo>
                  <a:cubicBezTo>
                    <a:pt x="82" y="235"/>
                    <a:pt x="82" y="235"/>
                    <a:pt x="82" y="235"/>
                  </a:cubicBezTo>
                  <a:cubicBezTo>
                    <a:pt x="77" y="230"/>
                    <a:pt x="77" y="230"/>
                    <a:pt x="77" y="230"/>
                  </a:cubicBezTo>
                  <a:cubicBezTo>
                    <a:pt x="82" y="226"/>
                    <a:pt x="82" y="226"/>
                    <a:pt x="82" y="226"/>
                  </a:cubicBezTo>
                  <a:close/>
                  <a:moveTo>
                    <a:pt x="69" y="239"/>
                  </a:moveTo>
                  <a:cubicBezTo>
                    <a:pt x="73" y="243"/>
                    <a:pt x="73" y="243"/>
                    <a:pt x="73" y="243"/>
                  </a:cubicBezTo>
                  <a:cubicBezTo>
                    <a:pt x="69" y="247"/>
                    <a:pt x="69" y="247"/>
                    <a:pt x="69" y="247"/>
                  </a:cubicBezTo>
                  <a:cubicBezTo>
                    <a:pt x="65" y="243"/>
                    <a:pt x="65" y="243"/>
                    <a:pt x="65" y="243"/>
                  </a:cubicBezTo>
                  <a:cubicBezTo>
                    <a:pt x="69" y="239"/>
                    <a:pt x="69" y="239"/>
                    <a:pt x="69" y="239"/>
                  </a:cubicBezTo>
                  <a:close/>
                  <a:moveTo>
                    <a:pt x="111" y="141"/>
                  </a:moveTo>
                  <a:cubicBezTo>
                    <a:pt x="107" y="145"/>
                    <a:pt x="107" y="145"/>
                    <a:pt x="107" y="145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11" y="141"/>
                    <a:pt x="111" y="141"/>
                    <a:pt x="111" y="141"/>
                  </a:cubicBezTo>
                  <a:close/>
                  <a:moveTo>
                    <a:pt x="98" y="128"/>
                  </a:moveTo>
                  <a:cubicBezTo>
                    <a:pt x="94" y="132"/>
                    <a:pt x="94" y="132"/>
                    <a:pt x="94" y="132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4" y="124"/>
                    <a:pt x="94" y="124"/>
                    <a:pt x="94" y="124"/>
                  </a:cubicBezTo>
                  <a:cubicBezTo>
                    <a:pt x="98" y="128"/>
                    <a:pt x="98" y="128"/>
                    <a:pt x="98" y="128"/>
                  </a:cubicBezTo>
                  <a:close/>
                  <a:moveTo>
                    <a:pt x="86" y="116"/>
                  </a:moveTo>
                  <a:cubicBezTo>
                    <a:pt x="82" y="120"/>
                    <a:pt x="82" y="120"/>
                    <a:pt x="82" y="120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6" y="116"/>
                    <a:pt x="86" y="116"/>
                    <a:pt x="86" y="116"/>
                  </a:cubicBezTo>
                  <a:close/>
                  <a:moveTo>
                    <a:pt x="73" y="103"/>
                  </a:moveTo>
                  <a:cubicBezTo>
                    <a:pt x="69" y="107"/>
                    <a:pt x="69" y="107"/>
                    <a:pt x="69" y="107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73" y="103"/>
                    <a:pt x="73" y="103"/>
                    <a:pt x="73" y="103"/>
                  </a:cubicBezTo>
                  <a:close/>
                  <a:moveTo>
                    <a:pt x="72" y="64"/>
                  </a:moveTo>
                  <a:cubicBezTo>
                    <a:pt x="72" y="74"/>
                    <a:pt x="72" y="74"/>
                    <a:pt x="72" y="74"/>
                  </a:cubicBezTo>
                  <a:cubicBezTo>
                    <a:pt x="72" y="89"/>
                    <a:pt x="72" y="89"/>
                    <a:pt x="67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0" y="89"/>
                    <a:pt x="0" y="89"/>
                    <a:pt x="0" y="7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53"/>
                    <a:pt x="12" y="51"/>
                    <a:pt x="23" y="48"/>
                  </a:cubicBezTo>
                  <a:cubicBezTo>
                    <a:pt x="27" y="52"/>
                    <a:pt x="32" y="54"/>
                    <a:pt x="36" y="54"/>
                  </a:cubicBezTo>
                  <a:cubicBezTo>
                    <a:pt x="40" y="54"/>
                    <a:pt x="45" y="52"/>
                    <a:pt x="49" y="48"/>
                  </a:cubicBezTo>
                  <a:cubicBezTo>
                    <a:pt x="59" y="51"/>
                    <a:pt x="72" y="53"/>
                    <a:pt x="72" y="64"/>
                  </a:cubicBezTo>
                  <a:close/>
                  <a:moveTo>
                    <a:pt x="36" y="48"/>
                  </a:moveTo>
                  <a:cubicBezTo>
                    <a:pt x="42" y="48"/>
                    <a:pt x="54" y="37"/>
                    <a:pt x="54" y="24"/>
                  </a:cubicBezTo>
                  <a:cubicBezTo>
                    <a:pt x="54" y="11"/>
                    <a:pt x="49" y="0"/>
                    <a:pt x="36" y="0"/>
                  </a:cubicBezTo>
                  <a:cubicBezTo>
                    <a:pt x="23" y="0"/>
                    <a:pt x="18" y="11"/>
                    <a:pt x="18" y="24"/>
                  </a:cubicBezTo>
                  <a:cubicBezTo>
                    <a:pt x="18" y="37"/>
                    <a:pt x="30" y="48"/>
                    <a:pt x="36" y="48"/>
                  </a:cubicBezTo>
                  <a:close/>
                  <a:moveTo>
                    <a:pt x="296" y="64"/>
                  </a:moveTo>
                  <a:cubicBezTo>
                    <a:pt x="296" y="74"/>
                    <a:pt x="296" y="74"/>
                    <a:pt x="296" y="74"/>
                  </a:cubicBezTo>
                  <a:cubicBezTo>
                    <a:pt x="296" y="89"/>
                    <a:pt x="296" y="89"/>
                    <a:pt x="290" y="89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4" y="89"/>
                    <a:pt x="224" y="89"/>
                    <a:pt x="224" y="7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24" y="53"/>
                    <a:pt x="236" y="51"/>
                    <a:pt x="247" y="48"/>
                  </a:cubicBezTo>
                  <a:cubicBezTo>
                    <a:pt x="251" y="52"/>
                    <a:pt x="256" y="54"/>
                    <a:pt x="260" y="54"/>
                  </a:cubicBezTo>
                  <a:cubicBezTo>
                    <a:pt x="263" y="54"/>
                    <a:pt x="268" y="52"/>
                    <a:pt x="273" y="48"/>
                  </a:cubicBezTo>
                  <a:cubicBezTo>
                    <a:pt x="283" y="51"/>
                    <a:pt x="296" y="53"/>
                    <a:pt x="296" y="64"/>
                  </a:cubicBezTo>
                  <a:close/>
                  <a:moveTo>
                    <a:pt x="260" y="48"/>
                  </a:moveTo>
                  <a:cubicBezTo>
                    <a:pt x="266" y="48"/>
                    <a:pt x="278" y="37"/>
                    <a:pt x="278" y="24"/>
                  </a:cubicBezTo>
                  <a:cubicBezTo>
                    <a:pt x="278" y="11"/>
                    <a:pt x="273" y="0"/>
                    <a:pt x="260" y="0"/>
                  </a:cubicBezTo>
                  <a:cubicBezTo>
                    <a:pt x="246" y="0"/>
                    <a:pt x="241" y="11"/>
                    <a:pt x="241" y="24"/>
                  </a:cubicBezTo>
                  <a:cubicBezTo>
                    <a:pt x="241" y="37"/>
                    <a:pt x="254" y="48"/>
                    <a:pt x="260" y="48"/>
                  </a:cubicBezTo>
                  <a:close/>
                  <a:moveTo>
                    <a:pt x="296" y="275"/>
                  </a:moveTo>
                  <a:cubicBezTo>
                    <a:pt x="296" y="285"/>
                    <a:pt x="296" y="285"/>
                    <a:pt x="296" y="285"/>
                  </a:cubicBezTo>
                  <a:cubicBezTo>
                    <a:pt x="296" y="300"/>
                    <a:pt x="296" y="300"/>
                    <a:pt x="290" y="300"/>
                  </a:cubicBezTo>
                  <a:cubicBezTo>
                    <a:pt x="229" y="300"/>
                    <a:pt x="229" y="300"/>
                    <a:pt x="229" y="300"/>
                  </a:cubicBezTo>
                  <a:cubicBezTo>
                    <a:pt x="224" y="300"/>
                    <a:pt x="224" y="300"/>
                    <a:pt x="224" y="285"/>
                  </a:cubicBezTo>
                  <a:cubicBezTo>
                    <a:pt x="224" y="275"/>
                    <a:pt x="224" y="275"/>
                    <a:pt x="224" y="275"/>
                  </a:cubicBezTo>
                  <a:cubicBezTo>
                    <a:pt x="224" y="264"/>
                    <a:pt x="236" y="263"/>
                    <a:pt x="247" y="259"/>
                  </a:cubicBezTo>
                  <a:cubicBezTo>
                    <a:pt x="251" y="263"/>
                    <a:pt x="256" y="265"/>
                    <a:pt x="260" y="265"/>
                  </a:cubicBezTo>
                  <a:cubicBezTo>
                    <a:pt x="264" y="265"/>
                    <a:pt x="268" y="263"/>
                    <a:pt x="273" y="259"/>
                  </a:cubicBezTo>
                  <a:cubicBezTo>
                    <a:pt x="283" y="263"/>
                    <a:pt x="296" y="264"/>
                    <a:pt x="296" y="275"/>
                  </a:cubicBezTo>
                  <a:close/>
                  <a:moveTo>
                    <a:pt x="260" y="259"/>
                  </a:moveTo>
                  <a:cubicBezTo>
                    <a:pt x="266" y="259"/>
                    <a:pt x="278" y="248"/>
                    <a:pt x="278" y="235"/>
                  </a:cubicBezTo>
                  <a:cubicBezTo>
                    <a:pt x="278" y="222"/>
                    <a:pt x="273" y="211"/>
                    <a:pt x="260" y="211"/>
                  </a:cubicBezTo>
                  <a:cubicBezTo>
                    <a:pt x="246" y="211"/>
                    <a:pt x="241" y="222"/>
                    <a:pt x="241" y="235"/>
                  </a:cubicBezTo>
                  <a:cubicBezTo>
                    <a:pt x="241" y="248"/>
                    <a:pt x="254" y="259"/>
                    <a:pt x="260" y="259"/>
                  </a:cubicBezTo>
                  <a:close/>
                  <a:moveTo>
                    <a:pt x="72" y="275"/>
                  </a:moveTo>
                  <a:cubicBezTo>
                    <a:pt x="72" y="285"/>
                    <a:pt x="72" y="285"/>
                    <a:pt x="72" y="285"/>
                  </a:cubicBezTo>
                  <a:cubicBezTo>
                    <a:pt x="72" y="300"/>
                    <a:pt x="72" y="300"/>
                    <a:pt x="67" y="300"/>
                  </a:cubicBezTo>
                  <a:cubicBezTo>
                    <a:pt x="5" y="300"/>
                    <a:pt x="5" y="300"/>
                    <a:pt x="5" y="300"/>
                  </a:cubicBezTo>
                  <a:cubicBezTo>
                    <a:pt x="0" y="300"/>
                    <a:pt x="0" y="300"/>
                    <a:pt x="0" y="285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264"/>
                    <a:pt x="12" y="263"/>
                    <a:pt x="23" y="259"/>
                  </a:cubicBezTo>
                  <a:cubicBezTo>
                    <a:pt x="27" y="263"/>
                    <a:pt x="32" y="265"/>
                    <a:pt x="36" y="265"/>
                  </a:cubicBezTo>
                  <a:cubicBezTo>
                    <a:pt x="40" y="265"/>
                    <a:pt x="45" y="263"/>
                    <a:pt x="49" y="259"/>
                  </a:cubicBezTo>
                  <a:cubicBezTo>
                    <a:pt x="59" y="263"/>
                    <a:pt x="72" y="264"/>
                    <a:pt x="72" y="275"/>
                  </a:cubicBezTo>
                  <a:close/>
                  <a:moveTo>
                    <a:pt x="36" y="259"/>
                  </a:moveTo>
                  <a:cubicBezTo>
                    <a:pt x="42" y="259"/>
                    <a:pt x="54" y="248"/>
                    <a:pt x="54" y="235"/>
                  </a:cubicBezTo>
                  <a:cubicBezTo>
                    <a:pt x="54" y="222"/>
                    <a:pt x="49" y="211"/>
                    <a:pt x="36" y="211"/>
                  </a:cubicBezTo>
                  <a:cubicBezTo>
                    <a:pt x="23" y="211"/>
                    <a:pt x="18" y="222"/>
                    <a:pt x="18" y="235"/>
                  </a:cubicBezTo>
                  <a:cubicBezTo>
                    <a:pt x="18" y="248"/>
                    <a:pt x="30" y="259"/>
                    <a:pt x="36" y="259"/>
                  </a:cubicBezTo>
                  <a:close/>
                  <a:moveTo>
                    <a:pt x="125" y="116"/>
                  </a:moveTo>
                  <a:cubicBezTo>
                    <a:pt x="125" y="100"/>
                    <a:pt x="131" y="87"/>
                    <a:pt x="147" y="87"/>
                  </a:cubicBezTo>
                  <a:cubicBezTo>
                    <a:pt x="163" y="87"/>
                    <a:pt x="169" y="100"/>
                    <a:pt x="169" y="116"/>
                  </a:cubicBezTo>
                  <a:cubicBezTo>
                    <a:pt x="169" y="132"/>
                    <a:pt x="154" y="145"/>
                    <a:pt x="147" y="145"/>
                  </a:cubicBezTo>
                  <a:cubicBezTo>
                    <a:pt x="140" y="145"/>
                    <a:pt x="125" y="132"/>
                    <a:pt x="125" y="116"/>
                  </a:cubicBezTo>
                  <a:close/>
                  <a:moveTo>
                    <a:pt x="148" y="156"/>
                  </a:moveTo>
                  <a:cubicBezTo>
                    <a:pt x="150" y="176"/>
                    <a:pt x="150" y="176"/>
                    <a:pt x="150" y="176"/>
                  </a:cubicBezTo>
                  <a:cubicBezTo>
                    <a:pt x="153" y="168"/>
                    <a:pt x="155" y="159"/>
                    <a:pt x="159" y="151"/>
                  </a:cubicBezTo>
                  <a:cubicBezTo>
                    <a:pt x="159" y="150"/>
                    <a:pt x="159" y="150"/>
                    <a:pt x="162" y="145"/>
                  </a:cubicBezTo>
                  <a:cubicBezTo>
                    <a:pt x="174" y="149"/>
                    <a:pt x="190" y="151"/>
                    <a:pt x="190" y="164"/>
                  </a:cubicBezTo>
                  <a:cubicBezTo>
                    <a:pt x="190" y="176"/>
                    <a:pt x="190" y="176"/>
                    <a:pt x="190" y="176"/>
                  </a:cubicBezTo>
                  <a:cubicBezTo>
                    <a:pt x="190" y="194"/>
                    <a:pt x="190" y="194"/>
                    <a:pt x="183" y="194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4" y="194"/>
                    <a:pt x="104" y="194"/>
                    <a:pt x="104" y="176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51"/>
                    <a:pt x="118" y="149"/>
                    <a:pt x="131" y="145"/>
                  </a:cubicBezTo>
                  <a:cubicBezTo>
                    <a:pt x="134" y="150"/>
                    <a:pt x="134" y="150"/>
                    <a:pt x="135" y="151"/>
                  </a:cubicBezTo>
                  <a:cubicBezTo>
                    <a:pt x="138" y="159"/>
                    <a:pt x="141" y="168"/>
                    <a:pt x="143" y="176"/>
                  </a:cubicBezTo>
                  <a:cubicBezTo>
                    <a:pt x="145" y="156"/>
                    <a:pt x="145" y="156"/>
                    <a:pt x="145" y="156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1" y="149"/>
                    <a:pt x="141" y="149"/>
                    <a:pt x="141" y="149"/>
                  </a:cubicBezTo>
                  <a:cubicBezTo>
                    <a:pt x="144" y="150"/>
                    <a:pt x="144" y="150"/>
                    <a:pt x="144" y="150"/>
                  </a:cubicBezTo>
                  <a:cubicBezTo>
                    <a:pt x="145" y="150"/>
                    <a:pt x="145" y="150"/>
                    <a:pt x="146" y="150"/>
                  </a:cubicBezTo>
                  <a:cubicBezTo>
                    <a:pt x="146" y="150"/>
                    <a:pt x="146" y="150"/>
                    <a:pt x="147" y="150"/>
                  </a:cubicBezTo>
                  <a:cubicBezTo>
                    <a:pt x="147" y="150"/>
                    <a:pt x="147" y="150"/>
                    <a:pt x="147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52" y="149"/>
                    <a:pt x="152" y="149"/>
                    <a:pt x="152" y="149"/>
                  </a:cubicBezTo>
                  <a:cubicBezTo>
                    <a:pt x="149" y="155"/>
                    <a:pt x="149" y="155"/>
                    <a:pt x="149" y="155"/>
                  </a:cubicBezTo>
                  <a:lnTo>
                    <a:pt x="148" y="156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67232" tIns="33616" rIns="67232" bIns="33616" numCol="1" anchor="t" anchorCtr="0" compatLnSpc="1">
              <a:prstTxWarp prst="textNoShape">
                <a:avLst/>
              </a:prstTxWarp>
            </a:bodyPr>
            <a:lstStyle/>
            <a:p>
              <a:pPr defTabSz="685761"/>
              <a:endParaRPr lang="en-US" sz="16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Regular" pitchFamily="50" charset="0"/>
              </a:endParaRP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2987466" y="-382046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>
            <a:off x="713821" y="2772896"/>
            <a:ext cx="792000" cy="792000"/>
            <a:chOff x="10160429" y="1116775"/>
            <a:chExt cx="792000" cy="792000"/>
          </a:xfrm>
        </p:grpSpPr>
        <p:sp>
          <p:nvSpPr>
            <p:cNvPr id="222" name="Freeform 62"/>
            <p:cNvSpPr>
              <a:spLocks noEditPoints="1"/>
            </p:cNvSpPr>
            <p:nvPr/>
          </p:nvSpPr>
          <p:spPr bwMode="black">
            <a:xfrm>
              <a:off x="10249841" y="1204001"/>
              <a:ext cx="615162" cy="615004"/>
            </a:xfrm>
            <a:custGeom>
              <a:avLst/>
              <a:gdLst>
                <a:gd name="T0" fmla="*/ 189 w 189"/>
                <a:gd name="T1" fmla="*/ 94 h 189"/>
                <a:gd name="T2" fmla="*/ 0 w 189"/>
                <a:gd name="T3" fmla="*/ 94 h 189"/>
                <a:gd name="T4" fmla="*/ 129 w 189"/>
                <a:gd name="T5" fmla="*/ 172 h 189"/>
                <a:gd name="T6" fmla="*/ 124 w 189"/>
                <a:gd name="T7" fmla="*/ 123 h 189"/>
                <a:gd name="T8" fmla="*/ 123 w 189"/>
                <a:gd name="T9" fmla="*/ 84 h 189"/>
                <a:gd name="T10" fmla="*/ 140 w 189"/>
                <a:gd name="T11" fmla="*/ 85 h 189"/>
                <a:gd name="T12" fmla="*/ 152 w 189"/>
                <a:gd name="T13" fmla="*/ 89 h 189"/>
                <a:gd name="T14" fmla="*/ 158 w 189"/>
                <a:gd name="T15" fmla="*/ 84 h 189"/>
                <a:gd name="T16" fmla="*/ 152 w 189"/>
                <a:gd name="T17" fmla="*/ 82 h 189"/>
                <a:gd name="T18" fmla="*/ 146 w 189"/>
                <a:gd name="T19" fmla="*/ 78 h 189"/>
                <a:gd name="T20" fmla="*/ 139 w 189"/>
                <a:gd name="T21" fmla="*/ 74 h 189"/>
                <a:gd name="T22" fmla="*/ 128 w 189"/>
                <a:gd name="T23" fmla="*/ 80 h 189"/>
                <a:gd name="T24" fmla="*/ 121 w 189"/>
                <a:gd name="T25" fmla="*/ 72 h 189"/>
                <a:gd name="T26" fmla="*/ 132 w 189"/>
                <a:gd name="T27" fmla="*/ 59 h 189"/>
                <a:gd name="T28" fmla="*/ 140 w 189"/>
                <a:gd name="T29" fmla="*/ 57 h 189"/>
                <a:gd name="T30" fmla="*/ 149 w 189"/>
                <a:gd name="T31" fmla="*/ 52 h 189"/>
                <a:gd name="T32" fmla="*/ 148 w 189"/>
                <a:gd name="T33" fmla="*/ 44 h 189"/>
                <a:gd name="T34" fmla="*/ 144 w 189"/>
                <a:gd name="T35" fmla="*/ 46 h 189"/>
                <a:gd name="T36" fmla="*/ 138 w 189"/>
                <a:gd name="T37" fmla="*/ 48 h 189"/>
                <a:gd name="T38" fmla="*/ 147 w 189"/>
                <a:gd name="T39" fmla="*/ 28 h 189"/>
                <a:gd name="T40" fmla="*/ 108 w 189"/>
                <a:gd name="T41" fmla="*/ 11 h 189"/>
                <a:gd name="T42" fmla="*/ 90 w 189"/>
                <a:gd name="T43" fmla="*/ 43 h 189"/>
                <a:gd name="T44" fmla="*/ 78 w 189"/>
                <a:gd name="T45" fmla="*/ 21 h 189"/>
                <a:gd name="T46" fmla="*/ 69 w 189"/>
                <a:gd name="T47" fmla="*/ 13 h 189"/>
                <a:gd name="T48" fmla="*/ 60 w 189"/>
                <a:gd name="T49" fmla="*/ 23 h 189"/>
                <a:gd name="T50" fmla="*/ 72 w 189"/>
                <a:gd name="T51" fmla="*/ 43 h 189"/>
                <a:gd name="T52" fmla="*/ 59 w 189"/>
                <a:gd name="T53" fmla="*/ 31 h 189"/>
                <a:gd name="T54" fmla="*/ 44 w 189"/>
                <a:gd name="T55" fmla="*/ 49 h 189"/>
                <a:gd name="T56" fmla="*/ 57 w 189"/>
                <a:gd name="T57" fmla="*/ 47 h 189"/>
                <a:gd name="T58" fmla="*/ 73 w 189"/>
                <a:gd name="T59" fmla="*/ 70 h 189"/>
                <a:gd name="T60" fmla="*/ 47 w 189"/>
                <a:gd name="T61" fmla="*/ 100 h 189"/>
                <a:gd name="T62" fmla="*/ 31 w 189"/>
                <a:gd name="T63" fmla="*/ 97 h 189"/>
                <a:gd name="T64" fmla="*/ 40 w 189"/>
                <a:gd name="T65" fmla="*/ 103 h 189"/>
                <a:gd name="T66" fmla="*/ 42 w 189"/>
                <a:gd name="T67" fmla="*/ 116 h 189"/>
                <a:gd name="T68" fmla="*/ 81 w 189"/>
                <a:gd name="T69" fmla="*/ 132 h 189"/>
                <a:gd name="T70" fmla="*/ 67 w 189"/>
                <a:gd name="T71" fmla="*/ 175 h 189"/>
                <a:gd name="T72" fmla="*/ 129 w 189"/>
                <a:gd name="T73" fmla="*/ 172 h 189"/>
                <a:gd name="T74" fmla="*/ 172 w 189"/>
                <a:gd name="T75" fmla="*/ 115 h 189"/>
                <a:gd name="T76" fmla="*/ 172 w 189"/>
                <a:gd name="T77" fmla="*/ 118 h 189"/>
                <a:gd name="T78" fmla="*/ 177 w 189"/>
                <a:gd name="T79" fmla="*/ 114 h 189"/>
                <a:gd name="T80" fmla="*/ 156 w 189"/>
                <a:gd name="T81" fmla="*/ 152 h 189"/>
                <a:gd name="T82" fmla="*/ 52 w 189"/>
                <a:gd name="T83" fmla="*/ 168 h 189"/>
                <a:gd name="T84" fmla="*/ 47 w 189"/>
                <a:gd name="T85" fmla="*/ 126 h 189"/>
                <a:gd name="T86" fmla="*/ 42 w 189"/>
                <a:gd name="T87" fmla="*/ 121 h 189"/>
                <a:gd name="T88" fmla="*/ 20 w 189"/>
                <a:gd name="T89" fmla="*/ 103 h 189"/>
                <a:gd name="T90" fmla="*/ 9 w 189"/>
                <a:gd name="T91" fmla="*/ 94 h 189"/>
                <a:gd name="T92" fmla="*/ 108 w 189"/>
                <a:gd name="T93" fmla="*/ 41 h 189"/>
                <a:gd name="T94" fmla="*/ 108 w 189"/>
                <a:gd name="T95" fmla="*/ 41 h 189"/>
                <a:gd name="T96" fmla="*/ 129 w 189"/>
                <a:gd name="T97" fmla="*/ 58 h 189"/>
                <a:gd name="T98" fmla="*/ 125 w 189"/>
                <a:gd name="T99" fmla="*/ 49 h 189"/>
                <a:gd name="T100" fmla="*/ 160 w 189"/>
                <a:gd name="T101" fmla="*/ 69 h 189"/>
                <a:gd name="T102" fmla="*/ 158 w 189"/>
                <a:gd name="T103" fmla="*/ 77 h 189"/>
                <a:gd name="T104" fmla="*/ 59 w 189"/>
                <a:gd name="T105" fmla="*/ 106 h 189"/>
                <a:gd name="T106" fmla="*/ 46 w 189"/>
                <a:gd name="T107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9" h="189">
                  <a:moveTo>
                    <a:pt x="94" y="0"/>
                  </a:moveTo>
                  <a:cubicBezTo>
                    <a:pt x="146" y="0"/>
                    <a:pt x="189" y="42"/>
                    <a:pt x="189" y="94"/>
                  </a:cubicBezTo>
                  <a:cubicBezTo>
                    <a:pt x="189" y="147"/>
                    <a:pt x="146" y="189"/>
                    <a:pt x="94" y="189"/>
                  </a:cubicBez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4" y="0"/>
                  </a:cubicBezTo>
                  <a:close/>
                  <a:moveTo>
                    <a:pt x="129" y="172"/>
                  </a:moveTo>
                  <a:cubicBezTo>
                    <a:pt x="126" y="156"/>
                    <a:pt x="135" y="129"/>
                    <a:pt x="130" y="124"/>
                  </a:cubicBezTo>
                  <a:cubicBezTo>
                    <a:pt x="128" y="123"/>
                    <a:pt x="126" y="122"/>
                    <a:pt x="124" y="123"/>
                  </a:cubicBezTo>
                  <a:cubicBezTo>
                    <a:pt x="120" y="124"/>
                    <a:pt x="116" y="126"/>
                    <a:pt x="113" y="125"/>
                  </a:cubicBezTo>
                  <a:cubicBezTo>
                    <a:pt x="96" y="117"/>
                    <a:pt x="106" y="90"/>
                    <a:pt x="123" y="84"/>
                  </a:cubicBezTo>
                  <a:cubicBezTo>
                    <a:pt x="126" y="83"/>
                    <a:pt x="129" y="83"/>
                    <a:pt x="132" y="83"/>
                  </a:cubicBezTo>
                  <a:cubicBezTo>
                    <a:pt x="137" y="82"/>
                    <a:pt x="140" y="82"/>
                    <a:pt x="140" y="85"/>
                  </a:cubicBezTo>
                  <a:cubicBezTo>
                    <a:pt x="140" y="89"/>
                    <a:pt x="148" y="92"/>
                    <a:pt x="150" y="92"/>
                  </a:cubicBezTo>
                  <a:cubicBezTo>
                    <a:pt x="151" y="92"/>
                    <a:pt x="151" y="89"/>
                    <a:pt x="152" y="89"/>
                  </a:cubicBezTo>
                  <a:cubicBezTo>
                    <a:pt x="159" y="89"/>
                    <a:pt x="164" y="93"/>
                    <a:pt x="165" y="90"/>
                  </a:cubicBezTo>
                  <a:cubicBezTo>
                    <a:pt x="167" y="80"/>
                    <a:pt x="166" y="85"/>
                    <a:pt x="158" y="84"/>
                  </a:cubicBezTo>
                  <a:cubicBezTo>
                    <a:pt x="155" y="83"/>
                    <a:pt x="157" y="78"/>
                    <a:pt x="154" y="78"/>
                  </a:cubicBezTo>
                  <a:cubicBezTo>
                    <a:pt x="152" y="77"/>
                    <a:pt x="155" y="84"/>
                    <a:pt x="152" y="82"/>
                  </a:cubicBezTo>
                  <a:cubicBezTo>
                    <a:pt x="148" y="79"/>
                    <a:pt x="146" y="72"/>
                    <a:pt x="142" y="71"/>
                  </a:cubicBezTo>
                  <a:cubicBezTo>
                    <a:pt x="137" y="70"/>
                    <a:pt x="145" y="75"/>
                    <a:pt x="146" y="78"/>
                  </a:cubicBezTo>
                  <a:cubicBezTo>
                    <a:pt x="147" y="81"/>
                    <a:pt x="143" y="85"/>
                    <a:pt x="141" y="82"/>
                  </a:cubicBezTo>
                  <a:cubicBezTo>
                    <a:pt x="140" y="81"/>
                    <a:pt x="145" y="78"/>
                    <a:pt x="139" y="74"/>
                  </a:cubicBezTo>
                  <a:cubicBezTo>
                    <a:pt x="138" y="72"/>
                    <a:pt x="135" y="72"/>
                    <a:pt x="133" y="74"/>
                  </a:cubicBezTo>
                  <a:cubicBezTo>
                    <a:pt x="130" y="77"/>
                    <a:pt x="129" y="80"/>
                    <a:pt x="128" y="80"/>
                  </a:cubicBezTo>
                  <a:cubicBezTo>
                    <a:pt x="125" y="82"/>
                    <a:pt x="123" y="82"/>
                    <a:pt x="120" y="81"/>
                  </a:cubicBezTo>
                  <a:cubicBezTo>
                    <a:pt x="116" y="80"/>
                    <a:pt x="117" y="71"/>
                    <a:pt x="121" y="72"/>
                  </a:cubicBezTo>
                  <a:cubicBezTo>
                    <a:pt x="133" y="75"/>
                    <a:pt x="122" y="68"/>
                    <a:pt x="125" y="66"/>
                  </a:cubicBezTo>
                  <a:cubicBezTo>
                    <a:pt x="126" y="65"/>
                    <a:pt x="130" y="62"/>
                    <a:pt x="132" y="59"/>
                  </a:cubicBezTo>
                  <a:cubicBezTo>
                    <a:pt x="134" y="57"/>
                    <a:pt x="133" y="51"/>
                    <a:pt x="137" y="52"/>
                  </a:cubicBezTo>
                  <a:cubicBezTo>
                    <a:pt x="139" y="52"/>
                    <a:pt x="138" y="56"/>
                    <a:pt x="140" y="57"/>
                  </a:cubicBezTo>
                  <a:cubicBezTo>
                    <a:pt x="141" y="58"/>
                    <a:pt x="144" y="57"/>
                    <a:pt x="146" y="57"/>
                  </a:cubicBezTo>
                  <a:cubicBezTo>
                    <a:pt x="149" y="57"/>
                    <a:pt x="149" y="55"/>
                    <a:pt x="149" y="52"/>
                  </a:cubicBezTo>
                  <a:cubicBezTo>
                    <a:pt x="149" y="48"/>
                    <a:pt x="156" y="49"/>
                    <a:pt x="156" y="47"/>
                  </a:cubicBezTo>
                  <a:cubicBezTo>
                    <a:pt x="155" y="44"/>
                    <a:pt x="148" y="48"/>
                    <a:pt x="148" y="44"/>
                  </a:cubicBezTo>
                  <a:cubicBezTo>
                    <a:pt x="148" y="39"/>
                    <a:pt x="154" y="38"/>
                    <a:pt x="150" y="37"/>
                  </a:cubicBezTo>
                  <a:cubicBezTo>
                    <a:pt x="147" y="36"/>
                    <a:pt x="143" y="39"/>
                    <a:pt x="144" y="46"/>
                  </a:cubicBezTo>
                  <a:cubicBezTo>
                    <a:pt x="145" y="53"/>
                    <a:pt x="146" y="56"/>
                    <a:pt x="141" y="54"/>
                  </a:cubicBezTo>
                  <a:cubicBezTo>
                    <a:pt x="137" y="51"/>
                    <a:pt x="142" y="46"/>
                    <a:pt x="138" y="48"/>
                  </a:cubicBezTo>
                  <a:cubicBezTo>
                    <a:pt x="135" y="50"/>
                    <a:pt x="133" y="51"/>
                    <a:pt x="133" y="46"/>
                  </a:cubicBezTo>
                  <a:cubicBezTo>
                    <a:pt x="133" y="42"/>
                    <a:pt x="141" y="30"/>
                    <a:pt x="147" y="28"/>
                  </a:cubicBezTo>
                  <a:cubicBezTo>
                    <a:pt x="136" y="19"/>
                    <a:pt x="123" y="13"/>
                    <a:pt x="108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9"/>
                    <a:pt x="108" y="24"/>
                    <a:pt x="107" y="28"/>
                  </a:cubicBezTo>
                  <a:cubicBezTo>
                    <a:pt x="107" y="33"/>
                    <a:pt x="92" y="34"/>
                    <a:pt x="90" y="43"/>
                  </a:cubicBezTo>
                  <a:cubicBezTo>
                    <a:pt x="88" y="51"/>
                    <a:pt x="85" y="46"/>
                    <a:pt x="80" y="40"/>
                  </a:cubicBezTo>
                  <a:cubicBezTo>
                    <a:pt x="75" y="34"/>
                    <a:pt x="81" y="26"/>
                    <a:pt x="78" y="21"/>
                  </a:cubicBezTo>
                  <a:cubicBezTo>
                    <a:pt x="76" y="16"/>
                    <a:pt x="67" y="23"/>
                    <a:pt x="67" y="18"/>
                  </a:cubicBezTo>
                  <a:cubicBezTo>
                    <a:pt x="67" y="16"/>
                    <a:pt x="69" y="14"/>
                    <a:pt x="69" y="13"/>
                  </a:cubicBezTo>
                  <a:cubicBezTo>
                    <a:pt x="68" y="14"/>
                    <a:pt x="67" y="14"/>
                    <a:pt x="66" y="14"/>
                  </a:cubicBezTo>
                  <a:cubicBezTo>
                    <a:pt x="63" y="16"/>
                    <a:pt x="61" y="22"/>
                    <a:pt x="60" y="23"/>
                  </a:cubicBezTo>
                  <a:cubicBezTo>
                    <a:pt x="57" y="27"/>
                    <a:pt x="64" y="26"/>
                    <a:pt x="67" y="30"/>
                  </a:cubicBezTo>
                  <a:cubicBezTo>
                    <a:pt x="71" y="36"/>
                    <a:pt x="74" y="40"/>
                    <a:pt x="72" y="43"/>
                  </a:cubicBezTo>
                  <a:cubicBezTo>
                    <a:pt x="71" y="46"/>
                    <a:pt x="59" y="43"/>
                    <a:pt x="61" y="38"/>
                  </a:cubicBezTo>
                  <a:cubicBezTo>
                    <a:pt x="64" y="33"/>
                    <a:pt x="62" y="32"/>
                    <a:pt x="59" y="31"/>
                  </a:cubicBezTo>
                  <a:cubicBezTo>
                    <a:pt x="56" y="31"/>
                    <a:pt x="56" y="35"/>
                    <a:pt x="56" y="40"/>
                  </a:cubicBezTo>
                  <a:cubicBezTo>
                    <a:pt x="56" y="44"/>
                    <a:pt x="48" y="45"/>
                    <a:pt x="44" y="49"/>
                  </a:cubicBezTo>
                  <a:cubicBezTo>
                    <a:pt x="40" y="54"/>
                    <a:pt x="47" y="58"/>
                    <a:pt x="53" y="60"/>
                  </a:cubicBezTo>
                  <a:cubicBezTo>
                    <a:pt x="59" y="62"/>
                    <a:pt x="55" y="52"/>
                    <a:pt x="57" y="47"/>
                  </a:cubicBezTo>
                  <a:cubicBezTo>
                    <a:pt x="59" y="40"/>
                    <a:pt x="66" y="46"/>
                    <a:pt x="71" y="52"/>
                  </a:cubicBezTo>
                  <a:cubicBezTo>
                    <a:pt x="75" y="58"/>
                    <a:pt x="82" y="66"/>
                    <a:pt x="73" y="70"/>
                  </a:cubicBezTo>
                  <a:cubicBezTo>
                    <a:pt x="58" y="76"/>
                    <a:pt x="52" y="83"/>
                    <a:pt x="49" y="89"/>
                  </a:cubicBezTo>
                  <a:cubicBezTo>
                    <a:pt x="46" y="95"/>
                    <a:pt x="49" y="98"/>
                    <a:pt x="47" y="100"/>
                  </a:cubicBezTo>
                  <a:cubicBezTo>
                    <a:pt x="45" y="102"/>
                    <a:pt x="45" y="99"/>
                    <a:pt x="43" y="94"/>
                  </a:cubicBezTo>
                  <a:cubicBezTo>
                    <a:pt x="41" y="91"/>
                    <a:pt x="34" y="91"/>
                    <a:pt x="31" y="97"/>
                  </a:cubicBezTo>
                  <a:cubicBezTo>
                    <a:pt x="29" y="98"/>
                    <a:pt x="29" y="101"/>
                    <a:pt x="29" y="104"/>
                  </a:cubicBezTo>
                  <a:cubicBezTo>
                    <a:pt x="29" y="114"/>
                    <a:pt x="36" y="101"/>
                    <a:pt x="40" y="103"/>
                  </a:cubicBezTo>
                  <a:cubicBezTo>
                    <a:pt x="45" y="104"/>
                    <a:pt x="36" y="105"/>
                    <a:pt x="37" y="109"/>
                  </a:cubicBezTo>
                  <a:cubicBezTo>
                    <a:pt x="38" y="113"/>
                    <a:pt x="44" y="107"/>
                    <a:pt x="42" y="116"/>
                  </a:cubicBezTo>
                  <a:cubicBezTo>
                    <a:pt x="41" y="121"/>
                    <a:pt x="49" y="117"/>
                    <a:pt x="54" y="115"/>
                  </a:cubicBezTo>
                  <a:cubicBezTo>
                    <a:pt x="65" y="111"/>
                    <a:pt x="73" y="129"/>
                    <a:pt x="81" y="132"/>
                  </a:cubicBezTo>
                  <a:cubicBezTo>
                    <a:pt x="90" y="135"/>
                    <a:pt x="93" y="137"/>
                    <a:pt x="91" y="141"/>
                  </a:cubicBezTo>
                  <a:cubicBezTo>
                    <a:pt x="85" y="153"/>
                    <a:pt x="73" y="161"/>
                    <a:pt x="67" y="175"/>
                  </a:cubicBezTo>
                  <a:cubicBezTo>
                    <a:pt x="75" y="178"/>
                    <a:pt x="85" y="179"/>
                    <a:pt x="94" y="179"/>
                  </a:cubicBezTo>
                  <a:cubicBezTo>
                    <a:pt x="107" y="179"/>
                    <a:pt x="118" y="177"/>
                    <a:pt x="129" y="172"/>
                  </a:cubicBezTo>
                  <a:close/>
                  <a:moveTo>
                    <a:pt x="177" y="114"/>
                  </a:moveTo>
                  <a:cubicBezTo>
                    <a:pt x="175" y="114"/>
                    <a:pt x="173" y="115"/>
                    <a:pt x="172" y="115"/>
                  </a:cubicBezTo>
                  <a:cubicBezTo>
                    <a:pt x="167" y="113"/>
                    <a:pt x="170" y="93"/>
                    <a:pt x="163" y="94"/>
                  </a:cubicBezTo>
                  <a:cubicBezTo>
                    <a:pt x="160" y="95"/>
                    <a:pt x="165" y="110"/>
                    <a:pt x="172" y="118"/>
                  </a:cubicBezTo>
                  <a:cubicBezTo>
                    <a:pt x="173" y="119"/>
                    <a:pt x="174" y="118"/>
                    <a:pt x="176" y="118"/>
                  </a:cubicBezTo>
                  <a:cubicBezTo>
                    <a:pt x="176" y="117"/>
                    <a:pt x="177" y="115"/>
                    <a:pt x="177" y="114"/>
                  </a:cubicBezTo>
                  <a:close/>
                  <a:moveTo>
                    <a:pt x="172" y="128"/>
                  </a:moveTo>
                  <a:cubicBezTo>
                    <a:pt x="164" y="126"/>
                    <a:pt x="158" y="144"/>
                    <a:pt x="156" y="152"/>
                  </a:cubicBezTo>
                  <a:cubicBezTo>
                    <a:pt x="163" y="145"/>
                    <a:pt x="168" y="137"/>
                    <a:pt x="172" y="128"/>
                  </a:cubicBezTo>
                  <a:close/>
                  <a:moveTo>
                    <a:pt x="52" y="168"/>
                  </a:moveTo>
                  <a:cubicBezTo>
                    <a:pt x="53" y="160"/>
                    <a:pt x="54" y="151"/>
                    <a:pt x="52" y="150"/>
                  </a:cubicBezTo>
                  <a:cubicBezTo>
                    <a:pt x="45" y="144"/>
                    <a:pt x="40" y="135"/>
                    <a:pt x="47" y="126"/>
                  </a:cubicBezTo>
                  <a:cubicBezTo>
                    <a:pt x="48" y="125"/>
                    <a:pt x="49" y="124"/>
                    <a:pt x="49" y="122"/>
                  </a:cubicBezTo>
                  <a:cubicBezTo>
                    <a:pt x="50" y="119"/>
                    <a:pt x="47" y="121"/>
                    <a:pt x="42" y="121"/>
                  </a:cubicBezTo>
                  <a:cubicBezTo>
                    <a:pt x="37" y="121"/>
                    <a:pt x="41" y="113"/>
                    <a:pt x="31" y="112"/>
                  </a:cubicBezTo>
                  <a:cubicBezTo>
                    <a:pt x="21" y="111"/>
                    <a:pt x="21" y="109"/>
                    <a:pt x="20" y="103"/>
                  </a:cubicBezTo>
                  <a:cubicBezTo>
                    <a:pt x="20" y="97"/>
                    <a:pt x="14" y="91"/>
                    <a:pt x="9" y="90"/>
                  </a:cubicBezTo>
                  <a:cubicBezTo>
                    <a:pt x="9" y="91"/>
                    <a:pt x="9" y="93"/>
                    <a:pt x="9" y="94"/>
                  </a:cubicBezTo>
                  <a:cubicBezTo>
                    <a:pt x="9" y="126"/>
                    <a:pt x="27" y="154"/>
                    <a:pt x="52" y="168"/>
                  </a:cubicBezTo>
                  <a:close/>
                  <a:moveTo>
                    <a:pt x="108" y="41"/>
                  </a:moveTo>
                  <a:cubicBezTo>
                    <a:pt x="112" y="43"/>
                    <a:pt x="116" y="40"/>
                    <a:pt x="115" y="37"/>
                  </a:cubicBezTo>
                  <a:cubicBezTo>
                    <a:pt x="112" y="32"/>
                    <a:pt x="103" y="35"/>
                    <a:pt x="108" y="41"/>
                  </a:cubicBezTo>
                  <a:close/>
                  <a:moveTo>
                    <a:pt x="125" y="49"/>
                  </a:moveTo>
                  <a:cubicBezTo>
                    <a:pt x="128" y="49"/>
                    <a:pt x="130" y="55"/>
                    <a:pt x="129" y="58"/>
                  </a:cubicBezTo>
                  <a:cubicBezTo>
                    <a:pt x="127" y="64"/>
                    <a:pt x="122" y="60"/>
                    <a:pt x="121" y="56"/>
                  </a:cubicBezTo>
                  <a:cubicBezTo>
                    <a:pt x="121" y="52"/>
                    <a:pt x="122" y="49"/>
                    <a:pt x="125" y="49"/>
                  </a:cubicBezTo>
                  <a:close/>
                  <a:moveTo>
                    <a:pt x="158" y="77"/>
                  </a:moveTo>
                  <a:cubicBezTo>
                    <a:pt x="155" y="74"/>
                    <a:pt x="156" y="70"/>
                    <a:pt x="160" y="69"/>
                  </a:cubicBezTo>
                  <a:cubicBezTo>
                    <a:pt x="167" y="68"/>
                    <a:pt x="176" y="75"/>
                    <a:pt x="170" y="77"/>
                  </a:cubicBezTo>
                  <a:cubicBezTo>
                    <a:pt x="167" y="78"/>
                    <a:pt x="162" y="78"/>
                    <a:pt x="158" y="77"/>
                  </a:cubicBezTo>
                  <a:close/>
                  <a:moveTo>
                    <a:pt x="46" y="102"/>
                  </a:moveTo>
                  <a:cubicBezTo>
                    <a:pt x="49" y="102"/>
                    <a:pt x="57" y="104"/>
                    <a:pt x="59" y="106"/>
                  </a:cubicBezTo>
                  <a:cubicBezTo>
                    <a:pt x="61" y="109"/>
                    <a:pt x="53" y="108"/>
                    <a:pt x="48" y="106"/>
                  </a:cubicBezTo>
                  <a:cubicBezTo>
                    <a:pt x="45" y="105"/>
                    <a:pt x="43" y="103"/>
                    <a:pt x="46" y="102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1088078"/>
              <a:endParaRPr lang="en-US" sz="1600">
                <a:solidFill>
                  <a:srgbClr val="505050"/>
                </a:solidFill>
                <a:latin typeface="Calibri" panose="020F0502020204030204"/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10160429" y="11167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69" name="Group 268"/>
          <p:cNvGrpSpPr/>
          <p:nvPr/>
        </p:nvGrpSpPr>
        <p:grpSpPr>
          <a:xfrm>
            <a:off x="1466879" y="2897444"/>
            <a:ext cx="792000" cy="792000"/>
            <a:chOff x="9778920" y="1030787"/>
            <a:chExt cx="792000" cy="792000"/>
          </a:xfrm>
        </p:grpSpPr>
        <p:sp>
          <p:nvSpPr>
            <p:cNvPr id="270" name="Freeform 269"/>
            <p:cNvSpPr/>
            <p:nvPr>
              <p:custDataLst>
                <p:tags r:id="rId3"/>
              </p:custDataLst>
            </p:nvPr>
          </p:nvSpPr>
          <p:spPr bwMode="auto">
            <a:xfrm>
              <a:off x="9984817" y="1077680"/>
              <a:ext cx="380206" cy="698215"/>
            </a:xfrm>
            <a:custGeom>
              <a:avLst/>
              <a:gdLst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41426"/>
                <a:gd name="connsiteY0" fmla="*/ 0 h 4914900"/>
                <a:gd name="connsiteX1" fmla="*/ 1676400 w 2641426"/>
                <a:gd name="connsiteY1" fmla="*/ 0 h 4914900"/>
                <a:gd name="connsiteX2" fmla="*/ 1676400 w 2641426"/>
                <a:gd name="connsiteY2" fmla="*/ 523875 h 4914900"/>
                <a:gd name="connsiteX3" fmla="*/ 2466975 w 2641426"/>
                <a:gd name="connsiteY3" fmla="*/ 647700 h 4914900"/>
                <a:gd name="connsiteX4" fmla="*/ 2466975 w 2641426"/>
                <a:gd name="connsiteY4" fmla="*/ 1628775 h 4914900"/>
                <a:gd name="connsiteX5" fmla="*/ 1276350 w 2641426"/>
                <a:gd name="connsiteY5" fmla="*/ 1400175 h 4914900"/>
                <a:gd name="connsiteX6" fmla="*/ 1238250 w 2641426"/>
                <a:gd name="connsiteY6" fmla="*/ 1800225 h 4914900"/>
                <a:gd name="connsiteX7" fmla="*/ 2638425 w 2641426"/>
                <a:gd name="connsiteY7" fmla="*/ 3276600 h 4914900"/>
                <a:gd name="connsiteX8" fmla="*/ 1685925 w 2641426"/>
                <a:gd name="connsiteY8" fmla="*/ 4305300 h 4914900"/>
                <a:gd name="connsiteX9" fmla="*/ 1685925 w 2641426"/>
                <a:gd name="connsiteY9" fmla="*/ 4914900 h 4914900"/>
                <a:gd name="connsiteX10" fmla="*/ 1038225 w 2641426"/>
                <a:gd name="connsiteY10" fmla="*/ 4914900 h 4914900"/>
                <a:gd name="connsiteX11" fmla="*/ 1038225 w 2641426"/>
                <a:gd name="connsiteY11" fmla="*/ 4381500 h 4914900"/>
                <a:gd name="connsiteX12" fmla="*/ 19050 w 2641426"/>
                <a:gd name="connsiteY12" fmla="*/ 4152900 h 4914900"/>
                <a:gd name="connsiteX13" fmla="*/ 19050 w 2641426"/>
                <a:gd name="connsiteY13" fmla="*/ 3133725 h 4914900"/>
                <a:gd name="connsiteX14" fmla="*/ 1181100 w 2641426"/>
                <a:gd name="connsiteY14" fmla="*/ 3533775 h 4914900"/>
                <a:gd name="connsiteX15" fmla="*/ 1333500 w 2641426"/>
                <a:gd name="connsiteY15" fmla="*/ 3086100 h 4914900"/>
                <a:gd name="connsiteX16" fmla="*/ 0 w 2641426"/>
                <a:gd name="connsiteY16" fmla="*/ 1447800 h 4914900"/>
                <a:gd name="connsiteX17" fmla="*/ 1038225 w 2641426"/>
                <a:gd name="connsiteY17" fmla="*/ 561975 h 4914900"/>
                <a:gd name="connsiteX18" fmla="*/ 1028700 w 2641426"/>
                <a:gd name="connsiteY18" fmla="*/ 0 h 4914900"/>
                <a:gd name="connsiteX0" fmla="*/ 1028700 w 2640867"/>
                <a:gd name="connsiteY0" fmla="*/ 0 h 4914900"/>
                <a:gd name="connsiteX1" fmla="*/ 1676400 w 2640867"/>
                <a:gd name="connsiteY1" fmla="*/ 0 h 4914900"/>
                <a:gd name="connsiteX2" fmla="*/ 1676400 w 2640867"/>
                <a:gd name="connsiteY2" fmla="*/ 523875 h 4914900"/>
                <a:gd name="connsiteX3" fmla="*/ 2466975 w 2640867"/>
                <a:gd name="connsiteY3" fmla="*/ 647700 h 4914900"/>
                <a:gd name="connsiteX4" fmla="*/ 2466975 w 2640867"/>
                <a:gd name="connsiteY4" fmla="*/ 1628775 h 4914900"/>
                <a:gd name="connsiteX5" fmla="*/ 1276350 w 2640867"/>
                <a:gd name="connsiteY5" fmla="*/ 1400175 h 4914900"/>
                <a:gd name="connsiteX6" fmla="*/ 1238250 w 2640867"/>
                <a:gd name="connsiteY6" fmla="*/ 1800225 h 4914900"/>
                <a:gd name="connsiteX7" fmla="*/ 2638425 w 2640867"/>
                <a:gd name="connsiteY7" fmla="*/ 3276600 h 4914900"/>
                <a:gd name="connsiteX8" fmla="*/ 1685925 w 2640867"/>
                <a:gd name="connsiteY8" fmla="*/ 4305300 h 4914900"/>
                <a:gd name="connsiteX9" fmla="*/ 1685925 w 2640867"/>
                <a:gd name="connsiteY9" fmla="*/ 4914900 h 4914900"/>
                <a:gd name="connsiteX10" fmla="*/ 1038225 w 2640867"/>
                <a:gd name="connsiteY10" fmla="*/ 4914900 h 4914900"/>
                <a:gd name="connsiteX11" fmla="*/ 1038225 w 2640867"/>
                <a:gd name="connsiteY11" fmla="*/ 4381500 h 4914900"/>
                <a:gd name="connsiteX12" fmla="*/ 19050 w 2640867"/>
                <a:gd name="connsiteY12" fmla="*/ 4152900 h 4914900"/>
                <a:gd name="connsiteX13" fmla="*/ 19050 w 2640867"/>
                <a:gd name="connsiteY13" fmla="*/ 3133725 h 4914900"/>
                <a:gd name="connsiteX14" fmla="*/ 1181100 w 2640867"/>
                <a:gd name="connsiteY14" fmla="*/ 3533775 h 4914900"/>
                <a:gd name="connsiteX15" fmla="*/ 1333500 w 2640867"/>
                <a:gd name="connsiteY15" fmla="*/ 3086100 h 4914900"/>
                <a:gd name="connsiteX16" fmla="*/ 0 w 2640867"/>
                <a:gd name="connsiteY16" fmla="*/ 1447800 h 4914900"/>
                <a:gd name="connsiteX17" fmla="*/ 1038225 w 2640867"/>
                <a:gd name="connsiteY17" fmla="*/ 561975 h 4914900"/>
                <a:gd name="connsiteX18" fmla="*/ 1028700 w 2640867"/>
                <a:gd name="connsiteY18" fmla="*/ 0 h 4914900"/>
                <a:gd name="connsiteX0" fmla="*/ 1028700 w 2646293"/>
                <a:gd name="connsiteY0" fmla="*/ 0 h 4914900"/>
                <a:gd name="connsiteX1" fmla="*/ 1676400 w 2646293"/>
                <a:gd name="connsiteY1" fmla="*/ 0 h 4914900"/>
                <a:gd name="connsiteX2" fmla="*/ 1676400 w 2646293"/>
                <a:gd name="connsiteY2" fmla="*/ 523875 h 4914900"/>
                <a:gd name="connsiteX3" fmla="*/ 2466975 w 2646293"/>
                <a:gd name="connsiteY3" fmla="*/ 647700 h 4914900"/>
                <a:gd name="connsiteX4" fmla="*/ 2466975 w 2646293"/>
                <a:gd name="connsiteY4" fmla="*/ 1628775 h 4914900"/>
                <a:gd name="connsiteX5" fmla="*/ 1276350 w 2646293"/>
                <a:gd name="connsiteY5" fmla="*/ 1400175 h 4914900"/>
                <a:gd name="connsiteX6" fmla="*/ 1238250 w 2646293"/>
                <a:gd name="connsiteY6" fmla="*/ 1800225 h 4914900"/>
                <a:gd name="connsiteX7" fmla="*/ 2638425 w 2646293"/>
                <a:gd name="connsiteY7" fmla="*/ 3276600 h 4914900"/>
                <a:gd name="connsiteX8" fmla="*/ 1685925 w 2646293"/>
                <a:gd name="connsiteY8" fmla="*/ 4305300 h 4914900"/>
                <a:gd name="connsiteX9" fmla="*/ 1685925 w 2646293"/>
                <a:gd name="connsiteY9" fmla="*/ 4914900 h 4914900"/>
                <a:gd name="connsiteX10" fmla="*/ 1038225 w 2646293"/>
                <a:gd name="connsiteY10" fmla="*/ 4914900 h 4914900"/>
                <a:gd name="connsiteX11" fmla="*/ 1038225 w 2646293"/>
                <a:gd name="connsiteY11" fmla="*/ 4381500 h 4914900"/>
                <a:gd name="connsiteX12" fmla="*/ 19050 w 2646293"/>
                <a:gd name="connsiteY12" fmla="*/ 4152900 h 4914900"/>
                <a:gd name="connsiteX13" fmla="*/ 19050 w 2646293"/>
                <a:gd name="connsiteY13" fmla="*/ 3133725 h 4914900"/>
                <a:gd name="connsiteX14" fmla="*/ 1181100 w 2646293"/>
                <a:gd name="connsiteY14" fmla="*/ 3533775 h 4914900"/>
                <a:gd name="connsiteX15" fmla="*/ 1333500 w 2646293"/>
                <a:gd name="connsiteY15" fmla="*/ 3086100 h 4914900"/>
                <a:gd name="connsiteX16" fmla="*/ 0 w 2646293"/>
                <a:gd name="connsiteY16" fmla="*/ 1447800 h 4914900"/>
                <a:gd name="connsiteX17" fmla="*/ 1038225 w 2646293"/>
                <a:gd name="connsiteY17" fmla="*/ 561975 h 4914900"/>
                <a:gd name="connsiteX18" fmla="*/ 1028700 w 2646293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64796 w 2682440"/>
                <a:gd name="connsiteY0" fmla="*/ 0 h 4914900"/>
                <a:gd name="connsiteX1" fmla="*/ 1712496 w 2682440"/>
                <a:gd name="connsiteY1" fmla="*/ 0 h 4914900"/>
                <a:gd name="connsiteX2" fmla="*/ 1712496 w 2682440"/>
                <a:gd name="connsiteY2" fmla="*/ 523875 h 4914900"/>
                <a:gd name="connsiteX3" fmla="*/ 2503071 w 2682440"/>
                <a:gd name="connsiteY3" fmla="*/ 647700 h 4914900"/>
                <a:gd name="connsiteX4" fmla="*/ 2503071 w 2682440"/>
                <a:gd name="connsiteY4" fmla="*/ 1628775 h 4914900"/>
                <a:gd name="connsiteX5" fmla="*/ 1312446 w 2682440"/>
                <a:gd name="connsiteY5" fmla="*/ 1400175 h 4914900"/>
                <a:gd name="connsiteX6" fmla="*/ 1274346 w 2682440"/>
                <a:gd name="connsiteY6" fmla="*/ 1800225 h 4914900"/>
                <a:gd name="connsiteX7" fmla="*/ 2674521 w 2682440"/>
                <a:gd name="connsiteY7" fmla="*/ 3276600 h 4914900"/>
                <a:gd name="connsiteX8" fmla="*/ 1722021 w 2682440"/>
                <a:gd name="connsiteY8" fmla="*/ 4305300 h 4914900"/>
                <a:gd name="connsiteX9" fmla="*/ 1722021 w 2682440"/>
                <a:gd name="connsiteY9" fmla="*/ 4914900 h 4914900"/>
                <a:gd name="connsiteX10" fmla="*/ 1074321 w 2682440"/>
                <a:gd name="connsiteY10" fmla="*/ 4914900 h 4914900"/>
                <a:gd name="connsiteX11" fmla="*/ 1074321 w 2682440"/>
                <a:gd name="connsiteY11" fmla="*/ 4381500 h 4914900"/>
                <a:gd name="connsiteX12" fmla="*/ 55146 w 2682440"/>
                <a:gd name="connsiteY12" fmla="*/ 4152900 h 4914900"/>
                <a:gd name="connsiteX13" fmla="*/ 55146 w 2682440"/>
                <a:gd name="connsiteY13" fmla="*/ 3133725 h 4914900"/>
                <a:gd name="connsiteX14" fmla="*/ 1217196 w 2682440"/>
                <a:gd name="connsiteY14" fmla="*/ 3533775 h 4914900"/>
                <a:gd name="connsiteX15" fmla="*/ 1369596 w 2682440"/>
                <a:gd name="connsiteY15" fmla="*/ 3086100 h 4914900"/>
                <a:gd name="connsiteX16" fmla="*/ 36096 w 2682440"/>
                <a:gd name="connsiteY16" fmla="*/ 1447800 h 4914900"/>
                <a:gd name="connsiteX17" fmla="*/ 1074321 w 2682440"/>
                <a:gd name="connsiteY17" fmla="*/ 561975 h 4914900"/>
                <a:gd name="connsiteX18" fmla="*/ 1064796 w 2682440"/>
                <a:gd name="connsiteY18" fmla="*/ 0 h 4914900"/>
                <a:gd name="connsiteX0" fmla="*/ 1065400 w 2683044"/>
                <a:gd name="connsiteY0" fmla="*/ 0 h 4914900"/>
                <a:gd name="connsiteX1" fmla="*/ 1713100 w 2683044"/>
                <a:gd name="connsiteY1" fmla="*/ 0 h 4914900"/>
                <a:gd name="connsiteX2" fmla="*/ 1713100 w 2683044"/>
                <a:gd name="connsiteY2" fmla="*/ 523875 h 4914900"/>
                <a:gd name="connsiteX3" fmla="*/ 2503675 w 2683044"/>
                <a:gd name="connsiteY3" fmla="*/ 647700 h 4914900"/>
                <a:gd name="connsiteX4" fmla="*/ 2503675 w 2683044"/>
                <a:gd name="connsiteY4" fmla="*/ 1628775 h 4914900"/>
                <a:gd name="connsiteX5" fmla="*/ 1313050 w 2683044"/>
                <a:gd name="connsiteY5" fmla="*/ 1400175 h 4914900"/>
                <a:gd name="connsiteX6" fmla="*/ 1274950 w 2683044"/>
                <a:gd name="connsiteY6" fmla="*/ 1800225 h 4914900"/>
                <a:gd name="connsiteX7" fmla="*/ 2675125 w 2683044"/>
                <a:gd name="connsiteY7" fmla="*/ 3276600 h 4914900"/>
                <a:gd name="connsiteX8" fmla="*/ 1722625 w 2683044"/>
                <a:gd name="connsiteY8" fmla="*/ 4305300 h 4914900"/>
                <a:gd name="connsiteX9" fmla="*/ 1722625 w 2683044"/>
                <a:gd name="connsiteY9" fmla="*/ 4914900 h 4914900"/>
                <a:gd name="connsiteX10" fmla="*/ 1074925 w 2683044"/>
                <a:gd name="connsiteY10" fmla="*/ 4914900 h 4914900"/>
                <a:gd name="connsiteX11" fmla="*/ 1074925 w 2683044"/>
                <a:gd name="connsiteY11" fmla="*/ 4381500 h 4914900"/>
                <a:gd name="connsiteX12" fmla="*/ 55750 w 2683044"/>
                <a:gd name="connsiteY12" fmla="*/ 4152900 h 4914900"/>
                <a:gd name="connsiteX13" fmla="*/ 55750 w 2683044"/>
                <a:gd name="connsiteY13" fmla="*/ 3133725 h 4914900"/>
                <a:gd name="connsiteX14" fmla="*/ 1217800 w 2683044"/>
                <a:gd name="connsiteY14" fmla="*/ 3533775 h 4914900"/>
                <a:gd name="connsiteX15" fmla="*/ 1370200 w 2683044"/>
                <a:gd name="connsiteY15" fmla="*/ 3086100 h 4914900"/>
                <a:gd name="connsiteX16" fmla="*/ 36700 w 2683044"/>
                <a:gd name="connsiteY16" fmla="*/ 1447800 h 4914900"/>
                <a:gd name="connsiteX17" fmla="*/ 1074925 w 2683044"/>
                <a:gd name="connsiteY17" fmla="*/ 561975 h 4914900"/>
                <a:gd name="connsiteX18" fmla="*/ 1065400 w 2683044"/>
                <a:gd name="connsiteY18" fmla="*/ 0 h 4914900"/>
                <a:gd name="connsiteX0" fmla="*/ 1061280 w 2678924"/>
                <a:gd name="connsiteY0" fmla="*/ 0 h 4914900"/>
                <a:gd name="connsiteX1" fmla="*/ 1708980 w 2678924"/>
                <a:gd name="connsiteY1" fmla="*/ 0 h 4914900"/>
                <a:gd name="connsiteX2" fmla="*/ 1708980 w 2678924"/>
                <a:gd name="connsiteY2" fmla="*/ 523875 h 4914900"/>
                <a:gd name="connsiteX3" fmla="*/ 2499555 w 2678924"/>
                <a:gd name="connsiteY3" fmla="*/ 647700 h 4914900"/>
                <a:gd name="connsiteX4" fmla="*/ 2499555 w 2678924"/>
                <a:gd name="connsiteY4" fmla="*/ 1628775 h 4914900"/>
                <a:gd name="connsiteX5" fmla="*/ 1308930 w 2678924"/>
                <a:gd name="connsiteY5" fmla="*/ 1400175 h 4914900"/>
                <a:gd name="connsiteX6" fmla="*/ 1270830 w 2678924"/>
                <a:gd name="connsiteY6" fmla="*/ 1800225 h 4914900"/>
                <a:gd name="connsiteX7" fmla="*/ 2671005 w 2678924"/>
                <a:gd name="connsiteY7" fmla="*/ 3276600 h 4914900"/>
                <a:gd name="connsiteX8" fmla="*/ 1718505 w 2678924"/>
                <a:gd name="connsiteY8" fmla="*/ 4305300 h 4914900"/>
                <a:gd name="connsiteX9" fmla="*/ 1718505 w 2678924"/>
                <a:gd name="connsiteY9" fmla="*/ 4914900 h 4914900"/>
                <a:gd name="connsiteX10" fmla="*/ 1070805 w 2678924"/>
                <a:gd name="connsiteY10" fmla="*/ 4914900 h 4914900"/>
                <a:gd name="connsiteX11" fmla="*/ 1070805 w 2678924"/>
                <a:gd name="connsiteY11" fmla="*/ 4381500 h 4914900"/>
                <a:gd name="connsiteX12" fmla="*/ 51630 w 2678924"/>
                <a:gd name="connsiteY12" fmla="*/ 4152900 h 4914900"/>
                <a:gd name="connsiteX13" fmla="*/ 51630 w 2678924"/>
                <a:gd name="connsiteY13" fmla="*/ 3133725 h 4914900"/>
                <a:gd name="connsiteX14" fmla="*/ 1213680 w 2678924"/>
                <a:gd name="connsiteY14" fmla="*/ 3533775 h 4914900"/>
                <a:gd name="connsiteX15" fmla="*/ 1366080 w 2678924"/>
                <a:gd name="connsiteY15" fmla="*/ 3086100 h 4914900"/>
                <a:gd name="connsiteX16" fmla="*/ 32580 w 2678924"/>
                <a:gd name="connsiteY16" fmla="*/ 1447800 h 4914900"/>
                <a:gd name="connsiteX17" fmla="*/ 1070805 w 2678924"/>
                <a:gd name="connsiteY17" fmla="*/ 561975 h 4914900"/>
                <a:gd name="connsiteX18" fmla="*/ 1061280 w 2678924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76383" h="4914900">
                  <a:moveTo>
                    <a:pt x="1058739" y="0"/>
                  </a:moveTo>
                  <a:lnTo>
                    <a:pt x="1706439" y="0"/>
                  </a:lnTo>
                  <a:lnTo>
                    <a:pt x="1706439" y="523875"/>
                  </a:lnTo>
                  <a:cubicBezTo>
                    <a:pt x="2008064" y="531813"/>
                    <a:pt x="2233489" y="573087"/>
                    <a:pt x="2497014" y="647700"/>
                  </a:cubicBezTo>
                  <a:lnTo>
                    <a:pt x="2497014" y="1628775"/>
                  </a:lnTo>
                  <a:cubicBezTo>
                    <a:pt x="2047752" y="1390650"/>
                    <a:pt x="1488951" y="1281112"/>
                    <a:pt x="1306389" y="1400175"/>
                  </a:cubicBezTo>
                  <a:cubicBezTo>
                    <a:pt x="1127001" y="1471613"/>
                    <a:pt x="1142876" y="1714500"/>
                    <a:pt x="1268289" y="1800225"/>
                  </a:cubicBezTo>
                  <a:cubicBezTo>
                    <a:pt x="1425452" y="2020888"/>
                    <a:pt x="2792289" y="2236787"/>
                    <a:pt x="2668464" y="3276600"/>
                  </a:cubicBezTo>
                  <a:cubicBezTo>
                    <a:pt x="2608139" y="4000500"/>
                    <a:pt x="1966789" y="4233862"/>
                    <a:pt x="1715964" y="4305300"/>
                  </a:cubicBezTo>
                  <a:lnTo>
                    <a:pt x="1715964" y="4914900"/>
                  </a:lnTo>
                  <a:lnTo>
                    <a:pt x="1068264" y="4914900"/>
                  </a:lnTo>
                  <a:lnTo>
                    <a:pt x="1068264" y="4381500"/>
                  </a:lnTo>
                  <a:cubicBezTo>
                    <a:pt x="685676" y="4371975"/>
                    <a:pt x="222127" y="4267200"/>
                    <a:pt x="49089" y="4152900"/>
                  </a:cubicBezTo>
                  <a:lnTo>
                    <a:pt x="49089" y="3133725"/>
                  </a:lnTo>
                  <a:cubicBezTo>
                    <a:pt x="403102" y="3438525"/>
                    <a:pt x="923802" y="3562350"/>
                    <a:pt x="1211139" y="3533775"/>
                  </a:cubicBezTo>
                  <a:cubicBezTo>
                    <a:pt x="1490539" y="3503613"/>
                    <a:pt x="1498476" y="3201988"/>
                    <a:pt x="1363539" y="3086100"/>
                  </a:cubicBezTo>
                  <a:cubicBezTo>
                    <a:pt x="1176215" y="2820987"/>
                    <a:pt x="-220786" y="2727324"/>
                    <a:pt x="30039" y="1447800"/>
                  </a:cubicBezTo>
                  <a:cubicBezTo>
                    <a:pt x="142751" y="795338"/>
                    <a:pt x="798389" y="585787"/>
                    <a:pt x="1068264" y="561975"/>
                  </a:cubicBezTo>
                  <a:lnTo>
                    <a:pt x="1058739" y="0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9778920" y="10307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72" name="Group 271"/>
          <p:cNvGrpSpPr/>
          <p:nvPr/>
        </p:nvGrpSpPr>
        <p:grpSpPr>
          <a:xfrm>
            <a:off x="-393" y="3381331"/>
            <a:ext cx="792000" cy="792000"/>
            <a:chOff x="10526254" y="701930"/>
            <a:chExt cx="792000" cy="792000"/>
          </a:xfrm>
        </p:grpSpPr>
        <p:grpSp>
          <p:nvGrpSpPr>
            <p:cNvPr id="273" name="Group 272"/>
            <p:cNvGrpSpPr/>
            <p:nvPr>
              <p:custDataLst>
                <p:tags r:id="rId2"/>
              </p:custDataLst>
            </p:nvPr>
          </p:nvGrpSpPr>
          <p:grpSpPr>
            <a:xfrm>
              <a:off x="10661254" y="836466"/>
              <a:ext cx="522000" cy="522928"/>
              <a:chOff x="9570682" y="3321762"/>
              <a:chExt cx="488448" cy="478714"/>
            </a:xfrm>
          </p:grpSpPr>
          <p:sp>
            <p:nvSpPr>
              <p:cNvPr id="275" name="Freeform 274"/>
              <p:cNvSpPr/>
              <p:nvPr/>
            </p:nvSpPr>
            <p:spPr bwMode="auto">
              <a:xfrm>
                <a:off x="9570682" y="3321762"/>
                <a:ext cx="488448" cy="269714"/>
              </a:xfrm>
              <a:custGeom>
                <a:avLst/>
                <a:gdLst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59751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38388 w 3133725"/>
                  <a:gd name="connsiteY7" fmla="*/ 759751 h 1745588"/>
                  <a:gd name="connsiteX0" fmla="*/ 2352676 w 3133725"/>
                  <a:gd name="connsiteY0" fmla="*/ 769276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52676 w 3133725"/>
                  <a:gd name="connsiteY7" fmla="*/ 769276 h 1745588"/>
                  <a:gd name="connsiteX0" fmla="*/ 2352676 w 3133725"/>
                  <a:gd name="connsiteY0" fmla="*/ 747891 h 1724203"/>
                  <a:gd name="connsiteX1" fmla="*/ 2047875 w 3133725"/>
                  <a:gd name="connsiteY1" fmla="*/ 1033641 h 1724203"/>
                  <a:gd name="connsiteX2" fmla="*/ 3133725 w 3133725"/>
                  <a:gd name="connsiteY2" fmla="*/ 1190803 h 1724203"/>
                  <a:gd name="connsiteX3" fmla="*/ 2981325 w 3133725"/>
                  <a:gd name="connsiteY3" fmla="*/ 124003 h 1724203"/>
                  <a:gd name="connsiteX4" fmla="*/ 2657475 w 3133725"/>
                  <a:gd name="connsiteY4" fmla="*/ 438328 h 1724203"/>
                  <a:gd name="connsiteX5" fmla="*/ 0 w 3133725"/>
                  <a:gd name="connsiteY5" fmla="*/ 1657528 h 1724203"/>
                  <a:gd name="connsiteX6" fmla="*/ 452438 w 3133725"/>
                  <a:gd name="connsiteY6" fmla="*/ 1724203 h 1724203"/>
                  <a:gd name="connsiteX7" fmla="*/ 2352676 w 3133725"/>
                  <a:gd name="connsiteY7" fmla="*/ 747891 h 1724203"/>
                  <a:gd name="connsiteX0" fmla="*/ 2371726 w 3152775"/>
                  <a:gd name="connsiteY0" fmla="*/ 746169 h 1722481"/>
                  <a:gd name="connsiteX1" fmla="*/ 2066925 w 3152775"/>
                  <a:gd name="connsiteY1" fmla="*/ 1031919 h 1722481"/>
                  <a:gd name="connsiteX2" fmla="*/ 3152775 w 3152775"/>
                  <a:gd name="connsiteY2" fmla="*/ 1189081 h 1722481"/>
                  <a:gd name="connsiteX3" fmla="*/ 3000375 w 3152775"/>
                  <a:gd name="connsiteY3" fmla="*/ 122281 h 1722481"/>
                  <a:gd name="connsiteX4" fmla="*/ 2676525 w 3152775"/>
                  <a:gd name="connsiteY4" fmla="*/ 436606 h 1722481"/>
                  <a:gd name="connsiteX5" fmla="*/ 0 w 3152775"/>
                  <a:gd name="connsiteY5" fmla="*/ 1660568 h 1722481"/>
                  <a:gd name="connsiteX6" fmla="*/ 471488 w 3152775"/>
                  <a:gd name="connsiteY6" fmla="*/ 1722481 h 1722481"/>
                  <a:gd name="connsiteX7" fmla="*/ 2371726 w 3152775"/>
                  <a:gd name="connsiteY7" fmla="*/ 746169 h 1722481"/>
                  <a:gd name="connsiteX0" fmla="*/ 2371726 w 3152775"/>
                  <a:gd name="connsiteY0" fmla="*/ 764605 h 1740917"/>
                  <a:gd name="connsiteX1" fmla="*/ 2066925 w 3152775"/>
                  <a:gd name="connsiteY1" fmla="*/ 1050355 h 1740917"/>
                  <a:gd name="connsiteX2" fmla="*/ 3152775 w 3152775"/>
                  <a:gd name="connsiteY2" fmla="*/ 1207517 h 1740917"/>
                  <a:gd name="connsiteX3" fmla="*/ 3000375 w 3152775"/>
                  <a:gd name="connsiteY3" fmla="*/ 140717 h 1740917"/>
                  <a:gd name="connsiteX4" fmla="*/ 2676525 w 3152775"/>
                  <a:gd name="connsiteY4" fmla="*/ 455042 h 1740917"/>
                  <a:gd name="connsiteX5" fmla="*/ 0 w 3152775"/>
                  <a:gd name="connsiteY5" fmla="*/ 1679004 h 1740917"/>
                  <a:gd name="connsiteX6" fmla="*/ 471488 w 3152775"/>
                  <a:gd name="connsiteY6" fmla="*/ 1740917 h 1740917"/>
                  <a:gd name="connsiteX7" fmla="*/ 2371726 w 3152775"/>
                  <a:gd name="connsiteY7" fmla="*/ 764605 h 17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2775" h="1740917">
                    <a:moveTo>
                      <a:pt x="2371726" y="764605"/>
                    </a:moveTo>
                    <a:lnTo>
                      <a:pt x="2066925" y="1050355"/>
                    </a:lnTo>
                    <a:lnTo>
                      <a:pt x="3152775" y="1207517"/>
                    </a:lnTo>
                    <a:lnTo>
                      <a:pt x="3000375" y="140717"/>
                    </a:lnTo>
                    <a:lnTo>
                      <a:pt x="2676525" y="455042"/>
                    </a:lnTo>
                    <a:cubicBezTo>
                      <a:pt x="2252662" y="-191070"/>
                      <a:pt x="109538" y="-427608"/>
                      <a:pt x="0" y="1679004"/>
                    </a:cubicBezTo>
                    <a:lnTo>
                      <a:pt x="471488" y="1740917"/>
                    </a:lnTo>
                    <a:cubicBezTo>
                      <a:pt x="381001" y="99443"/>
                      <a:pt x="2185989" y="339154"/>
                      <a:pt x="2371726" y="764605"/>
                    </a:cubicBezTo>
                    <a:close/>
                  </a:path>
                </a:pathLst>
              </a:custGeom>
              <a:solidFill>
                <a:srgbClr val="007ABD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03" tIns="45701" rIns="91403" bIns="4570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652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Calibri" panose="020F0502020204030204"/>
                  <a:sym typeface="Segoe UI"/>
                </a:endParaRPr>
              </a:p>
            </p:txBody>
          </p:sp>
          <p:sp>
            <p:nvSpPr>
              <p:cNvPr id="276" name="Freeform 275"/>
              <p:cNvSpPr/>
              <p:nvPr/>
            </p:nvSpPr>
            <p:spPr bwMode="auto">
              <a:xfrm rot="10800000">
                <a:off x="9570682" y="3530762"/>
                <a:ext cx="488448" cy="269714"/>
              </a:xfrm>
              <a:custGeom>
                <a:avLst/>
                <a:gdLst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59751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38388 w 3133725"/>
                  <a:gd name="connsiteY7" fmla="*/ 759751 h 1745588"/>
                  <a:gd name="connsiteX0" fmla="*/ 2352676 w 3133725"/>
                  <a:gd name="connsiteY0" fmla="*/ 769276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52676 w 3133725"/>
                  <a:gd name="connsiteY7" fmla="*/ 769276 h 1745588"/>
                  <a:gd name="connsiteX0" fmla="*/ 2352676 w 3133725"/>
                  <a:gd name="connsiteY0" fmla="*/ 747891 h 1724203"/>
                  <a:gd name="connsiteX1" fmla="*/ 2047875 w 3133725"/>
                  <a:gd name="connsiteY1" fmla="*/ 1033641 h 1724203"/>
                  <a:gd name="connsiteX2" fmla="*/ 3133725 w 3133725"/>
                  <a:gd name="connsiteY2" fmla="*/ 1190803 h 1724203"/>
                  <a:gd name="connsiteX3" fmla="*/ 2981325 w 3133725"/>
                  <a:gd name="connsiteY3" fmla="*/ 124003 h 1724203"/>
                  <a:gd name="connsiteX4" fmla="*/ 2657475 w 3133725"/>
                  <a:gd name="connsiteY4" fmla="*/ 438328 h 1724203"/>
                  <a:gd name="connsiteX5" fmla="*/ 0 w 3133725"/>
                  <a:gd name="connsiteY5" fmla="*/ 1657528 h 1724203"/>
                  <a:gd name="connsiteX6" fmla="*/ 452438 w 3133725"/>
                  <a:gd name="connsiteY6" fmla="*/ 1724203 h 1724203"/>
                  <a:gd name="connsiteX7" fmla="*/ 2352676 w 3133725"/>
                  <a:gd name="connsiteY7" fmla="*/ 747891 h 1724203"/>
                  <a:gd name="connsiteX0" fmla="*/ 2371726 w 3152775"/>
                  <a:gd name="connsiteY0" fmla="*/ 746169 h 1722481"/>
                  <a:gd name="connsiteX1" fmla="*/ 2066925 w 3152775"/>
                  <a:gd name="connsiteY1" fmla="*/ 1031919 h 1722481"/>
                  <a:gd name="connsiteX2" fmla="*/ 3152775 w 3152775"/>
                  <a:gd name="connsiteY2" fmla="*/ 1189081 h 1722481"/>
                  <a:gd name="connsiteX3" fmla="*/ 3000375 w 3152775"/>
                  <a:gd name="connsiteY3" fmla="*/ 122281 h 1722481"/>
                  <a:gd name="connsiteX4" fmla="*/ 2676525 w 3152775"/>
                  <a:gd name="connsiteY4" fmla="*/ 436606 h 1722481"/>
                  <a:gd name="connsiteX5" fmla="*/ 0 w 3152775"/>
                  <a:gd name="connsiteY5" fmla="*/ 1660568 h 1722481"/>
                  <a:gd name="connsiteX6" fmla="*/ 471488 w 3152775"/>
                  <a:gd name="connsiteY6" fmla="*/ 1722481 h 1722481"/>
                  <a:gd name="connsiteX7" fmla="*/ 2371726 w 3152775"/>
                  <a:gd name="connsiteY7" fmla="*/ 746169 h 1722481"/>
                  <a:gd name="connsiteX0" fmla="*/ 2371726 w 3152775"/>
                  <a:gd name="connsiteY0" fmla="*/ 764605 h 1740917"/>
                  <a:gd name="connsiteX1" fmla="*/ 2066925 w 3152775"/>
                  <a:gd name="connsiteY1" fmla="*/ 1050355 h 1740917"/>
                  <a:gd name="connsiteX2" fmla="*/ 3152775 w 3152775"/>
                  <a:gd name="connsiteY2" fmla="*/ 1207517 h 1740917"/>
                  <a:gd name="connsiteX3" fmla="*/ 3000375 w 3152775"/>
                  <a:gd name="connsiteY3" fmla="*/ 140717 h 1740917"/>
                  <a:gd name="connsiteX4" fmla="*/ 2676525 w 3152775"/>
                  <a:gd name="connsiteY4" fmla="*/ 455042 h 1740917"/>
                  <a:gd name="connsiteX5" fmla="*/ 0 w 3152775"/>
                  <a:gd name="connsiteY5" fmla="*/ 1679004 h 1740917"/>
                  <a:gd name="connsiteX6" fmla="*/ 471488 w 3152775"/>
                  <a:gd name="connsiteY6" fmla="*/ 1740917 h 1740917"/>
                  <a:gd name="connsiteX7" fmla="*/ 2371726 w 3152775"/>
                  <a:gd name="connsiteY7" fmla="*/ 764605 h 17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2775" h="1740917">
                    <a:moveTo>
                      <a:pt x="2371726" y="764605"/>
                    </a:moveTo>
                    <a:lnTo>
                      <a:pt x="2066925" y="1050355"/>
                    </a:lnTo>
                    <a:lnTo>
                      <a:pt x="3152775" y="1207517"/>
                    </a:lnTo>
                    <a:lnTo>
                      <a:pt x="3000375" y="140717"/>
                    </a:lnTo>
                    <a:lnTo>
                      <a:pt x="2676525" y="455042"/>
                    </a:lnTo>
                    <a:cubicBezTo>
                      <a:pt x="2252662" y="-191070"/>
                      <a:pt x="109538" y="-427608"/>
                      <a:pt x="0" y="1679004"/>
                    </a:cubicBezTo>
                    <a:lnTo>
                      <a:pt x="471488" y="1740917"/>
                    </a:lnTo>
                    <a:cubicBezTo>
                      <a:pt x="381001" y="99443"/>
                      <a:pt x="2185989" y="339154"/>
                      <a:pt x="2371726" y="764605"/>
                    </a:cubicBezTo>
                    <a:close/>
                  </a:path>
                </a:pathLst>
              </a:custGeom>
              <a:solidFill>
                <a:srgbClr val="007ABD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03" tIns="45701" rIns="91403" bIns="4570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652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Calibri" panose="020F0502020204030204"/>
                  <a:sym typeface="Segoe UI"/>
                </a:endParaRPr>
              </a:p>
            </p:txBody>
          </p:sp>
          <p:sp>
            <p:nvSpPr>
              <p:cNvPr id="277" name="Freeform 276"/>
              <p:cNvSpPr/>
              <p:nvPr/>
            </p:nvSpPr>
            <p:spPr>
              <a:xfrm>
                <a:off x="9715124" y="3479325"/>
                <a:ext cx="175755" cy="187399"/>
              </a:xfrm>
              <a:custGeom>
                <a:avLst/>
                <a:gdLst/>
                <a:ahLst/>
                <a:cxnLst/>
                <a:rect l="l" t="t" r="r" b="b"/>
                <a:pathLst>
                  <a:path w="3602073" h="3840706">
                    <a:moveTo>
                      <a:pt x="1560513" y="804095"/>
                    </a:moveTo>
                    <a:lnTo>
                      <a:pt x="1525847" y="908345"/>
                    </a:lnTo>
                    <a:cubicBezTo>
                      <a:pt x="1474537" y="895245"/>
                      <a:pt x="1340051" y="891394"/>
                      <a:pt x="1276979" y="1004407"/>
                    </a:cubicBezTo>
                    <a:cubicBezTo>
                      <a:pt x="1147796" y="1224104"/>
                      <a:pt x="1399343" y="1331919"/>
                      <a:pt x="1416704" y="1392948"/>
                    </a:cubicBezTo>
                    <a:cubicBezTo>
                      <a:pt x="1434077" y="1423064"/>
                      <a:pt x="1413064" y="1478172"/>
                      <a:pt x="1359586" y="1465625"/>
                    </a:cubicBezTo>
                    <a:cubicBezTo>
                      <a:pt x="1304747" y="1452272"/>
                      <a:pt x="1216751" y="1395690"/>
                      <a:pt x="1171223" y="1316538"/>
                    </a:cubicBezTo>
                    <a:lnTo>
                      <a:pt x="1105168" y="1504481"/>
                    </a:lnTo>
                    <a:cubicBezTo>
                      <a:pt x="1129670" y="1536774"/>
                      <a:pt x="1208361" y="1586139"/>
                      <a:pt x="1278296" y="1612691"/>
                    </a:cubicBezTo>
                    <a:lnTo>
                      <a:pt x="1243725" y="1711054"/>
                    </a:lnTo>
                    <a:lnTo>
                      <a:pt x="1363166" y="1753033"/>
                    </a:lnTo>
                    <a:lnTo>
                      <a:pt x="1402675" y="1640619"/>
                    </a:lnTo>
                    <a:cubicBezTo>
                      <a:pt x="1453559" y="1643701"/>
                      <a:pt x="1586953" y="1642235"/>
                      <a:pt x="1644995" y="1512653"/>
                    </a:cubicBezTo>
                    <a:cubicBezTo>
                      <a:pt x="1735222" y="1328930"/>
                      <a:pt x="1497160" y="1200529"/>
                      <a:pt x="1482480" y="1149651"/>
                    </a:cubicBezTo>
                    <a:cubicBezTo>
                      <a:pt x="1464909" y="1125714"/>
                      <a:pt x="1477723" y="1079895"/>
                      <a:pt x="1515434" y="1078348"/>
                    </a:cubicBezTo>
                    <a:cubicBezTo>
                      <a:pt x="1556816" y="1068224"/>
                      <a:pt x="1652764" y="1124641"/>
                      <a:pt x="1720178" y="1197671"/>
                    </a:cubicBezTo>
                    <a:lnTo>
                      <a:pt x="1783763" y="1016754"/>
                    </a:lnTo>
                    <a:cubicBezTo>
                      <a:pt x="1740003" y="985915"/>
                      <a:pt x="1701108" y="963693"/>
                      <a:pt x="1646001" y="942680"/>
                    </a:cubicBezTo>
                    <a:lnTo>
                      <a:pt x="1679954" y="846074"/>
                    </a:lnTo>
                    <a:close/>
                    <a:moveTo>
                      <a:pt x="699994" y="601290"/>
                    </a:moveTo>
                    <a:lnTo>
                      <a:pt x="2902414" y="609828"/>
                    </a:lnTo>
                    <a:lnTo>
                      <a:pt x="2219493" y="1958598"/>
                    </a:lnTo>
                    <a:lnTo>
                      <a:pt x="0" y="1958597"/>
                    </a:lnTo>
                    <a:close/>
                    <a:moveTo>
                      <a:pt x="3338232" y="0"/>
                    </a:moveTo>
                    <a:cubicBezTo>
                      <a:pt x="3483948" y="0"/>
                      <a:pt x="3602073" y="118126"/>
                      <a:pt x="3602073" y="263843"/>
                    </a:cubicBezTo>
                    <a:cubicBezTo>
                      <a:pt x="3602072" y="409557"/>
                      <a:pt x="3483947" y="527685"/>
                      <a:pt x="3338232" y="527684"/>
                    </a:cubicBezTo>
                    <a:lnTo>
                      <a:pt x="3313607" y="525202"/>
                    </a:lnTo>
                    <a:cubicBezTo>
                      <a:pt x="3313742" y="533135"/>
                      <a:pt x="3311339" y="540751"/>
                      <a:pt x="3307830" y="548131"/>
                    </a:cubicBezTo>
                    <a:lnTo>
                      <a:pt x="2009467" y="3279760"/>
                    </a:lnTo>
                    <a:lnTo>
                      <a:pt x="2006613" y="3278334"/>
                    </a:lnTo>
                    <a:lnTo>
                      <a:pt x="1820017" y="3681621"/>
                    </a:lnTo>
                    <a:lnTo>
                      <a:pt x="1818600" y="3681323"/>
                    </a:lnTo>
                    <a:lnTo>
                      <a:pt x="1766918" y="3790058"/>
                    </a:lnTo>
                    <a:cubicBezTo>
                      <a:pt x="1745994" y="3834079"/>
                      <a:pt x="1693772" y="3853007"/>
                      <a:pt x="1650277" y="3832333"/>
                    </a:cubicBezTo>
                    <a:cubicBezTo>
                      <a:pt x="1606782" y="3811660"/>
                      <a:pt x="1588484" y="3759214"/>
                      <a:pt x="1609407" y="3715190"/>
                    </a:cubicBezTo>
                    <a:lnTo>
                      <a:pt x="1655170" y="3618907"/>
                    </a:lnTo>
                    <a:lnTo>
                      <a:pt x="1657296" y="3619519"/>
                    </a:lnTo>
                    <a:lnTo>
                      <a:pt x="1856747" y="3188820"/>
                    </a:lnTo>
                    <a:lnTo>
                      <a:pt x="1859012" y="3190044"/>
                    </a:lnTo>
                    <a:lnTo>
                      <a:pt x="3150318" y="473264"/>
                    </a:lnTo>
                    <a:lnTo>
                      <a:pt x="3162756" y="459556"/>
                    </a:lnTo>
                    <a:cubicBezTo>
                      <a:pt x="3108260" y="411983"/>
                      <a:pt x="3074389" y="341868"/>
                      <a:pt x="3074391" y="263843"/>
                    </a:cubicBezTo>
                    <a:cubicBezTo>
                      <a:pt x="3074389" y="118126"/>
                      <a:pt x="3192517" y="0"/>
                      <a:pt x="3338232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03" tIns="91403" rIns="91403" bIns="91403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685652">
                  <a:defRPr/>
                </a:pPr>
                <a:endParaRPr lang="en-US" sz="1600" kern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4" name="Rectangle 273"/>
            <p:cNvSpPr/>
            <p:nvPr/>
          </p:nvSpPr>
          <p:spPr>
            <a:xfrm>
              <a:off x="10526254" y="70193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713022" y="3438538"/>
            <a:ext cx="792000" cy="792000"/>
            <a:chOff x="10060410" y="435802"/>
            <a:chExt cx="792000" cy="792000"/>
          </a:xfrm>
        </p:grpSpPr>
        <p:sp>
          <p:nvSpPr>
            <p:cNvPr id="279" name="Freeform 278"/>
            <p:cNvSpPr/>
            <p:nvPr>
              <p:custDataLst>
                <p:tags r:id="rId1"/>
              </p:custDataLst>
            </p:nvPr>
          </p:nvSpPr>
          <p:spPr bwMode="auto">
            <a:xfrm>
              <a:off x="10184024" y="553061"/>
              <a:ext cx="544772" cy="557482"/>
            </a:xfrm>
            <a:custGeom>
              <a:avLst/>
              <a:gdLst/>
              <a:ahLst/>
              <a:cxnLst/>
              <a:rect l="l" t="t" r="r" b="b"/>
              <a:pathLst>
                <a:path w="3702050" h="3788410">
                  <a:moveTo>
                    <a:pt x="3530600" y="2639539"/>
                  </a:moveTo>
                  <a:lnTo>
                    <a:pt x="2551906" y="2641921"/>
                  </a:lnTo>
                  <a:cubicBezTo>
                    <a:pt x="2554288" y="2957833"/>
                    <a:pt x="2551906" y="3273746"/>
                    <a:pt x="2554288" y="3589658"/>
                  </a:cubicBezTo>
                  <a:close/>
                  <a:moveTo>
                    <a:pt x="603251" y="1477008"/>
                  </a:moveTo>
                  <a:lnTo>
                    <a:pt x="593726" y="2531108"/>
                  </a:lnTo>
                  <a:cubicBezTo>
                    <a:pt x="1654969" y="2353838"/>
                    <a:pt x="1180307" y="3181454"/>
                    <a:pt x="555626" y="2785108"/>
                  </a:cubicBezTo>
                  <a:lnTo>
                    <a:pt x="555626" y="3185158"/>
                  </a:lnTo>
                  <a:cubicBezTo>
                    <a:pt x="2074599" y="3623838"/>
                    <a:pt x="2016390" y="1888965"/>
                    <a:pt x="1025526" y="2131058"/>
                  </a:cubicBezTo>
                  <a:lnTo>
                    <a:pt x="1025526" y="1880233"/>
                  </a:lnTo>
                  <a:lnTo>
                    <a:pt x="1660526" y="1883408"/>
                  </a:lnTo>
                  <a:lnTo>
                    <a:pt x="1660526" y="1480183"/>
                  </a:lnTo>
                  <a:close/>
                  <a:moveTo>
                    <a:pt x="1854200" y="1475422"/>
                  </a:moveTo>
                  <a:lnTo>
                    <a:pt x="1854200" y="1637347"/>
                  </a:lnTo>
                  <a:lnTo>
                    <a:pt x="2035175" y="1637347"/>
                  </a:lnTo>
                  <a:cubicBezTo>
                    <a:pt x="2035969" y="1805622"/>
                    <a:pt x="2036762" y="1973897"/>
                    <a:pt x="2037556" y="2142172"/>
                  </a:cubicBezTo>
                  <a:lnTo>
                    <a:pt x="2239963" y="2139790"/>
                  </a:lnTo>
                  <a:lnTo>
                    <a:pt x="2239963" y="1632584"/>
                  </a:lnTo>
                  <a:lnTo>
                    <a:pt x="2423319" y="1634965"/>
                  </a:lnTo>
                  <a:lnTo>
                    <a:pt x="2423319" y="1475422"/>
                  </a:lnTo>
                  <a:close/>
                  <a:moveTo>
                    <a:pt x="2499519" y="1473041"/>
                  </a:moveTo>
                  <a:cubicBezTo>
                    <a:pt x="2499916" y="1586150"/>
                    <a:pt x="2499520" y="1927067"/>
                    <a:pt x="2501901" y="2151698"/>
                  </a:cubicBezTo>
                  <a:lnTo>
                    <a:pt x="2699544" y="2156461"/>
                  </a:lnTo>
                  <a:cubicBezTo>
                    <a:pt x="2697957" y="2076292"/>
                    <a:pt x="2696368" y="1967548"/>
                    <a:pt x="2694781" y="1887379"/>
                  </a:cubicBezTo>
                  <a:lnTo>
                    <a:pt x="2932906" y="1889760"/>
                  </a:lnTo>
                  <a:cubicBezTo>
                    <a:pt x="2931319" y="1973104"/>
                    <a:pt x="2929731" y="2056447"/>
                    <a:pt x="2928144" y="2139791"/>
                  </a:cubicBezTo>
                  <a:lnTo>
                    <a:pt x="3132931" y="2142173"/>
                  </a:lnTo>
                  <a:cubicBezTo>
                    <a:pt x="3131344" y="1922304"/>
                    <a:pt x="3132137" y="1700054"/>
                    <a:pt x="3130550" y="1480185"/>
                  </a:cubicBezTo>
                  <a:lnTo>
                    <a:pt x="2928144" y="1480185"/>
                  </a:lnTo>
                  <a:cubicBezTo>
                    <a:pt x="2927350" y="1560354"/>
                    <a:pt x="2926557" y="1640522"/>
                    <a:pt x="2925763" y="1720691"/>
                  </a:cubicBezTo>
                  <a:lnTo>
                    <a:pt x="2704306" y="1720691"/>
                  </a:lnTo>
                  <a:lnTo>
                    <a:pt x="2704306" y="1475423"/>
                  </a:lnTo>
                  <a:close/>
                  <a:moveTo>
                    <a:pt x="0" y="956310"/>
                  </a:moveTo>
                  <a:lnTo>
                    <a:pt x="3695700" y="956310"/>
                  </a:lnTo>
                  <a:lnTo>
                    <a:pt x="3695700" y="2751210"/>
                  </a:lnTo>
                  <a:lnTo>
                    <a:pt x="2658500" y="3788410"/>
                  </a:lnTo>
                  <a:lnTo>
                    <a:pt x="0" y="3788410"/>
                  </a:lnTo>
                  <a:close/>
                  <a:moveTo>
                    <a:pt x="6350" y="0"/>
                  </a:moveTo>
                  <a:lnTo>
                    <a:pt x="3702050" y="0"/>
                  </a:lnTo>
                  <a:lnTo>
                    <a:pt x="3702050" y="754380"/>
                  </a:lnTo>
                  <a:lnTo>
                    <a:pt x="6350" y="754380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0" name="Rectangle 279"/>
            <p:cNvSpPr/>
            <p:nvPr/>
          </p:nvSpPr>
          <p:spPr>
            <a:xfrm>
              <a:off x="10060410" y="43580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1" name="Group 280"/>
          <p:cNvGrpSpPr/>
          <p:nvPr/>
        </p:nvGrpSpPr>
        <p:grpSpPr>
          <a:xfrm>
            <a:off x="681410" y="4214428"/>
            <a:ext cx="792000" cy="792000"/>
            <a:chOff x="1929178" y="-990636"/>
            <a:chExt cx="792000" cy="792000"/>
          </a:xfrm>
        </p:grpSpPr>
        <p:sp>
          <p:nvSpPr>
            <p:cNvPr id="282" name="Freeform 135"/>
            <p:cNvSpPr>
              <a:spLocks noEditPoints="1"/>
            </p:cNvSpPr>
            <p:nvPr/>
          </p:nvSpPr>
          <p:spPr bwMode="black">
            <a:xfrm>
              <a:off x="2070664" y="-944829"/>
              <a:ext cx="509028" cy="700387"/>
            </a:xfrm>
            <a:custGeom>
              <a:avLst/>
              <a:gdLst>
                <a:gd name="T0" fmla="*/ 60 w 80"/>
                <a:gd name="T1" fmla="*/ 15 h 111"/>
                <a:gd name="T2" fmla="*/ 71 w 80"/>
                <a:gd name="T3" fmla="*/ 0 h 111"/>
                <a:gd name="T4" fmla="*/ 74 w 80"/>
                <a:gd name="T5" fmla="*/ 2 h 111"/>
                <a:gd name="T6" fmla="*/ 62 w 80"/>
                <a:gd name="T7" fmla="*/ 16 h 111"/>
                <a:gd name="T8" fmla="*/ 60 w 80"/>
                <a:gd name="T9" fmla="*/ 15 h 111"/>
                <a:gd name="T10" fmla="*/ 67 w 80"/>
                <a:gd name="T11" fmla="*/ 111 h 111"/>
                <a:gd name="T12" fmla="*/ 67 w 80"/>
                <a:gd name="T13" fmla="*/ 103 h 111"/>
                <a:gd name="T14" fmla="*/ 46 w 80"/>
                <a:gd name="T15" fmla="*/ 103 h 111"/>
                <a:gd name="T16" fmla="*/ 46 w 80"/>
                <a:gd name="T17" fmla="*/ 68 h 111"/>
                <a:gd name="T18" fmla="*/ 80 w 80"/>
                <a:gd name="T19" fmla="*/ 26 h 111"/>
                <a:gd name="T20" fmla="*/ 0 w 80"/>
                <a:gd name="T21" fmla="*/ 26 h 111"/>
                <a:gd name="T22" fmla="*/ 34 w 80"/>
                <a:gd name="T23" fmla="*/ 68 h 111"/>
                <a:gd name="T24" fmla="*/ 34 w 80"/>
                <a:gd name="T25" fmla="*/ 103 h 111"/>
                <a:gd name="T26" fmla="*/ 13 w 80"/>
                <a:gd name="T27" fmla="*/ 103 h 111"/>
                <a:gd name="T28" fmla="*/ 13 w 80"/>
                <a:gd name="T29" fmla="*/ 111 h 111"/>
                <a:gd name="T30" fmla="*/ 67 w 80"/>
                <a:gd name="T31" fmla="*/ 111 h 111"/>
                <a:gd name="T32" fmla="*/ 62 w 80"/>
                <a:gd name="T33" fmla="*/ 23 h 111"/>
                <a:gd name="T34" fmla="*/ 54 w 80"/>
                <a:gd name="T35" fmla="*/ 17 h 111"/>
                <a:gd name="T36" fmla="*/ 47 w 80"/>
                <a:gd name="T37" fmla="*/ 23 h 111"/>
                <a:gd name="T38" fmla="*/ 62 w 80"/>
                <a:gd name="T3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11">
                  <a:moveTo>
                    <a:pt x="60" y="15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1" y="16"/>
                    <a:pt x="61" y="15"/>
                    <a:pt x="60" y="15"/>
                  </a:cubicBezTo>
                  <a:close/>
                  <a:moveTo>
                    <a:pt x="67" y="111"/>
                  </a:moveTo>
                  <a:cubicBezTo>
                    <a:pt x="67" y="103"/>
                    <a:pt x="67" y="103"/>
                    <a:pt x="67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11"/>
                    <a:pt x="13" y="111"/>
                    <a:pt x="13" y="111"/>
                  </a:cubicBezTo>
                  <a:lnTo>
                    <a:pt x="67" y="111"/>
                  </a:lnTo>
                  <a:close/>
                  <a:moveTo>
                    <a:pt x="62" y="23"/>
                  </a:moveTo>
                  <a:cubicBezTo>
                    <a:pt x="61" y="19"/>
                    <a:pt x="58" y="17"/>
                    <a:pt x="54" y="17"/>
                  </a:cubicBezTo>
                  <a:cubicBezTo>
                    <a:pt x="51" y="17"/>
                    <a:pt x="48" y="19"/>
                    <a:pt x="47" y="23"/>
                  </a:cubicBezTo>
                  <a:lnTo>
                    <a:pt x="62" y="23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292929"/>
                </a:solidFill>
                <a:latin typeface="Calibri" panose="020F0502020204030204"/>
              </a:endParaRP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1929178" y="-9906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4" name="Group 283"/>
          <p:cNvGrpSpPr/>
          <p:nvPr/>
        </p:nvGrpSpPr>
        <p:grpSpPr>
          <a:xfrm>
            <a:off x="-63091" y="4074433"/>
            <a:ext cx="792000" cy="792000"/>
            <a:chOff x="1143476" y="-1230962"/>
            <a:chExt cx="792000" cy="792000"/>
          </a:xfrm>
        </p:grpSpPr>
        <p:sp>
          <p:nvSpPr>
            <p:cNvPr id="285" name="Freeform 26"/>
            <p:cNvSpPr>
              <a:spLocks noChangeAspect="1" noEditPoints="1"/>
            </p:cNvSpPr>
            <p:nvPr/>
          </p:nvSpPr>
          <p:spPr bwMode="auto">
            <a:xfrm>
              <a:off x="1304240" y="-1142308"/>
              <a:ext cx="470472" cy="614692"/>
            </a:xfrm>
            <a:custGeom>
              <a:avLst/>
              <a:gdLst>
                <a:gd name="T0" fmla="*/ 747 w 816"/>
                <a:gd name="T1" fmla="*/ 285 h 1066"/>
                <a:gd name="T2" fmla="*/ 408 w 816"/>
                <a:gd name="T3" fmla="*/ 285 h 1066"/>
                <a:gd name="T4" fmla="*/ 69 w 816"/>
                <a:gd name="T5" fmla="*/ 285 h 1066"/>
                <a:gd name="T6" fmla="*/ 0 w 816"/>
                <a:gd name="T7" fmla="*/ 676 h 1066"/>
                <a:gd name="T8" fmla="*/ 408 w 816"/>
                <a:gd name="T9" fmla="*/ 1066 h 1066"/>
                <a:gd name="T10" fmla="*/ 816 w 816"/>
                <a:gd name="T11" fmla="*/ 676 h 1066"/>
                <a:gd name="T12" fmla="*/ 747 w 816"/>
                <a:gd name="T13" fmla="*/ 285 h 1066"/>
                <a:gd name="T14" fmla="*/ 491 w 816"/>
                <a:gd name="T15" fmla="*/ 828 h 1066"/>
                <a:gd name="T16" fmla="*/ 325 w 816"/>
                <a:gd name="T17" fmla="*/ 828 h 1066"/>
                <a:gd name="T18" fmla="*/ 357 w 816"/>
                <a:gd name="T19" fmla="*/ 673 h 1066"/>
                <a:gd name="T20" fmla="*/ 324 w 816"/>
                <a:gd name="T21" fmla="*/ 607 h 1066"/>
                <a:gd name="T22" fmla="*/ 408 w 816"/>
                <a:gd name="T23" fmla="*/ 523 h 1066"/>
                <a:gd name="T24" fmla="*/ 492 w 816"/>
                <a:gd name="T25" fmla="*/ 607 h 1066"/>
                <a:gd name="T26" fmla="*/ 459 w 816"/>
                <a:gd name="T27" fmla="*/ 673 h 1066"/>
                <a:gd name="T28" fmla="*/ 491 w 816"/>
                <a:gd name="T29" fmla="*/ 828 h 1066"/>
                <a:gd name="T30" fmla="*/ 242 w 816"/>
                <a:gd name="T31" fmla="*/ 297 h 1066"/>
                <a:gd name="T32" fmla="*/ 152 w 816"/>
                <a:gd name="T33" fmla="*/ 285 h 1066"/>
                <a:gd name="T34" fmla="*/ 152 w 816"/>
                <a:gd name="T35" fmla="*/ 230 h 1066"/>
                <a:gd name="T36" fmla="*/ 383 w 816"/>
                <a:gd name="T37" fmla="*/ 0 h 1066"/>
                <a:gd name="T38" fmla="*/ 433 w 816"/>
                <a:gd name="T39" fmla="*/ 0 h 1066"/>
                <a:gd name="T40" fmla="*/ 664 w 816"/>
                <a:gd name="T41" fmla="*/ 230 h 1066"/>
                <a:gd name="T42" fmla="*/ 664 w 816"/>
                <a:gd name="T43" fmla="*/ 285 h 1066"/>
                <a:gd name="T44" fmla="*/ 574 w 816"/>
                <a:gd name="T45" fmla="*/ 297 h 1066"/>
                <a:gd name="T46" fmla="*/ 564 w 816"/>
                <a:gd name="T47" fmla="*/ 297 h 1066"/>
                <a:gd name="T48" fmla="*/ 564 w 816"/>
                <a:gd name="T49" fmla="*/ 230 h 1066"/>
                <a:gd name="T50" fmla="*/ 433 w 816"/>
                <a:gd name="T51" fmla="*/ 100 h 1066"/>
                <a:gd name="T52" fmla="*/ 383 w 816"/>
                <a:gd name="T53" fmla="*/ 100 h 1066"/>
                <a:gd name="T54" fmla="*/ 252 w 816"/>
                <a:gd name="T55" fmla="*/ 230 h 1066"/>
                <a:gd name="T56" fmla="*/ 252 w 816"/>
                <a:gd name="T57" fmla="*/ 297 h 1066"/>
                <a:gd name="T58" fmla="*/ 242 w 816"/>
                <a:gd name="T59" fmla="*/ 297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16" h="1066">
                  <a:moveTo>
                    <a:pt x="747" y="285"/>
                  </a:moveTo>
                  <a:cubicBezTo>
                    <a:pt x="555" y="376"/>
                    <a:pt x="408" y="285"/>
                    <a:pt x="408" y="285"/>
                  </a:cubicBezTo>
                  <a:cubicBezTo>
                    <a:pt x="408" y="285"/>
                    <a:pt x="261" y="376"/>
                    <a:pt x="69" y="285"/>
                  </a:cubicBezTo>
                  <a:cubicBezTo>
                    <a:pt x="69" y="285"/>
                    <a:pt x="0" y="438"/>
                    <a:pt x="0" y="676"/>
                  </a:cubicBezTo>
                  <a:cubicBezTo>
                    <a:pt x="0" y="1005"/>
                    <a:pt x="408" y="1066"/>
                    <a:pt x="408" y="1066"/>
                  </a:cubicBezTo>
                  <a:cubicBezTo>
                    <a:pt x="408" y="1066"/>
                    <a:pt x="816" y="1005"/>
                    <a:pt x="816" y="676"/>
                  </a:cubicBezTo>
                  <a:cubicBezTo>
                    <a:pt x="816" y="438"/>
                    <a:pt x="747" y="285"/>
                    <a:pt x="747" y="285"/>
                  </a:cubicBezTo>
                  <a:close/>
                  <a:moveTo>
                    <a:pt x="491" y="828"/>
                  </a:moveTo>
                  <a:cubicBezTo>
                    <a:pt x="325" y="828"/>
                    <a:pt x="325" y="828"/>
                    <a:pt x="325" y="828"/>
                  </a:cubicBezTo>
                  <a:cubicBezTo>
                    <a:pt x="357" y="673"/>
                    <a:pt x="357" y="673"/>
                    <a:pt x="357" y="673"/>
                  </a:cubicBezTo>
                  <a:cubicBezTo>
                    <a:pt x="337" y="658"/>
                    <a:pt x="324" y="634"/>
                    <a:pt x="324" y="607"/>
                  </a:cubicBezTo>
                  <a:cubicBezTo>
                    <a:pt x="324" y="560"/>
                    <a:pt x="362" y="523"/>
                    <a:pt x="408" y="523"/>
                  </a:cubicBezTo>
                  <a:cubicBezTo>
                    <a:pt x="454" y="523"/>
                    <a:pt x="492" y="560"/>
                    <a:pt x="492" y="607"/>
                  </a:cubicBezTo>
                  <a:cubicBezTo>
                    <a:pt x="492" y="634"/>
                    <a:pt x="479" y="658"/>
                    <a:pt x="459" y="673"/>
                  </a:cubicBezTo>
                  <a:lnTo>
                    <a:pt x="491" y="828"/>
                  </a:lnTo>
                  <a:close/>
                  <a:moveTo>
                    <a:pt x="242" y="297"/>
                  </a:moveTo>
                  <a:cubicBezTo>
                    <a:pt x="212" y="297"/>
                    <a:pt x="182" y="293"/>
                    <a:pt x="152" y="285"/>
                  </a:cubicBezTo>
                  <a:cubicBezTo>
                    <a:pt x="152" y="230"/>
                    <a:pt x="152" y="230"/>
                    <a:pt x="152" y="230"/>
                  </a:cubicBezTo>
                  <a:cubicBezTo>
                    <a:pt x="152" y="103"/>
                    <a:pt x="256" y="0"/>
                    <a:pt x="383" y="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560" y="0"/>
                    <a:pt x="664" y="103"/>
                    <a:pt x="664" y="230"/>
                  </a:cubicBezTo>
                  <a:cubicBezTo>
                    <a:pt x="664" y="285"/>
                    <a:pt x="664" y="285"/>
                    <a:pt x="664" y="285"/>
                  </a:cubicBezTo>
                  <a:cubicBezTo>
                    <a:pt x="634" y="293"/>
                    <a:pt x="604" y="297"/>
                    <a:pt x="574" y="297"/>
                  </a:cubicBezTo>
                  <a:cubicBezTo>
                    <a:pt x="570" y="297"/>
                    <a:pt x="567" y="297"/>
                    <a:pt x="564" y="297"/>
                  </a:cubicBezTo>
                  <a:cubicBezTo>
                    <a:pt x="564" y="230"/>
                    <a:pt x="564" y="230"/>
                    <a:pt x="564" y="230"/>
                  </a:cubicBezTo>
                  <a:cubicBezTo>
                    <a:pt x="564" y="158"/>
                    <a:pt x="505" y="100"/>
                    <a:pt x="433" y="100"/>
                  </a:cubicBezTo>
                  <a:cubicBezTo>
                    <a:pt x="383" y="100"/>
                    <a:pt x="383" y="100"/>
                    <a:pt x="383" y="100"/>
                  </a:cubicBezTo>
                  <a:cubicBezTo>
                    <a:pt x="311" y="100"/>
                    <a:pt x="252" y="158"/>
                    <a:pt x="252" y="230"/>
                  </a:cubicBezTo>
                  <a:cubicBezTo>
                    <a:pt x="252" y="297"/>
                    <a:pt x="252" y="297"/>
                    <a:pt x="252" y="297"/>
                  </a:cubicBezTo>
                  <a:cubicBezTo>
                    <a:pt x="249" y="297"/>
                    <a:pt x="246" y="297"/>
                    <a:pt x="242" y="297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396" tIns="45699" rIns="91396" bIns="45699" numCol="1" anchor="t" anchorCtr="0" compatLnSpc="1">
              <a:prstTxWarp prst="textNoShape">
                <a:avLst/>
              </a:prstTxWarp>
            </a:bodyPr>
            <a:lstStyle/>
            <a:p>
              <a:pPr defTabSz="914021">
                <a:defRPr/>
              </a:pPr>
              <a:endParaRPr lang="en-US" sz="183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</a:endParaRPr>
            </a:p>
          </p:txBody>
        </p:sp>
        <p:sp>
          <p:nvSpPr>
            <p:cNvPr id="286" name="Rectangle 285"/>
            <p:cNvSpPr/>
            <p:nvPr/>
          </p:nvSpPr>
          <p:spPr>
            <a:xfrm>
              <a:off x="1143476" y="-123096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7" name="Group 286"/>
          <p:cNvGrpSpPr/>
          <p:nvPr/>
        </p:nvGrpSpPr>
        <p:grpSpPr>
          <a:xfrm>
            <a:off x="1456899" y="4251033"/>
            <a:ext cx="792000" cy="792000"/>
            <a:chOff x="1915728" y="-1234102"/>
            <a:chExt cx="792000" cy="792000"/>
          </a:xfrm>
        </p:grpSpPr>
        <p:sp>
          <p:nvSpPr>
            <p:cNvPr id="288" name="Freeform 19"/>
            <p:cNvSpPr>
              <a:spLocks/>
            </p:cNvSpPr>
            <p:nvPr/>
          </p:nvSpPr>
          <p:spPr bwMode="black">
            <a:xfrm>
              <a:off x="2096917" y="-1183364"/>
              <a:ext cx="429622" cy="690524"/>
            </a:xfrm>
            <a:custGeom>
              <a:avLst/>
              <a:gdLst>
                <a:gd name="T0" fmla="*/ 1691 w 1694"/>
                <a:gd name="T1" fmla="*/ 1046 h 2719"/>
                <a:gd name="T2" fmla="*/ 1681 w 1694"/>
                <a:gd name="T3" fmla="*/ 869 h 2719"/>
                <a:gd name="T4" fmla="*/ 1679 w 1694"/>
                <a:gd name="T5" fmla="*/ 836 h 2719"/>
                <a:gd name="T6" fmla="*/ 1653 w 1694"/>
                <a:gd name="T7" fmla="*/ 815 h 2719"/>
                <a:gd name="T8" fmla="*/ 1050 w 1694"/>
                <a:gd name="T9" fmla="*/ 332 h 2719"/>
                <a:gd name="T10" fmla="*/ 1027 w 1694"/>
                <a:gd name="T11" fmla="*/ 48 h 2719"/>
                <a:gd name="T12" fmla="*/ 898 w 1694"/>
                <a:gd name="T13" fmla="*/ 0 h 2719"/>
                <a:gd name="T14" fmla="*/ 647 w 1694"/>
                <a:gd name="T15" fmla="*/ 224 h 2719"/>
                <a:gd name="T16" fmla="*/ 37 w 1694"/>
                <a:gd name="T17" fmla="*/ 1034 h 2719"/>
                <a:gd name="T18" fmla="*/ 1 w 1694"/>
                <a:gd name="T19" fmla="*/ 1735 h 2719"/>
                <a:gd name="T20" fmla="*/ 2 w 1694"/>
                <a:gd name="T21" fmla="*/ 1760 h 2719"/>
                <a:gd name="T22" fmla="*/ 3 w 1694"/>
                <a:gd name="T23" fmla="*/ 1947 h 2719"/>
                <a:gd name="T24" fmla="*/ 3 w 1694"/>
                <a:gd name="T25" fmla="*/ 2022 h 2719"/>
                <a:gd name="T26" fmla="*/ 78 w 1694"/>
                <a:gd name="T27" fmla="*/ 2022 h 2719"/>
                <a:gd name="T28" fmla="*/ 284 w 1694"/>
                <a:gd name="T29" fmla="*/ 2149 h 2719"/>
                <a:gd name="T30" fmla="*/ 78 w 1694"/>
                <a:gd name="T31" fmla="*/ 2276 h 2719"/>
                <a:gd name="T32" fmla="*/ 3 w 1694"/>
                <a:gd name="T33" fmla="*/ 2276 h 2719"/>
                <a:gd name="T34" fmla="*/ 3 w 1694"/>
                <a:gd name="T35" fmla="*/ 2351 h 2719"/>
                <a:gd name="T36" fmla="*/ 4 w 1694"/>
                <a:gd name="T37" fmla="*/ 2643 h 2719"/>
                <a:gd name="T38" fmla="*/ 4 w 1694"/>
                <a:gd name="T39" fmla="*/ 2719 h 2719"/>
                <a:gd name="T40" fmla="*/ 1318 w 1694"/>
                <a:gd name="T41" fmla="*/ 2719 h 2719"/>
                <a:gd name="T42" fmla="*/ 1318 w 1694"/>
                <a:gd name="T43" fmla="*/ 2643 h 2719"/>
                <a:gd name="T44" fmla="*/ 1318 w 1694"/>
                <a:gd name="T45" fmla="*/ 2351 h 2719"/>
                <a:gd name="T46" fmla="*/ 1318 w 1694"/>
                <a:gd name="T47" fmla="*/ 2275 h 2719"/>
                <a:gd name="T48" fmla="*/ 1243 w 1694"/>
                <a:gd name="T49" fmla="*/ 2276 h 2719"/>
                <a:gd name="T50" fmla="*/ 1241 w 1694"/>
                <a:gd name="T51" fmla="*/ 2276 h 2719"/>
                <a:gd name="T52" fmla="*/ 1239 w 1694"/>
                <a:gd name="T53" fmla="*/ 2276 h 2719"/>
                <a:gd name="T54" fmla="*/ 1032 w 1694"/>
                <a:gd name="T55" fmla="*/ 2149 h 2719"/>
                <a:gd name="T56" fmla="*/ 1239 w 1694"/>
                <a:gd name="T57" fmla="*/ 2022 h 2719"/>
                <a:gd name="T58" fmla="*/ 1242 w 1694"/>
                <a:gd name="T59" fmla="*/ 2022 h 2719"/>
                <a:gd name="T60" fmla="*/ 1318 w 1694"/>
                <a:gd name="T61" fmla="*/ 2022 h 2719"/>
                <a:gd name="T62" fmla="*/ 1318 w 1694"/>
                <a:gd name="T63" fmla="*/ 1947 h 2719"/>
                <a:gd name="T64" fmla="*/ 1127 w 1694"/>
                <a:gd name="T65" fmla="*/ 1362 h 2719"/>
                <a:gd name="T66" fmla="*/ 1056 w 1694"/>
                <a:gd name="T67" fmla="*/ 1282 h 2719"/>
                <a:gd name="T68" fmla="*/ 880 w 1694"/>
                <a:gd name="T69" fmla="*/ 1056 h 2719"/>
                <a:gd name="T70" fmla="*/ 1050 w 1694"/>
                <a:gd name="T71" fmla="*/ 1114 h 2719"/>
                <a:gd name="T72" fmla="*/ 1290 w 1694"/>
                <a:gd name="T73" fmla="*/ 1121 h 2719"/>
                <a:gd name="T74" fmla="*/ 1346 w 1694"/>
                <a:gd name="T75" fmla="*/ 1202 h 2719"/>
                <a:gd name="T76" fmla="*/ 1384 w 1694"/>
                <a:gd name="T77" fmla="*/ 1257 h 2719"/>
                <a:gd name="T78" fmla="*/ 1443 w 1694"/>
                <a:gd name="T79" fmla="*/ 1226 h 2719"/>
                <a:gd name="T80" fmla="*/ 1651 w 1694"/>
                <a:gd name="T81" fmla="*/ 1117 h 2719"/>
                <a:gd name="T82" fmla="*/ 1694 w 1694"/>
                <a:gd name="T83" fmla="*/ 1094 h 2719"/>
                <a:gd name="T84" fmla="*/ 1691 w 1694"/>
                <a:gd name="T85" fmla="*/ 1046 h 2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4" h="2719">
                  <a:moveTo>
                    <a:pt x="1691" y="1046"/>
                  </a:moveTo>
                  <a:cubicBezTo>
                    <a:pt x="1681" y="869"/>
                    <a:pt x="1681" y="869"/>
                    <a:pt x="1681" y="869"/>
                  </a:cubicBezTo>
                  <a:cubicBezTo>
                    <a:pt x="1679" y="836"/>
                    <a:pt x="1679" y="836"/>
                    <a:pt x="1679" y="836"/>
                  </a:cubicBezTo>
                  <a:cubicBezTo>
                    <a:pt x="1653" y="815"/>
                    <a:pt x="1653" y="815"/>
                    <a:pt x="1653" y="815"/>
                  </a:cubicBezTo>
                  <a:cubicBezTo>
                    <a:pt x="1050" y="332"/>
                    <a:pt x="1050" y="332"/>
                    <a:pt x="1050" y="332"/>
                  </a:cubicBezTo>
                  <a:cubicBezTo>
                    <a:pt x="1027" y="48"/>
                    <a:pt x="1027" y="48"/>
                    <a:pt x="1027" y="48"/>
                  </a:cubicBezTo>
                  <a:cubicBezTo>
                    <a:pt x="898" y="0"/>
                    <a:pt x="898" y="0"/>
                    <a:pt x="898" y="0"/>
                  </a:cubicBezTo>
                  <a:cubicBezTo>
                    <a:pt x="897" y="2"/>
                    <a:pt x="772" y="126"/>
                    <a:pt x="647" y="224"/>
                  </a:cubicBezTo>
                  <a:cubicBezTo>
                    <a:pt x="195" y="352"/>
                    <a:pt x="71" y="785"/>
                    <a:pt x="37" y="1034"/>
                  </a:cubicBezTo>
                  <a:cubicBezTo>
                    <a:pt x="0" y="1315"/>
                    <a:pt x="0" y="1487"/>
                    <a:pt x="1" y="1735"/>
                  </a:cubicBezTo>
                  <a:cubicBezTo>
                    <a:pt x="1" y="1743"/>
                    <a:pt x="2" y="1752"/>
                    <a:pt x="2" y="1760"/>
                  </a:cubicBezTo>
                  <a:cubicBezTo>
                    <a:pt x="3" y="1947"/>
                    <a:pt x="3" y="1947"/>
                    <a:pt x="3" y="1947"/>
                  </a:cubicBezTo>
                  <a:cubicBezTo>
                    <a:pt x="3" y="2022"/>
                    <a:pt x="3" y="2022"/>
                    <a:pt x="3" y="2022"/>
                  </a:cubicBezTo>
                  <a:cubicBezTo>
                    <a:pt x="3" y="2022"/>
                    <a:pt x="78" y="2022"/>
                    <a:pt x="78" y="2022"/>
                  </a:cubicBezTo>
                  <a:cubicBezTo>
                    <a:pt x="189" y="2023"/>
                    <a:pt x="284" y="2092"/>
                    <a:pt x="284" y="2149"/>
                  </a:cubicBezTo>
                  <a:cubicBezTo>
                    <a:pt x="284" y="2205"/>
                    <a:pt x="189" y="2275"/>
                    <a:pt x="78" y="2276"/>
                  </a:cubicBezTo>
                  <a:cubicBezTo>
                    <a:pt x="3" y="2276"/>
                    <a:pt x="3" y="2276"/>
                    <a:pt x="3" y="2276"/>
                  </a:cubicBezTo>
                  <a:cubicBezTo>
                    <a:pt x="3" y="2351"/>
                    <a:pt x="3" y="2351"/>
                    <a:pt x="3" y="2351"/>
                  </a:cubicBezTo>
                  <a:cubicBezTo>
                    <a:pt x="4" y="2643"/>
                    <a:pt x="4" y="2643"/>
                    <a:pt x="4" y="2643"/>
                  </a:cubicBezTo>
                  <a:cubicBezTo>
                    <a:pt x="4" y="2719"/>
                    <a:pt x="4" y="2719"/>
                    <a:pt x="4" y="2719"/>
                  </a:cubicBezTo>
                  <a:cubicBezTo>
                    <a:pt x="1318" y="2719"/>
                    <a:pt x="1318" y="2719"/>
                    <a:pt x="1318" y="2719"/>
                  </a:cubicBezTo>
                  <a:cubicBezTo>
                    <a:pt x="1318" y="2719"/>
                    <a:pt x="1318" y="2643"/>
                    <a:pt x="1318" y="2643"/>
                  </a:cubicBezTo>
                  <a:cubicBezTo>
                    <a:pt x="1318" y="2351"/>
                    <a:pt x="1318" y="2351"/>
                    <a:pt x="1318" y="2351"/>
                  </a:cubicBezTo>
                  <a:cubicBezTo>
                    <a:pt x="1318" y="2275"/>
                    <a:pt x="1318" y="2275"/>
                    <a:pt x="1318" y="2275"/>
                  </a:cubicBezTo>
                  <a:cubicBezTo>
                    <a:pt x="1318" y="2276"/>
                    <a:pt x="1243" y="2276"/>
                    <a:pt x="1243" y="2276"/>
                  </a:cubicBezTo>
                  <a:cubicBezTo>
                    <a:pt x="1241" y="2276"/>
                    <a:pt x="1241" y="2276"/>
                    <a:pt x="1241" y="2276"/>
                  </a:cubicBezTo>
                  <a:cubicBezTo>
                    <a:pt x="1240" y="2276"/>
                    <a:pt x="1239" y="2276"/>
                    <a:pt x="1239" y="2276"/>
                  </a:cubicBezTo>
                  <a:cubicBezTo>
                    <a:pt x="1127" y="2275"/>
                    <a:pt x="1032" y="2206"/>
                    <a:pt x="1032" y="2149"/>
                  </a:cubicBezTo>
                  <a:cubicBezTo>
                    <a:pt x="1032" y="2092"/>
                    <a:pt x="1128" y="2022"/>
                    <a:pt x="1239" y="2022"/>
                  </a:cubicBezTo>
                  <a:cubicBezTo>
                    <a:pt x="1240" y="2022"/>
                    <a:pt x="1241" y="2022"/>
                    <a:pt x="1242" y="2022"/>
                  </a:cubicBezTo>
                  <a:cubicBezTo>
                    <a:pt x="1318" y="2022"/>
                    <a:pt x="1318" y="2022"/>
                    <a:pt x="1318" y="2022"/>
                  </a:cubicBezTo>
                  <a:cubicBezTo>
                    <a:pt x="1318" y="1947"/>
                    <a:pt x="1318" y="1947"/>
                    <a:pt x="1318" y="1947"/>
                  </a:cubicBezTo>
                  <a:cubicBezTo>
                    <a:pt x="1317" y="1726"/>
                    <a:pt x="1249" y="1519"/>
                    <a:pt x="1127" y="1362"/>
                  </a:cubicBezTo>
                  <a:cubicBezTo>
                    <a:pt x="1105" y="1333"/>
                    <a:pt x="1082" y="1306"/>
                    <a:pt x="1056" y="1282"/>
                  </a:cubicBezTo>
                  <a:cubicBezTo>
                    <a:pt x="982" y="1209"/>
                    <a:pt x="924" y="1135"/>
                    <a:pt x="880" y="1056"/>
                  </a:cubicBezTo>
                  <a:cubicBezTo>
                    <a:pt x="948" y="1086"/>
                    <a:pt x="1014" y="1106"/>
                    <a:pt x="1050" y="1114"/>
                  </a:cubicBezTo>
                  <a:cubicBezTo>
                    <a:pt x="1141" y="1133"/>
                    <a:pt x="1234" y="1127"/>
                    <a:pt x="1290" y="1121"/>
                  </a:cubicBezTo>
                  <a:cubicBezTo>
                    <a:pt x="1346" y="1202"/>
                    <a:pt x="1346" y="1202"/>
                    <a:pt x="1346" y="1202"/>
                  </a:cubicBezTo>
                  <a:cubicBezTo>
                    <a:pt x="1384" y="1257"/>
                    <a:pt x="1384" y="1257"/>
                    <a:pt x="1384" y="1257"/>
                  </a:cubicBezTo>
                  <a:cubicBezTo>
                    <a:pt x="1443" y="1226"/>
                    <a:pt x="1443" y="1226"/>
                    <a:pt x="1443" y="1226"/>
                  </a:cubicBezTo>
                  <a:cubicBezTo>
                    <a:pt x="1651" y="1117"/>
                    <a:pt x="1651" y="1117"/>
                    <a:pt x="1651" y="1117"/>
                  </a:cubicBezTo>
                  <a:cubicBezTo>
                    <a:pt x="1694" y="1094"/>
                    <a:pt x="1694" y="1094"/>
                    <a:pt x="1694" y="1094"/>
                  </a:cubicBezTo>
                  <a:lnTo>
                    <a:pt x="1691" y="1046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53528" tIns="26764" rIns="53528" bIns="26764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292929">
                    <a:lumMod val="75000"/>
                  </a:srgbClr>
                </a:soli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9" name="Rectangle 288"/>
            <p:cNvSpPr/>
            <p:nvPr/>
          </p:nvSpPr>
          <p:spPr>
            <a:xfrm>
              <a:off x="1915728" y="-123410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90" name="Group 289"/>
          <p:cNvGrpSpPr/>
          <p:nvPr/>
        </p:nvGrpSpPr>
        <p:grpSpPr>
          <a:xfrm>
            <a:off x="1407845" y="3501534"/>
            <a:ext cx="792000" cy="792000"/>
            <a:chOff x="9973849" y="784733"/>
            <a:chExt cx="792000" cy="792000"/>
          </a:xfrm>
        </p:grpSpPr>
        <p:grpSp>
          <p:nvGrpSpPr>
            <p:cNvPr id="291" name="Group 290"/>
            <p:cNvGrpSpPr/>
            <p:nvPr/>
          </p:nvGrpSpPr>
          <p:grpSpPr>
            <a:xfrm>
              <a:off x="9984363" y="968247"/>
              <a:ext cx="770973" cy="424973"/>
              <a:chOff x="676490" y="4787853"/>
              <a:chExt cx="1476561" cy="813905"/>
            </a:xfrm>
          </p:grpSpPr>
          <p:sp>
            <p:nvSpPr>
              <p:cNvPr id="293" name="Oval 292"/>
              <p:cNvSpPr/>
              <p:nvPr/>
            </p:nvSpPr>
            <p:spPr bwMode="auto">
              <a:xfrm rot="3347388">
                <a:off x="793397" y="4807624"/>
                <a:ext cx="87170" cy="87157"/>
              </a:xfrm>
              <a:prstGeom prst="ellipse">
                <a:avLst/>
              </a:prstGeom>
              <a:solidFill>
                <a:srgbClr val="007ABD"/>
              </a:solidFill>
              <a:ln>
                <a:solidFill>
                  <a:srgbClr val="007ABD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3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676490" y="4787853"/>
                <a:ext cx="1476561" cy="813905"/>
                <a:chOff x="676490" y="4787853"/>
                <a:chExt cx="1476561" cy="813905"/>
              </a:xfrm>
            </p:grpSpPr>
            <p:sp>
              <p:nvSpPr>
                <p:cNvPr id="295" name="Oval 294"/>
                <p:cNvSpPr/>
                <p:nvPr/>
              </p:nvSpPr>
              <p:spPr bwMode="auto">
                <a:xfrm rot="1527449">
                  <a:off x="676490" y="5137833"/>
                  <a:ext cx="87157" cy="87170"/>
                </a:xfrm>
                <a:prstGeom prst="ellipse">
                  <a:avLst/>
                </a:prstGeom>
                <a:solidFill>
                  <a:srgbClr val="007ABD"/>
                </a:solidFill>
                <a:ln>
                  <a:solidFill>
                    <a:srgbClr val="007ABD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6637" rIns="0" bIns="4663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536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</a:endParaRPr>
                </a:p>
              </p:txBody>
            </p:sp>
            <p:sp>
              <p:nvSpPr>
                <p:cNvPr id="296" name="Oval 295"/>
                <p:cNvSpPr/>
                <p:nvPr/>
              </p:nvSpPr>
              <p:spPr bwMode="auto">
                <a:xfrm rot="3347388">
                  <a:off x="2000027" y="5490021"/>
                  <a:ext cx="87170" cy="87157"/>
                </a:xfrm>
                <a:prstGeom prst="ellipse">
                  <a:avLst/>
                </a:prstGeom>
                <a:solidFill>
                  <a:srgbClr val="007ABD"/>
                </a:solidFill>
                <a:ln>
                  <a:solidFill>
                    <a:srgbClr val="007ABD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6637" rIns="0" bIns="4663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536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</a:endParaRPr>
                </a:p>
              </p:txBody>
            </p:sp>
            <p:grpSp>
              <p:nvGrpSpPr>
                <p:cNvPr id="297" name="Group 296"/>
                <p:cNvGrpSpPr/>
                <p:nvPr/>
              </p:nvGrpSpPr>
              <p:grpSpPr>
                <a:xfrm>
                  <a:off x="756546" y="4787853"/>
                  <a:ext cx="1396505" cy="813905"/>
                  <a:chOff x="756546" y="4787853"/>
                  <a:chExt cx="1396505" cy="813905"/>
                </a:xfrm>
              </p:grpSpPr>
              <p:sp>
                <p:nvSpPr>
                  <p:cNvPr id="298" name="Donut 297"/>
                  <p:cNvSpPr/>
                  <p:nvPr/>
                </p:nvSpPr>
                <p:spPr bwMode="auto">
                  <a:xfrm rot="647388">
                    <a:off x="1115522" y="4928465"/>
                    <a:ext cx="609516" cy="609602"/>
                  </a:xfrm>
                  <a:prstGeom prst="donut">
                    <a:avLst>
                      <a:gd name="adj" fmla="val 9136"/>
                    </a:avLst>
                  </a:prstGeom>
                  <a:solidFill>
                    <a:srgbClr val="007ABD"/>
                  </a:solidFill>
                  <a:ln>
                    <a:noFill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0" tIns="46637" rIns="0" bIns="46637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685536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Calibri" panose="020F0502020204030204"/>
                    </a:endParaRPr>
                  </a:p>
                </p:txBody>
              </p:sp>
              <p:sp>
                <p:nvSpPr>
                  <p:cNvPr id="299" name="Oval 298"/>
                  <p:cNvSpPr/>
                  <p:nvPr/>
                </p:nvSpPr>
                <p:spPr bwMode="auto">
                  <a:xfrm rot="1875459">
                    <a:off x="2065894" y="5198733"/>
                    <a:ext cx="87157" cy="87170"/>
                  </a:xfrm>
                  <a:prstGeom prst="ellipse">
                    <a:avLst/>
                  </a:prstGeom>
                  <a:solidFill>
                    <a:srgbClr val="007ABD"/>
                  </a:solidFill>
                  <a:ln>
                    <a:solidFill>
                      <a:srgbClr val="007ABD"/>
                    </a:solidFill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0" tIns="46637" rIns="0" bIns="46637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685536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Calibri" panose="020F0502020204030204"/>
                    </a:endParaRPr>
                  </a:p>
                </p:txBody>
              </p:sp>
              <p:cxnSp>
                <p:nvCxnSpPr>
                  <p:cNvPr id="300" name="Straight Connector 299"/>
                  <p:cNvCxnSpPr/>
                  <p:nvPr/>
                </p:nvCxnSpPr>
                <p:spPr>
                  <a:xfrm rot="1875459" flipH="1">
                    <a:off x="1697306" y="5137314"/>
                    <a:ext cx="353234" cy="186597"/>
                  </a:xfrm>
                  <a:prstGeom prst="line">
                    <a:avLst/>
                  </a:prstGeom>
                  <a:ln w="19050">
                    <a:solidFill>
                      <a:srgbClr val="007ABD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1" name="Straight Connector 300"/>
                  <p:cNvCxnSpPr/>
                  <p:nvPr/>
                </p:nvCxnSpPr>
                <p:spPr>
                  <a:xfrm rot="1527449" flipV="1">
                    <a:off x="756546" y="5116639"/>
                    <a:ext cx="357476" cy="145074"/>
                  </a:xfrm>
                  <a:prstGeom prst="line">
                    <a:avLst/>
                  </a:prstGeom>
                  <a:ln w="19050">
                    <a:solidFill>
                      <a:srgbClr val="007ABD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2" name="Straight Connector 301"/>
                  <p:cNvCxnSpPr/>
                  <p:nvPr/>
                </p:nvCxnSpPr>
                <p:spPr>
                  <a:xfrm rot="3347388" flipH="1">
                    <a:off x="1657541" y="5331831"/>
                    <a:ext cx="353283" cy="186571"/>
                  </a:xfrm>
                  <a:prstGeom prst="line">
                    <a:avLst/>
                  </a:prstGeom>
                  <a:ln w="19050">
                    <a:solidFill>
                      <a:srgbClr val="007ABD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3" name="Straight Connector 302"/>
                  <p:cNvCxnSpPr/>
                  <p:nvPr/>
                </p:nvCxnSpPr>
                <p:spPr>
                  <a:xfrm rot="3347388" flipV="1">
                    <a:off x="840061" y="4894089"/>
                    <a:ext cx="357526" cy="145053"/>
                  </a:xfrm>
                  <a:prstGeom prst="line">
                    <a:avLst/>
                  </a:prstGeom>
                  <a:ln w="19050">
                    <a:solidFill>
                      <a:srgbClr val="007ABD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292" name="Rectangle 291"/>
            <p:cNvSpPr/>
            <p:nvPr/>
          </p:nvSpPr>
          <p:spPr>
            <a:xfrm>
              <a:off x="9973849" y="78473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99" name="Straight Connector 198"/>
          <p:cNvCxnSpPr/>
          <p:nvPr/>
        </p:nvCxnSpPr>
        <p:spPr>
          <a:xfrm>
            <a:off x="2231722" y="843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/>
        </p:nvCxnSpPr>
        <p:spPr>
          <a:xfrm>
            <a:off x="4713759" y="2169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/>
        </p:nvCxnSpPr>
        <p:spPr>
          <a:xfrm>
            <a:off x="7195796" y="3495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2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194362" y="47639"/>
            <a:ext cx="17459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Questions / Ending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57523" y="34447"/>
            <a:ext cx="8867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Learning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819984" y="2709332"/>
            <a:ext cx="6415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Office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7859061" y="4405766"/>
            <a:ext cx="792000" cy="792000"/>
            <a:chOff x="10351301" y="435800"/>
            <a:chExt cx="792000" cy="792000"/>
          </a:xfrm>
        </p:grpSpPr>
        <p:sp>
          <p:nvSpPr>
            <p:cNvPr id="38" name="Freeform 37"/>
            <p:cNvSpPr/>
            <p:nvPr/>
          </p:nvSpPr>
          <p:spPr>
            <a:xfrm>
              <a:off x="10433898" y="540047"/>
              <a:ext cx="637004" cy="569186"/>
            </a:xfrm>
            <a:custGeom>
              <a:avLst/>
              <a:gdLst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73140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196198"/>
                <a:gd name="connsiteX1" fmla="*/ 2251494 w 4537577"/>
                <a:gd name="connsiteY1" fmla="*/ 11427 h 4196198"/>
                <a:gd name="connsiteX2" fmla="*/ 3390181 w 4537577"/>
                <a:gd name="connsiteY2" fmla="*/ 1175993 h 4196198"/>
                <a:gd name="connsiteX3" fmla="*/ 3390181 w 4537577"/>
                <a:gd name="connsiteY3" fmla="*/ 304725 h 4196198"/>
                <a:gd name="connsiteX4" fmla="*/ 3976777 w 4537577"/>
                <a:gd name="connsiteY4" fmla="*/ 304725 h 4196198"/>
                <a:gd name="connsiteX5" fmla="*/ 3950898 w 4537577"/>
                <a:gd name="connsiteY5" fmla="*/ 1477917 h 4196198"/>
                <a:gd name="connsiteX6" fmla="*/ 4537494 w 4537577"/>
                <a:gd name="connsiteY6" fmla="*/ 2021382 h 4196198"/>
                <a:gd name="connsiteX7" fmla="*/ 3994030 w 4537577"/>
                <a:gd name="connsiteY7" fmla="*/ 2055887 h 4196198"/>
                <a:gd name="connsiteX8" fmla="*/ 3976777 w 4537577"/>
                <a:gd name="connsiteY8" fmla="*/ 4048589 h 4196198"/>
                <a:gd name="connsiteX9" fmla="*/ 2838091 w 4537577"/>
                <a:gd name="connsiteY9" fmla="*/ 4065842 h 4196198"/>
                <a:gd name="connsiteX10" fmla="*/ 2820838 w 4537577"/>
                <a:gd name="connsiteY10" fmla="*/ 2030008 h 4196198"/>
                <a:gd name="connsiteX11" fmla="*/ 1716657 w 4537577"/>
                <a:gd name="connsiteY11" fmla="*/ 2030008 h 4196198"/>
                <a:gd name="connsiteX12" fmla="*/ 1690777 w 4537577"/>
                <a:gd name="connsiteY12" fmla="*/ 4065842 h 4196198"/>
                <a:gd name="connsiteX13" fmla="*/ 560717 w 4537577"/>
                <a:gd name="connsiteY13" fmla="*/ 4031336 h 4196198"/>
                <a:gd name="connsiteX14" fmla="*/ 560717 w 4537577"/>
                <a:gd name="connsiteY14" fmla="*/ 2030008 h 4196198"/>
                <a:gd name="connsiteX15" fmla="*/ 0 w 4537577"/>
                <a:gd name="connsiteY15" fmla="*/ 2038634 h 4196198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76777 w 4537577"/>
                <a:gd name="connsiteY8" fmla="*/ 4048589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76777 w 4537577"/>
                <a:gd name="connsiteY8" fmla="*/ 4048589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37577"/>
                <a:gd name="connsiteY0" fmla="*/ 2038634 h 4074468"/>
                <a:gd name="connsiteX1" fmla="*/ 2251494 w 4537577"/>
                <a:gd name="connsiteY1" fmla="*/ 11427 h 4074468"/>
                <a:gd name="connsiteX2" fmla="*/ 3390181 w 4537577"/>
                <a:gd name="connsiteY2" fmla="*/ 1175993 h 4074468"/>
                <a:gd name="connsiteX3" fmla="*/ 3390181 w 4537577"/>
                <a:gd name="connsiteY3" fmla="*/ 304725 h 4074468"/>
                <a:gd name="connsiteX4" fmla="*/ 3976777 w 4537577"/>
                <a:gd name="connsiteY4" fmla="*/ 304725 h 4074468"/>
                <a:gd name="connsiteX5" fmla="*/ 3950898 w 4537577"/>
                <a:gd name="connsiteY5" fmla="*/ 1477917 h 4074468"/>
                <a:gd name="connsiteX6" fmla="*/ 4537494 w 4537577"/>
                <a:gd name="connsiteY6" fmla="*/ 2021382 h 4074468"/>
                <a:gd name="connsiteX7" fmla="*/ 3994030 w 4537577"/>
                <a:gd name="connsiteY7" fmla="*/ 2055887 h 4074468"/>
                <a:gd name="connsiteX8" fmla="*/ 3994030 w 4537577"/>
                <a:gd name="connsiteY8" fmla="*/ 4074468 h 4074468"/>
                <a:gd name="connsiteX9" fmla="*/ 2838091 w 4537577"/>
                <a:gd name="connsiteY9" fmla="*/ 4065842 h 4074468"/>
                <a:gd name="connsiteX10" fmla="*/ 2820838 w 4537577"/>
                <a:gd name="connsiteY10" fmla="*/ 2030008 h 4074468"/>
                <a:gd name="connsiteX11" fmla="*/ 1716657 w 4537577"/>
                <a:gd name="connsiteY11" fmla="*/ 2030008 h 4074468"/>
                <a:gd name="connsiteX12" fmla="*/ 1690777 w 4537577"/>
                <a:gd name="connsiteY12" fmla="*/ 4065842 h 4074468"/>
                <a:gd name="connsiteX13" fmla="*/ 560717 w 4537577"/>
                <a:gd name="connsiteY13" fmla="*/ 4031336 h 4074468"/>
                <a:gd name="connsiteX14" fmla="*/ 560717 w 4537577"/>
                <a:gd name="connsiteY14" fmla="*/ 2030008 h 4074468"/>
                <a:gd name="connsiteX15" fmla="*/ 0 w 4537577"/>
                <a:gd name="connsiteY15" fmla="*/ 2038634 h 4074468"/>
                <a:gd name="connsiteX0" fmla="*/ 0 w 4537577"/>
                <a:gd name="connsiteY0" fmla="*/ 2038634 h 4074468"/>
                <a:gd name="connsiteX1" fmla="*/ 2251494 w 4537577"/>
                <a:gd name="connsiteY1" fmla="*/ 11427 h 4074468"/>
                <a:gd name="connsiteX2" fmla="*/ 3390181 w 4537577"/>
                <a:gd name="connsiteY2" fmla="*/ 1175993 h 4074468"/>
                <a:gd name="connsiteX3" fmla="*/ 3390181 w 4537577"/>
                <a:gd name="connsiteY3" fmla="*/ 304725 h 4074468"/>
                <a:gd name="connsiteX4" fmla="*/ 3976777 w 4537577"/>
                <a:gd name="connsiteY4" fmla="*/ 304725 h 4074468"/>
                <a:gd name="connsiteX5" fmla="*/ 3950898 w 4537577"/>
                <a:gd name="connsiteY5" fmla="*/ 1477917 h 4074468"/>
                <a:gd name="connsiteX6" fmla="*/ 4537494 w 4537577"/>
                <a:gd name="connsiteY6" fmla="*/ 2021382 h 4074468"/>
                <a:gd name="connsiteX7" fmla="*/ 3994030 w 4537577"/>
                <a:gd name="connsiteY7" fmla="*/ 2055887 h 4074468"/>
                <a:gd name="connsiteX8" fmla="*/ 3994030 w 4537577"/>
                <a:gd name="connsiteY8" fmla="*/ 4074468 h 4074468"/>
                <a:gd name="connsiteX9" fmla="*/ 2838091 w 4537577"/>
                <a:gd name="connsiteY9" fmla="*/ 4065842 h 4074468"/>
                <a:gd name="connsiteX10" fmla="*/ 2820838 w 4537577"/>
                <a:gd name="connsiteY10" fmla="*/ 2030008 h 4074468"/>
                <a:gd name="connsiteX11" fmla="*/ 1716657 w 4537577"/>
                <a:gd name="connsiteY11" fmla="*/ 2030008 h 4074468"/>
                <a:gd name="connsiteX12" fmla="*/ 1690777 w 4537577"/>
                <a:gd name="connsiteY12" fmla="*/ 4065842 h 4074468"/>
                <a:gd name="connsiteX13" fmla="*/ 560717 w 4537577"/>
                <a:gd name="connsiteY13" fmla="*/ 4031336 h 4074468"/>
                <a:gd name="connsiteX14" fmla="*/ 560717 w 4537577"/>
                <a:gd name="connsiteY14" fmla="*/ 2030008 h 4074468"/>
                <a:gd name="connsiteX15" fmla="*/ 0 w 4537577"/>
                <a:gd name="connsiteY15" fmla="*/ 2038634 h 4074468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94030 w 4537577"/>
                <a:gd name="connsiteY8" fmla="*/ 4065841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55887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47260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47260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78099 h 4105307"/>
                <a:gd name="connsiteX1" fmla="*/ 2251494 w 4537494"/>
                <a:gd name="connsiteY1" fmla="*/ 50892 h 4105307"/>
                <a:gd name="connsiteX2" fmla="*/ 3390181 w 4537494"/>
                <a:gd name="connsiteY2" fmla="*/ 1215458 h 4105307"/>
                <a:gd name="connsiteX3" fmla="*/ 3390181 w 4537494"/>
                <a:gd name="connsiteY3" fmla="*/ 344190 h 4105307"/>
                <a:gd name="connsiteX4" fmla="*/ 3976777 w 4537494"/>
                <a:gd name="connsiteY4" fmla="*/ 344190 h 4105307"/>
                <a:gd name="connsiteX5" fmla="*/ 3950898 w 4537494"/>
                <a:gd name="connsiteY5" fmla="*/ 1517382 h 4105307"/>
                <a:gd name="connsiteX6" fmla="*/ 4537494 w 4537494"/>
                <a:gd name="connsiteY6" fmla="*/ 2060847 h 4105307"/>
                <a:gd name="connsiteX7" fmla="*/ 3994030 w 4537494"/>
                <a:gd name="connsiteY7" fmla="*/ 2086725 h 4105307"/>
                <a:gd name="connsiteX8" fmla="*/ 3994030 w 4537494"/>
                <a:gd name="connsiteY8" fmla="*/ 4105306 h 4105307"/>
                <a:gd name="connsiteX9" fmla="*/ 2838091 w 4537494"/>
                <a:gd name="connsiteY9" fmla="*/ 4105307 h 4105307"/>
                <a:gd name="connsiteX10" fmla="*/ 2820838 w 4537494"/>
                <a:gd name="connsiteY10" fmla="*/ 2069473 h 4105307"/>
                <a:gd name="connsiteX11" fmla="*/ 1716657 w 4537494"/>
                <a:gd name="connsiteY11" fmla="*/ 2069473 h 4105307"/>
                <a:gd name="connsiteX12" fmla="*/ 1690777 w 4537494"/>
                <a:gd name="connsiteY12" fmla="*/ 4105307 h 4105307"/>
                <a:gd name="connsiteX13" fmla="*/ 560717 w 4537494"/>
                <a:gd name="connsiteY13" fmla="*/ 4070801 h 4105307"/>
                <a:gd name="connsiteX14" fmla="*/ 560717 w 4537494"/>
                <a:gd name="connsiteY14" fmla="*/ 2069473 h 4105307"/>
                <a:gd name="connsiteX15" fmla="*/ 0 w 4537494"/>
                <a:gd name="connsiteY15" fmla="*/ 2078099 h 4105307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64566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76778 w 4537494"/>
                <a:gd name="connsiteY5" fmla="*/ 1500996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37494" h="4054415">
                  <a:moveTo>
                    <a:pt x="0" y="2027207"/>
                  </a:moveTo>
                  <a:cubicBezTo>
                    <a:pt x="2281687" y="-41695"/>
                    <a:pt x="-73325" y="2084717"/>
                    <a:pt x="2251494" y="0"/>
                  </a:cubicBezTo>
                  <a:cubicBezTo>
                    <a:pt x="3472131" y="1193321"/>
                    <a:pt x="2173856" y="-83389"/>
                    <a:pt x="3390181" y="1112807"/>
                  </a:cubicBezTo>
                  <a:cubicBezTo>
                    <a:pt x="3390181" y="48882"/>
                    <a:pt x="3387306" y="1378788"/>
                    <a:pt x="3390181" y="293298"/>
                  </a:cubicBezTo>
                  <a:cubicBezTo>
                    <a:pt x="4333335" y="311989"/>
                    <a:pt x="3305354" y="270295"/>
                    <a:pt x="3976777" y="293298"/>
                  </a:cubicBezTo>
                  <a:cubicBezTo>
                    <a:pt x="3958086" y="1653396"/>
                    <a:pt x="3969590" y="257354"/>
                    <a:pt x="3976778" y="1500996"/>
                  </a:cubicBezTo>
                  <a:cubicBezTo>
                    <a:pt x="4751718" y="2209799"/>
                    <a:pt x="3917830" y="1449238"/>
                    <a:pt x="4537494" y="2009955"/>
                  </a:cubicBezTo>
                  <a:cubicBezTo>
                    <a:pt x="3820065" y="2027208"/>
                    <a:pt x="4766094" y="2022893"/>
                    <a:pt x="3994030" y="2035833"/>
                  </a:cubicBezTo>
                  <a:cubicBezTo>
                    <a:pt x="3989717" y="4222629"/>
                    <a:pt x="3971026" y="1959634"/>
                    <a:pt x="3994030" y="4054414"/>
                  </a:cubicBezTo>
                  <a:cubicBezTo>
                    <a:pt x="2792084" y="4044349"/>
                    <a:pt x="4221194" y="4028536"/>
                    <a:pt x="2838091" y="4054415"/>
                  </a:cubicBezTo>
                  <a:cubicBezTo>
                    <a:pt x="2826588" y="1958196"/>
                    <a:pt x="2835216" y="4247072"/>
                    <a:pt x="2820838" y="2018581"/>
                  </a:cubicBezTo>
                  <a:cubicBezTo>
                    <a:pt x="1572882" y="2015705"/>
                    <a:pt x="2957423" y="2015705"/>
                    <a:pt x="1716657" y="2018581"/>
                  </a:cubicBezTo>
                  <a:cubicBezTo>
                    <a:pt x="1692216" y="4298831"/>
                    <a:pt x="1719532" y="2012830"/>
                    <a:pt x="1690777" y="4054415"/>
                  </a:cubicBezTo>
                  <a:cubicBezTo>
                    <a:pt x="462950" y="4017034"/>
                    <a:pt x="1843177" y="4032848"/>
                    <a:pt x="560717" y="4019909"/>
                  </a:cubicBezTo>
                  <a:cubicBezTo>
                    <a:pt x="563592" y="1953883"/>
                    <a:pt x="543465" y="4153619"/>
                    <a:pt x="560717" y="2018581"/>
                  </a:cubicBezTo>
                  <a:cubicBezTo>
                    <a:pt x="25879" y="2022894"/>
                    <a:pt x="737558" y="1999890"/>
                    <a:pt x="0" y="2027207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0351301" y="43580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7176844" y="3035568"/>
            <a:ext cx="792000" cy="792000"/>
            <a:chOff x="4673186" y="-1386126"/>
            <a:chExt cx="792000" cy="792000"/>
          </a:xfrm>
        </p:grpSpPr>
        <p:sp>
          <p:nvSpPr>
            <p:cNvPr id="44" name="Freeform 119"/>
            <p:cNvSpPr>
              <a:spLocks noChangeAspect="1" noEditPoints="1"/>
            </p:cNvSpPr>
            <p:nvPr/>
          </p:nvSpPr>
          <p:spPr bwMode="auto">
            <a:xfrm>
              <a:off x="4704967" y="-1330799"/>
              <a:ext cx="728438" cy="681346"/>
            </a:xfrm>
            <a:custGeom>
              <a:avLst/>
              <a:gdLst>
                <a:gd name="T0" fmla="*/ 1438 w 2955"/>
                <a:gd name="T1" fmla="*/ 1625 h 2764"/>
                <a:gd name="T2" fmla="*/ 0 w 2955"/>
                <a:gd name="T3" fmla="*/ 1779 h 2764"/>
                <a:gd name="T4" fmla="*/ 845 w 2955"/>
                <a:gd name="T5" fmla="*/ 1531 h 2764"/>
                <a:gd name="T6" fmla="*/ 1438 w 2955"/>
                <a:gd name="T7" fmla="*/ 2764 h 2764"/>
                <a:gd name="T8" fmla="*/ 2955 w 2955"/>
                <a:gd name="T9" fmla="*/ 0 h 2764"/>
                <a:gd name="T10" fmla="*/ 1977 w 2955"/>
                <a:gd name="T11" fmla="*/ 2339 h 2764"/>
                <a:gd name="T12" fmla="*/ 1764 w 2955"/>
                <a:gd name="T13" fmla="*/ 2126 h 2764"/>
                <a:gd name="T14" fmla="*/ 1977 w 2955"/>
                <a:gd name="T15" fmla="*/ 2339 h 2764"/>
                <a:gd name="T16" fmla="*/ 1764 w 2955"/>
                <a:gd name="T17" fmla="*/ 1913 h 2764"/>
                <a:gd name="T18" fmla="*/ 1977 w 2955"/>
                <a:gd name="T19" fmla="*/ 1701 h 2764"/>
                <a:gd name="T20" fmla="*/ 1977 w 2955"/>
                <a:gd name="T21" fmla="*/ 1488 h 2764"/>
                <a:gd name="T22" fmla="*/ 1764 w 2955"/>
                <a:gd name="T23" fmla="*/ 1276 h 2764"/>
                <a:gd name="T24" fmla="*/ 1977 w 2955"/>
                <a:gd name="T25" fmla="*/ 1488 h 2764"/>
                <a:gd name="T26" fmla="*/ 1764 w 2955"/>
                <a:gd name="T27" fmla="*/ 1063 h 2764"/>
                <a:gd name="T28" fmla="*/ 1977 w 2955"/>
                <a:gd name="T29" fmla="*/ 850 h 2764"/>
                <a:gd name="T30" fmla="*/ 1977 w 2955"/>
                <a:gd name="T31" fmla="*/ 638 h 2764"/>
                <a:gd name="T32" fmla="*/ 1764 w 2955"/>
                <a:gd name="T33" fmla="*/ 425 h 2764"/>
                <a:gd name="T34" fmla="*/ 1977 w 2955"/>
                <a:gd name="T35" fmla="*/ 638 h 2764"/>
                <a:gd name="T36" fmla="*/ 2090 w 2955"/>
                <a:gd name="T37" fmla="*/ 2339 h 2764"/>
                <a:gd name="T38" fmla="*/ 2303 w 2955"/>
                <a:gd name="T39" fmla="*/ 2126 h 2764"/>
                <a:gd name="T40" fmla="*/ 2303 w 2955"/>
                <a:gd name="T41" fmla="*/ 1913 h 2764"/>
                <a:gd name="T42" fmla="*/ 2090 w 2955"/>
                <a:gd name="T43" fmla="*/ 1701 h 2764"/>
                <a:gd name="T44" fmla="*/ 2303 w 2955"/>
                <a:gd name="T45" fmla="*/ 1913 h 2764"/>
                <a:gd name="T46" fmla="*/ 2090 w 2955"/>
                <a:gd name="T47" fmla="*/ 1488 h 2764"/>
                <a:gd name="T48" fmla="*/ 2303 w 2955"/>
                <a:gd name="T49" fmla="*/ 1276 h 2764"/>
                <a:gd name="T50" fmla="*/ 2303 w 2955"/>
                <a:gd name="T51" fmla="*/ 1063 h 2764"/>
                <a:gd name="T52" fmla="*/ 2090 w 2955"/>
                <a:gd name="T53" fmla="*/ 850 h 2764"/>
                <a:gd name="T54" fmla="*/ 2303 w 2955"/>
                <a:gd name="T55" fmla="*/ 1063 h 2764"/>
                <a:gd name="T56" fmla="*/ 2090 w 2955"/>
                <a:gd name="T57" fmla="*/ 638 h 2764"/>
                <a:gd name="T58" fmla="*/ 2303 w 2955"/>
                <a:gd name="T59" fmla="*/ 425 h 2764"/>
                <a:gd name="T60" fmla="*/ 2629 w 2955"/>
                <a:gd name="T61" fmla="*/ 2339 h 2764"/>
                <a:gd name="T62" fmla="*/ 2416 w 2955"/>
                <a:gd name="T63" fmla="*/ 2126 h 2764"/>
                <a:gd name="T64" fmla="*/ 2629 w 2955"/>
                <a:gd name="T65" fmla="*/ 2339 h 2764"/>
                <a:gd name="T66" fmla="*/ 2416 w 2955"/>
                <a:gd name="T67" fmla="*/ 1913 h 2764"/>
                <a:gd name="T68" fmla="*/ 2629 w 2955"/>
                <a:gd name="T69" fmla="*/ 1701 h 2764"/>
                <a:gd name="T70" fmla="*/ 2629 w 2955"/>
                <a:gd name="T71" fmla="*/ 1488 h 2764"/>
                <a:gd name="T72" fmla="*/ 2416 w 2955"/>
                <a:gd name="T73" fmla="*/ 1276 h 2764"/>
                <a:gd name="T74" fmla="*/ 2629 w 2955"/>
                <a:gd name="T75" fmla="*/ 1488 h 2764"/>
                <a:gd name="T76" fmla="*/ 2416 w 2955"/>
                <a:gd name="T77" fmla="*/ 1063 h 2764"/>
                <a:gd name="T78" fmla="*/ 2629 w 2955"/>
                <a:gd name="T79" fmla="*/ 850 h 2764"/>
                <a:gd name="T80" fmla="*/ 2629 w 2955"/>
                <a:gd name="T81" fmla="*/ 638 h 2764"/>
                <a:gd name="T82" fmla="*/ 2416 w 2955"/>
                <a:gd name="T83" fmla="*/ 425 h 2764"/>
                <a:gd name="T84" fmla="*/ 2629 w 2955"/>
                <a:gd name="T85" fmla="*/ 638 h 2764"/>
                <a:gd name="T86" fmla="*/ 1370 w 2955"/>
                <a:gd name="T87" fmla="*/ 1921 h 2764"/>
                <a:gd name="T88" fmla="*/ 1003 w 2955"/>
                <a:gd name="T89" fmla="*/ 2764 h 2764"/>
                <a:gd name="T90" fmla="*/ 685 w 2955"/>
                <a:gd name="T91" fmla="*/ 2183 h 2764"/>
                <a:gd name="T92" fmla="*/ 318 w 2955"/>
                <a:gd name="T93" fmla="*/ 2764 h 2764"/>
                <a:gd name="T94" fmla="*/ 845 w 2955"/>
                <a:gd name="T95" fmla="*/ 1602 h 2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55" h="2764">
                  <a:moveTo>
                    <a:pt x="1438" y="0"/>
                  </a:moveTo>
                  <a:lnTo>
                    <a:pt x="1438" y="1625"/>
                  </a:lnTo>
                  <a:lnTo>
                    <a:pt x="845" y="1266"/>
                  </a:lnTo>
                  <a:lnTo>
                    <a:pt x="0" y="1779"/>
                  </a:lnTo>
                  <a:lnTo>
                    <a:pt x="134" y="1961"/>
                  </a:lnTo>
                  <a:lnTo>
                    <a:pt x="845" y="1531"/>
                  </a:lnTo>
                  <a:lnTo>
                    <a:pt x="1438" y="1890"/>
                  </a:lnTo>
                  <a:lnTo>
                    <a:pt x="1438" y="2764"/>
                  </a:lnTo>
                  <a:lnTo>
                    <a:pt x="2955" y="2764"/>
                  </a:lnTo>
                  <a:lnTo>
                    <a:pt x="2955" y="0"/>
                  </a:lnTo>
                  <a:lnTo>
                    <a:pt x="1438" y="0"/>
                  </a:lnTo>
                  <a:close/>
                  <a:moveTo>
                    <a:pt x="1977" y="2339"/>
                  </a:moveTo>
                  <a:lnTo>
                    <a:pt x="1764" y="2339"/>
                  </a:lnTo>
                  <a:lnTo>
                    <a:pt x="1764" y="2126"/>
                  </a:lnTo>
                  <a:lnTo>
                    <a:pt x="1977" y="2126"/>
                  </a:lnTo>
                  <a:lnTo>
                    <a:pt x="1977" y="2339"/>
                  </a:lnTo>
                  <a:close/>
                  <a:moveTo>
                    <a:pt x="1977" y="1913"/>
                  </a:moveTo>
                  <a:lnTo>
                    <a:pt x="1764" y="1913"/>
                  </a:lnTo>
                  <a:lnTo>
                    <a:pt x="1764" y="1701"/>
                  </a:lnTo>
                  <a:lnTo>
                    <a:pt x="1977" y="1701"/>
                  </a:lnTo>
                  <a:lnTo>
                    <a:pt x="1977" y="1913"/>
                  </a:lnTo>
                  <a:close/>
                  <a:moveTo>
                    <a:pt x="1977" y="1488"/>
                  </a:moveTo>
                  <a:lnTo>
                    <a:pt x="1764" y="1488"/>
                  </a:lnTo>
                  <a:lnTo>
                    <a:pt x="1764" y="1276"/>
                  </a:lnTo>
                  <a:lnTo>
                    <a:pt x="1977" y="1276"/>
                  </a:lnTo>
                  <a:lnTo>
                    <a:pt x="1977" y="1488"/>
                  </a:lnTo>
                  <a:close/>
                  <a:moveTo>
                    <a:pt x="1977" y="1063"/>
                  </a:moveTo>
                  <a:lnTo>
                    <a:pt x="1764" y="1063"/>
                  </a:lnTo>
                  <a:lnTo>
                    <a:pt x="1764" y="850"/>
                  </a:lnTo>
                  <a:lnTo>
                    <a:pt x="1977" y="850"/>
                  </a:lnTo>
                  <a:lnTo>
                    <a:pt x="1977" y="1063"/>
                  </a:lnTo>
                  <a:close/>
                  <a:moveTo>
                    <a:pt x="1977" y="638"/>
                  </a:moveTo>
                  <a:lnTo>
                    <a:pt x="1764" y="638"/>
                  </a:lnTo>
                  <a:lnTo>
                    <a:pt x="1764" y="425"/>
                  </a:lnTo>
                  <a:lnTo>
                    <a:pt x="1977" y="425"/>
                  </a:lnTo>
                  <a:lnTo>
                    <a:pt x="1977" y="638"/>
                  </a:lnTo>
                  <a:close/>
                  <a:moveTo>
                    <a:pt x="2303" y="2339"/>
                  </a:moveTo>
                  <a:lnTo>
                    <a:pt x="2090" y="2339"/>
                  </a:lnTo>
                  <a:lnTo>
                    <a:pt x="2090" y="2126"/>
                  </a:lnTo>
                  <a:lnTo>
                    <a:pt x="2303" y="2126"/>
                  </a:lnTo>
                  <a:lnTo>
                    <a:pt x="2303" y="2339"/>
                  </a:lnTo>
                  <a:close/>
                  <a:moveTo>
                    <a:pt x="2303" y="1913"/>
                  </a:moveTo>
                  <a:lnTo>
                    <a:pt x="2090" y="1913"/>
                  </a:lnTo>
                  <a:lnTo>
                    <a:pt x="2090" y="1701"/>
                  </a:lnTo>
                  <a:lnTo>
                    <a:pt x="2303" y="1701"/>
                  </a:lnTo>
                  <a:lnTo>
                    <a:pt x="2303" y="1913"/>
                  </a:lnTo>
                  <a:close/>
                  <a:moveTo>
                    <a:pt x="2303" y="1488"/>
                  </a:moveTo>
                  <a:lnTo>
                    <a:pt x="2090" y="1488"/>
                  </a:lnTo>
                  <a:lnTo>
                    <a:pt x="2090" y="1276"/>
                  </a:lnTo>
                  <a:lnTo>
                    <a:pt x="2303" y="1276"/>
                  </a:lnTo>
                  <a:lnTo>
                    <a:pt x="2303" y="1488"/>
                  </a:lnTo>
                  <a:close/>
                  <a:moveTo>
                    <a:pt x="2303" y="1063"/>
                  </a:moveTo>
                  <a:lnTo>
                    <a:pt x="2090" y="1063"/>
                  </a:lnTo>
                  <a:lnTo>
                    <a:pt x="2090" y="850"/>
                  </a:lnTo>
                  <a:lnTo>
                    <a:pt x="2303" y="850"/>
                  </a:lnTo>
                  <a:lnTo>
                    <a:pt x="2303" y="1063"/>
                  </a:lnTo>
                  <a:close/>
                  <a:moveTo>
                    <a:pt x="2303" y="638"/>
                  </a:moveTo>
                  <a:lnTo>
                    <a:pt x="2090" y="638"/>
                  </a:lnTo>
                  <a:lnTo>
                    <a:pt x="2090" y="425"/>
                  </a:lnTo>
                  <a:lnTo>
                    <a:pt x="2303" y="425"/>
                  </a:lnTo>
                  <a:lnTo>
                    <a:pt x="2303" y="638"/>
                  </a:lnTo>
                  <a:close/>
                  <a:moveTo>
                    <a:pt x="2629" y="2339"/>
                  </a:moveTo>
                  <a:lnTo>
                    <a:pt x="2416" y="2339"/>
                  </a:lnTo>
                  <a:lnTo>
                    <a:pt x="2416" y="2126"/>
                  </a:lnTo>
                  <a:lnTo>
                    <a:pt x="2629" y="2126"/>
                  </a:lnTo>
                  <a:lnTo>
                    <a:pt x="2629" y="2339"/>
                  </a:lnTo>
                  <a:close/>
                  <a:moveTo>
                    <a:pt x="2629" y="1913"/>
                  </a:moveTo>
                  <a:lnTo>
                    <a:pt x="2416" y="1913"/>
                  </a:lnTo>
                  <a:lnTo>
                    <a:pt x="2416" y="1701"/>
                  </a:lnTo>
                  <a:lnTo>
                    <a:pt x="2629" y="1701"/>
                  </a:lnTo>
                  <a:lnTo>
                    <a:pt x="2629" y="1913"/>
                  </a:lnTo>
                  <a:close/>
                  <a:moveTo>
                    <a:pt x="2629" y="1488"/>
                  </a:moveTo>
                  <a:lnTo>
                    <a:pt x="2416" y="1488"/>
                  </a:lnTo>
                  <a:lnTo>
                    <a:pt x="2416" y="1276"/>
                  </a:lnTo>
                  <a:lnTo>
                    <a:pt x="2629" y="1276"/>
                  </a:lnTo>
                  <a:lnTo>
                    <a:pt x="2629" y="1488"/>
                  </a:lnTo>
                  <a:close/>
                  <a:moveTo>
                    <a:pt x="2629" y="1063"/>
                  </a:moveTo>
                  <a:lnTo>
                    <a:pt x="2416" y="1063"/>
                  </a:lnTo>
                  <a:lnTo>
                    <a:pt x="2416" y="850"/>
                  </a:lnTo>
                  <a:lnTo>
                    <a:pt x="2629" y="850"/>
                  </a:lnTo>
                  <a:lnTo>
                    <a:pt x="2629" y="1063"/>
                  </a:lnTo>
                  <a:close/>
                  <a:moveTo>
                    <a:pt x="2629" y="638"/>
                  </a:moveTo>
                  <a:lnTo>
                    <a:pt x="2416" y="638"/>
                  </a:lnTo>
                  <a:lnTo>
                    <a:pt x="2416" y="425"/>
                  </a:lnTo>
                  <a:lnTo>
                    <a:pt x="2629" y="425"/>
                  </a:lnTo>
                  <a:lnTo>
                    <a:pt x="2629" y="638"/>
                  </a:lnTo>
                  <a:close/>
                  <a:moveTo>
                    <a:pt x="845" y="1602"/>
                  </a:moveTo>
                  <a:lnTo>
                    <a:pt x="1370" y="1921"/>
                  </a:lnTo>
                  <a:lnTo>
                    <a:pt x="1370" y="2764"/>
                  </a:lnTo>
                  <a:lnTo>
                    <a:pt x="1003" y="2764"/>
                  </a:lnTo>
                  <a:lnTo>
                    <a:pt x="1003" y="2183"/>
                  </a:lnTo>
                  <a:lnTo>
                    <a:pt x="685" y="2183"/>
                  </a:lnTo>
                  <a:lnTo>
                    <a:pt x="685" y="2764"/>
                  </a:lnTo>
                  <a:lnTo>
                    <a:pt x="318" y="2764"/>
                  </a:lnTo>
                  <a:lnTo>
                    <a:pt x="318" y="1921"/>
                  </a:lnTo>
                  <a:lnTo>
                    <a:pt x="845" y="1602"/>
                  </a:ln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68" tIns="143256" rIns="179068" bIns="14325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299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673186" y="-138612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8348182" y="3005797"/>
            <a:ext cx="792000" cy="792000"/>
            <a:chOff x="1918376" y="-1309538"/>
            <a:chExt cx="792000" cy="792000"/>
          </a:xfrm>
        </p:grpSpPr>
        <p:sp>
          <p:nvSpPr>
            <p:cNvPr id="47" name="Rectangle 73"/>
            <p:cNvSpPr/>
            <p:nvPr/>
          </p:nvSpPr>
          <p:spPr bwMode="auto">
            <a:xfrm rot="5400000">
              <a:off x="2117502" y="-1263931"/>
              <a:ext cx="393748" cy="700786"/>
            </a:xfrm>
            <a:custGeom>
              <a:avLst/>
              <a:gdLst/>
              <a:ahLst/>
              <a:cxnLst/>
              <a:rect l="l" t="t" r="r" b="b"/>
              <a:pathLst>
                <a:path w="1906013" h="2081213">
                  <a:moveTo>
                    <a:pt x="1447225" y="473849"/>
                  </a:moveTo>
                  <a:lnTo>
                    <a:pt x="1906012" y="473849"/>
                  </a:lnTo>
                  <a:lnTo>
                    <a:pt x="1906012" y="225142"/>
                  </a:lnTo>
                  <a:lnTo>
                    <a:pt x="1447225" y="225142"/>
                  </a:lnTo>
                  <a:close/>
                  <a:moveTo>
                    <a:pt x="1256359" y="1719312"/>
                  </a:moveTo>
                  <a:lnTo>
                    <a:pt x="1375231" y="1719312"/>
                  </a:lnTo>
                  <a:lnTo>
                    <a:pt x="1375231" y="1534257"/>
                  </a:lnTo>
                  <a:lnTo>
                    <a:pt x="1256359" y="1534257"/>
                  </a:lnTo>
                  <a:close/>
                  <a:moveTo>
                    <a:pt x="1256359" y="1956654"/>
                  </a:moveTo>
                  <a:lnTo>
                    <a:pt x="1375231" y="1956654"/>
                  </a:lnTo>
                  <a:lnTo>
                    <a:pt x="1375231" y="1771599"/>
                  </a:lnTo>
                  <a:lnTo>
                    <a:pt x="1256359" y="1771599"/>
                  </a:lnTo>
                  <a:close/>
                  <a:moveTo>
                    <a:pt x="1250439" y="315966"/>
                  </a:moveTo>
                  <a:lnTo>
                    <a:pt x="1369311" y="315966"/>
                  </a:lnTo>
                  <a:lnTo>
                    <a:pt x="1369311" y="130911"/>
                  </a:lnTo>
                  <a:lnTo>
                    <a:pt x="1250439" y="130911"/>
                  </a:lnTo>
                  <a:close/>
                  <a:moveTo>
                    <a:pt x="1250439" y="553308"/>
                  </a:moveTo>
                  <a:lnTo>
                    <a:pt x="1369311" y="553308"/>
                  </a:lnTo>
                  <a:lnTo>
                    <a:pt x="1369311" y="368253"/>
                  </a:lnTo>
                  <a:lnTo>
                    <a:pt x="1250439" y="368253"/>
                  </a:lnTo>
                  <a:close/>
                  <a:moveTo>
                    <a:pt x="1242568" y="1014462"/>
                  </a:moveTo>
                  <a:lnTo>
                    <a:pt x="1361440" y="1014462"/>
                  </a:lnTo>
                  <a:lnTo>
                    <a:pt x="1361440" y="829407"/>
                  </a:lnTo>
                  <a:lnTo>
                    <a:pt x="1242568" y="829407"/>
                  </a:lnTo>
                  <a:close/>
                  <a:moveTo>
                    <a:pt x="1242568" y="1251804"/>
                  </a:moveTo>
                  <a:lnTo>
                    <a:pt x="1361440" y="1251804"/>
                  </a:lnTo>
                  <a:lnTo>
                    <a:pt x="1361440" y="1066749"/>
                  </a:lnTo>
                  <a:lnTo>
                    <a:pt x="1242568" y="1066749"/>
                  </a:lnTo>
                  <a:close/>
                  <a:moveTo>
                    <a:pt x="1052142" y="1719312"/>
                  </a:moveTo>
                  <a:lnTo>
                    <a:pt x="1171014" y="1719312"/>
                  </a:lnTo>
                  <a:lnTo>
                    <a:pt x="1171014" y="1534257"/>
                  </a:lnTo>
                  <a:lnTo>
                    <a:pt x="1052142" y="1534257"/>
                  </a:lnTo>
                  <a:close/>
                  <a:moveTo>
                    <a:pt x="1052142" y="1956654"/>
                  </a:moveTo>
                  <a:lnTo>
                    <a:pt x="1171014" y="1956654"/>
                  </a:lnTo>
                  <a:lnTo>
                    <a:pt x="1171014" y="1771599"/>
                  </a:lnTo>
                  <a:lnTo>
                    <a:pt x="1052142" y="1771599"/>
                  </a:lnTo>
                  <a:close/>
                  <a:moveTo>
                    <a:pt x="1040908" y="315966"/>
                  </a:moveTo>
                  <a:lnTo>
                    <a:pt x="1159780" y="315966"/>
                  </a:lnTo>
                  <a:lnTo>
                    <a:pt x="1159780" y="130911"/>
                  </a:lnTo>
                  <a:lnTo>
                    <a:pt x="1040908" y="130911"/>
                  </a:lnTo>
                  <a:close/>
                  <a:moveTo>
                    <a:pt x="1040908" y="553308"/>
                  </a:moveTo>
                  <a:lnTo>
                    <a:pt x="1159780" y="553308"/>
                  </a:lnTo>
                  <a:lnTo>
                    <a:pt x="1159780" y="368253"/>
                  </a:lnTo>
                  <a:lnTo>
                    <a:pt x="1040908" y="368253"/>
                  </a:lnTo>
                  <a:close/>
                  <a:moveTo>
                    <a:pt x="1038352" y="1014462"/>
                  </a:moveTo>
                  <a:lnTo>
                    <a:pt x="1157224" y="1014462"/>
                  </a:lnTo>
                  <a:lnTo>
                    <a:pt x="1157224" y="829407"/>
                  </a:lnTo>
                  <a:lnTo>
                    <a:pt x="1038352" y="829407"/>
                  </a:lnTo>
                  <a:close/>
                  <a:moveTo>
                    <a:pt x="1038352" y="1251804"/>
                  </a:moveTo>
                  <a:lnTo>
                    <a:pt x="1157224" y="1251804"/>
                  </a:lnTo>
                  <a:lnTo>
                    <a:pt x="1157224" y="1066749"/>
                  </a:lnTo>
                  <a:lnTo>
                    <a:pt x="1038352" y="1066749"/>
                  </a:lnTo>
                  <a:close/>
                  <a:moveTo>
                    <a:pt x="847926" y="1719312"/>
                  </a:moveTo>
                  <a:lnTo>
                    <a:pt x="966798" y="1719312"/>
                  </a:lnTo>
                  <a:lnTo>
                    <a:pt x="966798" y="1534257"/>
                  </a:lnTo>
                  <a:lnTo>
                    <a:pt x="847926" y="1534257"/>
                  </a:lnTo>
                  <a:close/>
                  <a:moveTo>
                    <a:pt x="847926" y="1956654"/>
                  </a:moveTo>
                  <a:lnTo>
                    <a:pt x="966798" y="1956654"/>
                  </a:lnTo>
                  <a:lnTo>
                    <a:pt x="966798" y="1771599"/>
                  </a:lnTo>
                  <a:lnTo>
                    <a:pt x="847926" y="1771599"/>
                  </a:lnTo>
                  <a:close/>
                  <a:moveTo>
                    <a:pt x="834136" y="1014462"/>
                  </a:moveTo>
                  <a:lnTo>
                    <a:pt x="953008" y="1014462"/>
                  </a:lnTo>
                  <a:lnTo>
                    <a:pt x="953008" y="829407"/>
                  </a:lnTo>
                  <a:lnTo>
                    <a:pt x="834136" y="829407"/>
                  </a:lnTo>
                  <a:close/>
                  <a:moveTo>
                    <a:pt x="834136" y="1251804"/>
                  </a:moveTo>
                  <a:lnTo>
                    <a:pt x="953008" y="1251804"/>
                  </a:lnTo>
                  <a:lnTo>
                    <a:pt x="953008" y="1066749"/>
                  </a:lnTo>
                  <a:lnTo>
                    <a:pt x="834136" y="1066749"/>
                  </a:lnTo>
                  <a:close/>
                  <a:moveTo>
                    <a:pt x="831377" y="315966"/>
                  </a:moveTo>
                  <a:lnTo>
                    <a:pt x="950249" y="315966"/>
                  </a:lnTo>
                  <a:lnTo>
                    <a:pt x="950249" y="130911"/>
                  </a:lnTo>
                  <a:lnTo>
                    <a:pt x="831377" y="130911"/>
                  </a:lnTo>
                  <a:close/>
                  <a:moveTo>
                    <a:pt x="831377" y="553308"/>
                  </a:moveTo>
                  <a:lnTo>
                    <a:pt x="950249" y="553308"/>
                  </a:lnTo>
                  <a:lnTo>
                    <a:pt x="950249" y="368253"/>
                  </a:lnTo>
                  <a:lnTo>
                    <a:pt x="831377" y="368253"/>
                  </a:lnTo>
                  <a:close/>
                  <a:moveTo>
                    <a:pt x="737560" y="1376363"/>
                  </a:moveTo>
                  <a:lnTo>
                    <a:pt x="737560" y="704850"/>
                  </a:lnTo>
                  <a:lnTo>
                    <a:pt x="1906013" y="704850"/>
                  </a:lnTo>
                  <a:lnTo>
                    <a:pt x="1906013" y="916252"/>
                  </a:lnTo>
                  <a:lnTo>
                    <a:pt x="1447226" y="916252"/>
                  </a:lnTo>
                  <a:lnTo>
                    <a:pt x="1447226" y="1164960"/>
                  </a:lnTo>
                  <a:lnTo>
                    <a:pt x="1906013" y="1164960"/>
                  </a:lnTo>
                  <a:lnTo>
                    <a:pt x="1906013" y="1376363"/>
                  </a:lnTo>
                  <a:close/>
                  <a:moveTo>
                    <a:pt x="643710" y="1719312"/>
                  </a:moveTo>
                  <a:lnTo>
                    <a:pt x="762582" y="1719312"/>
                  </a:lnTo>
                  <a:lnTo>
                    <a:pt x="762582" y="1534257"/>
                  </a:lnTo>
                  <a:lnTo>
                    <a:pt x="643710" y="1534257"/>
                  </a:lnTo>
                  <a:close/>
                  <a:moveTo>
                    <a:pt x="643710" y="1956654"/>
                  </a:moveTo>
                  <a:lnTo>
                    <a:pt x="762582" y="1956654"/>
                  </a:lnTo>
                  <a:lnTo>
                    <a:pt x="762582" y="1771599"/>
                  </a:lnTo>
                  <a:lnTo>
                    <a:pt x="643710" y="1771599"/>
                  </a:lnTo>
                  <a:close/>
                  <a:moveTo>
                    <a:pt x="621846" y="315966"/>
                  </a:moveTo>
                  <a:lnTo>
                    <a:pt x="740718" y="315966"/>
                  </a:lnTo>
                  <a:lnTo>
                    <a:pt x="740718" y="130911"/>
                  </a:lnTo>
                  <a:lnTo>
                    <a:pt x="621846" y="130911"/>
                  </a:lnTo>
                  <a:close/>
                  <a:moveTo>
                    <a:pt x="621846" y="553308"/>
                  </a:moveTo>
                  <a:lnTo>
                    <a:pt x="740718" y="553308"/>
                  </a:lnTo>
                  <a:lnTo>
                    <a:pt x="740718" y="368253"/>
                  </a:lnTo>
                  <a:lnTo>
                    <a:pt x="621846" y="368253"/>
                  </a:lnTo>
                  <a:close/>
                  <a:moveTo>
                    <a:pt x="467686" y="2081213"/>
                  </a:moveTo>
                  <a:lnTo>
                    <a:pt x="467686" y="1409701"/>
                  </a:lnTo>
                  <a:lnTo>
                    <a:pt x="1906013" y="1409701"/>
                  </a:lnTo>
                  <a:lnTo>
                    <a:pt x="1906013" y="1621103"/>
                  </a:lnTo>
                  <a:lnTo>
                    <a:pt x="1447226" y="1621103"/>
                  </a:lnTo>
                  <a:lnTo>
                    <a:pt x="1447226" y="1869810"/>
                  </a:lnTo>
                  <a:lnTo>
                    <a:pt x="1906013" y="1869810"/>
                  </a:lnTo>
                  <a:lnTo>
                    <a:pt x="1906013" y="2081213"/>
                  </a:lnTo>
                  <a:close/>
                  <a:moveTo>
                    <a:pt x="412315" y="315966"/>
                  </a:moveTo>
                  <a:lnTo>
                    <a:pt x="531187" y="315966"/>
                  </a:lnTo>
                  <a:lnTo>
                    <a:pt x="531187" y="130911"/>
                  </a:lnTo>
                  <a:lnTo>
                    <a:pt x="412315" y="130911"/>
                  </a:lnTo>
                  <a:close/>
                  <a:moveTo>
                    <a:pt x="412315" y="553308"/>
                  </a:moveTo>
                  <a:lnTo>
                    <a:pt x="531187" y="553308"/>
                  </a:lnTo>
                  <a:lnTo>
                    <a:pt x="531187" y="368253"/>
                  </a:lnTo>
                  <a:lnTo>
                    <a:pt x="412315" y="368253"/>
                  </a:lnTo>
                  <a:close/>
                  <a:moveTo>
                    <a:pt x="202784" y="315966"/>
                  </a:moveTo>
                  <a:lnTo>
                    <a:pt x="321656" y="315966"/>
                  </a:lnTo>
                  <a:lnTo>
                    <a:pt x="321656" y="130911"/>
                  </a:lnTo>
                  <a:lnTo>
                    <a:pt x="202784" y="130911"/>
                  </a:lnTo>
                  <a:close/>
                  <a:moveTo>
                    <a:pt x="202784" y="553308"/>
                  </a:moveTo>
                  <a:lnTo>
                    <a:pt x="321656" y="553308"/>
                  </a:lnTo>
                  <a:lnTo>
                    <a:pt x="321656" y="368253"/>
                  </a:lnTo>
                  <a:lnTo>
                    <a:pt x="202784" y="368253"/>
                  </a:lnTo>
                  <a:close/>
                  <a:moveTo>
                    <a:pt x="0" y="671512"/>
                  </a:moveTo>
                  <a:lnTo>
                    <a:pt x="0" y="0"/>
                  </a:lnTo>
                  <a:lnTo>
                    <a:pt x="1906013" y="0"/>
                  </a:lnTo>
                  <a:lnTo>
                    <a:pt x="1906013" y="671512"/>
                  </a:lnTo>
                  <a:close/>
                </a:path>
              </a:pathLst>
            </a:custGeom>
            <a:solidFill>
              <a:srgbClr val="007ABD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979" tIns="46489" rIns="46489" bIns="92979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293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1" dirty="0" err="1">
                <a:solidFill>
                  <a:srgbClr val="44546A"/>
                </a:soli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918376" y="-13095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8197135" y="3686632"/>
            <a:ext cx="792000" cy="792000"/>
            <a:chOff x="4985352" y="-1266983"/>
            <a:chExt cx="792000" cy="792000"/>
          </a:xfrm>
        </p:grpSpPr>
        <p:sp>
          <p:nvSpPr>
            <p:cNvPr id="53" name="Freeform 40"/>
            <p:cNvSpPr>
              <a:spLocks noEditPoints="1"/>
            </p:cNvSpPr>
            <p:nvPr/>
          </p:nvSpPr>
          <p:spPr bwMode="auto">
            <a:xfrm>
              <a:off x="5124016" y="-1203867"/>
              <a:ext cx="514673" cy="665769"/>
            </a:xfrm>
            <a:custGeom>
              <a:avLst/>
              <a:gdLst>
                <a:gd name="T0" fmla="*/ 152 w 159"/>
                <a:gd name="T1" fmla="*/ 189 h 196"/>
                <a:gd name="T2" fmla="*/ 143 w 159"/>
                <a:gd name="T3" fmla="*/ 46 h 196"/>
                <a:gd name="T4" fmla="*/ 116 w 159"/>
                <a:gd name="T5" fmla="*/ 49 h 196"/>
                <a:gd name="T6" fmla="*/ 95 w 159"/>
                <a:gd name="T7" fmla="*/ 109 h 196"/>
                <a:gd name="T8" fmla="*/ 93 w 159"/>
                <a:gd name="T9" fmla="*/ 90 h 196"/>
                <a:gd name="T10" fmla="*/ 60 w 159"/>
                <a:gd name="T11" fmla="*/ 106 h 196"/>
                <a:gd name="T12" fmla="*/ 45 w 159"/>
                <a:gd name="T13" fmla="*/ 109 h 196"/>
                <a:gd name="T14" fmla="*/ 43 w 159"/>
                <a:gd name="T15" fmla="*/ 90 h 196"/>
                <a:gd name="T16" fmla="*/ 13 w 159"/>
                <a:gd name="T17" fmla="*/ 106 h 196"/>
                <a:gd name="T18" fmla="*/ 2 w 159"/>
                <a:gd name="T19" fmla="*/ 189 h 196"/>
                <a:gd name="T20" fmla="*/ 0 w 159"/>
                <a:gd name="T21" fmla="*/ 196 h 196"/>
                <a:gd name="T22" fmla="*/ 159 w 159"/>
                <a:gd name="T23" fmla="*/ 191 h 196"/>
                <a:gd name="T24" fmla="*/ 44 w 159"/>
                <a:gd name="T25" fmla="*/ 143 h 196"/>
                <a:gd name="T26" fmla="*/ 27 w 159"/>
                <a:gd name="T27" fmla="*/ 147 h 196"/>
                <a:gd name="T28" fmla="*/ 23 w 159"/>
                <a:gd name="T29" fmla="*/ 130 h 196"/>
                <a:gd name="T30" fmla="*/ 40 w 159"/>
                <a:gd name="T31" fmla="*/ 126 h 196"/>
                <a:gd name="T32" fmla="*/ 44 w 159"/>
                <a:gd name="T33" fmla="*/ 143 h 196"/>
                <a:gd name="T34" fmla="*/ 71 w 159"/>
                <a:gd name="T35" fmla="*/ 147 h 196"/>
                <a:gd name="T36" fmla="*/ 54 w 159"/>
                <a:gd name="T37" fmla="*/ 143 h 196"/>
                <a:gd name="T38" fmla="*/ 57 w 159"/>
                <a:gd name="T39" fmla="*/ 126 h 196"/>
                <a:gd name="T40" fmla="*/ 75 w 159"/>
                <a:gd name="T41" fmla="*/ 130 h 196"/>
                <a:gd name="T42" fmla="*/ 106 w 159"/>
                <a:gd name="T43" fmla="*/ 143 h 196"/>
                <a:gd name="T44" fmla="*/ 88 w 159"/>
                <a:gd name="T45" fmla="*/ 147 h 196"/>
                <a:gd name="T46" fmla="*/ 84 w 159"/>
                <a:gd name="T47" fmla="*/ 130 h 196"/>
                <a:gd name="T48" fmla="*/ 102 w 159"/>
                <a:gd name="T49" fmla="*/ 126 h 196"/>
                <a:gd name="T50" fmla="*/ 106 w 159"/>
                <a:gd name="T51" fmla="*/ 143 h 196"/>
                <a:gd name="T52" fmla="*/ 133 w 159"/>
                <a:gd name="T53" fmla="*/ 147 h 196"/>
                <a:gd name="T54" fmla="*/ 115 w 159"/>
                <a:gd name="T55" fmla="*/ 143 h 196"/>
                <a:gd name="T56" fmla="*/ 119 w 159"/>
                <a:gd name="T57" fmla="*/ 126 h 196"/>
                <a:gd name="T58" fmla="*/ 136 w 159"/>
                <a:gd name="T59" fmla="*/ 130 h 196"/>
                <a:gd name="T60" fmla="*/ 86 w 159"/>
                <a:gd name="T61" fmla="*/ 12 h 196"/>
                <a:gd name="T62" fmla="*/ 113 w 159"/>
                <a:gd name="T63" fmla="*/ 17 h 196"/>
                <a:gd name="T64" fmla="*/ 114 w 159"/>
                <a:gd name="T65" fmla="*/ 17 h 196"/>
                <a:gd name="T66" fmla="*/ 133 w 159"/>
                <a:gd name="T67" fmla="*/ 30 h 196"/>
                <a:gd name="T68" fmla="*/ 138 w 159"/>
                <a:gd name="T69" fmla="*/ 28 h 196"/>
                <a:gd name="T70" fmla="*/ 116 w 159"/>
                <a:gd name="T71" fmla="*/ 10 h 196"/>
                <a:gd name="T72" fmla="*/ 115 w 159"/>
                <a:gd name="T73" fmla="*/ 10 h 196"/>
                <a:gd name="T74" fmla="*/ 114 w 159"/>
                <a:gd name="T75" fmla="*/ 9 h 196"/>
                <a:gd name="T76" fmla="*/ 80 w 159"/>
                <a:gd name="T77" fmla="*/ 1 h 196"/>
                <a:gd name="T78" fmla="*/ 86 w 159"/>
                <a:gd name="T79" fmla="*/ 12 h 196"/>
                <a:gd name="T80" fmla="*/ 92 w 159"/>
                <a:gd name="T81" fmla="*/ 31 h 196"/>
                <a:gd name="T82" fmla="*/ 93 w 159"/>
                <a:gd name="T83" fmla="*/ 31 h 196"/>
                <a:gd name="T84" fmla="*/ 94 w 159"/>
                <a:gd name="T85" fmla="*/ 31 h 196"/>
                <a:gd name="T86" fmla="*/ 115 w 159"/>
                <a:gd name="T87" fmla="*/ 32 h 196"/>
                <a:gd name="T88" fmla="*/ 118 w 159"/>
                <a:gd name="T89" fmla="*/ 28 h 196"/>
                <a:gd name="T90" fmla="*/ 93 w 159"/>
                <a:gd name="T91" fmla="*/ 24 h 196"/>
                <a:gd name="T92" fmla="*/ 92 w 159"/>
                <a:gd name="T93" fmla="*/ 24 h 196"/>
                <a:gd name="T94" fmla="*/ 91 w 159"/>
                <a:gd name="T95" fmla="*/ 24 h 196"/>
                <a:gd name="T96" fmla="*/ 70 w 159"/>
                <a:gd name="T97" fmla="*/ 20 h 196"/>
                <a:gd name="T98" fmla="*/ 67 w 159"/>
                <a:gd name="T99" fmla="*/ 2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9" h="196">
                  <a:moveTo>
                    <a:pt x="157" y="189"/>
                  </a:moveTo>
                  <a:cubicBezTo>
                    <a:pt x="152" y="189"/>
                    <a:pt x="152" y="189"/>
                    <a:pt x="152" y="189"/>
                  </a:cubicBezTo>
                  <a:cubicBezTo>
                    <a:pt x="146" y="49"/>
                    <a:pt x="146" y="49"/>
                    <a:pt x="146" y="49"/>
                  </a:cubicBezTo>
                  <a:cubicBezTo>
                    <a:pt x="146" y="47"/>
                    <a:pt x="145" y="46"/>
                    <a:pt x="143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8" y="46"/>
                    <a:pt x="116" y="47"/>
                    <a:pt x="116" y="49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5" y="90"/>
                    <a:pt x="94" y="89"/>
                    <a:pt x="93" y="90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1" y="102"/>
                    <a:pt x="60" y="104"/>
                    <a:pt x="60" y="106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0"/>
                    <a:pt x="44" y="89"/>
                    <a:pt x="43" y="90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5" y="102"/>
                    <a:pt x="13" y="104"/>
                    <a:pt x="13" y="10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2" y="189"/>
                    <a:pt x="2" y="189"/>
                    <a:pt x="2" y="189"/>
                  </a:cubicBezTo>
                  <a:cubicBezTo>
                    <a:pt x="1" y="189"/>
                    <a:pt x="0" y="190"/>
                    <a:pt x="0" y="19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59" y="196"/>
                    <a:pt x="159" y="196"/>
                    <a:pt x="159" y="196"/>
                  </a:cubicBezTo>
                  <a:cubicBezTo>
                    <a:pt x="159" y="191"/>
                    <a:pt x="159" y="191"/>
                    <a:pt x="159" y="191"/>
                  </a:cubicBezTo>
                  <a:cubicBezTo>
                    <a:pt x="159" y="190"/>
                    <a:pt x="158" y="189"/>
                    <a:pt x="157" y="189"/>
                  </a:cubicBezTo>
                  <a:close/>
                  <a:moveTo>
                    <a:pt x="44" y="143"/>
                  </a:moveTo>
                  <a:cubicBezTo>
                    <a:pt x="44" y="145"/>
                    <a:pt x="42" y="147"/>
                    <a:pt x="40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5" y="147"/>
                    <a:pt x="23" y="145"/>
                    <a:pt x="23" y="143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27"/>
                    <a:pt x="25" y="126"/>
                    <a:pt x="27" y="126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26"/>
                    <a:pt x="44" y="127"/>
                    <a:pt x="44" y="130"/>
                  </a:cubicBezTo>
                  <a:lnTo>
                    <a:pt x="44" y="143"/>
                  </a:lnTo>
                  <a:close/>
                  <a:moveTo>
                    <a:pt x="75" y="143"/>
                  </a:moveTo>
                  <a:cubicBezTo>
                    <a:pt x="75" y="145"/>
                    <a:pt x="73" y="147"/>
                    <a:pt x="71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5" y="147"/>
                    <a:pt x="54" y="145"/>
                    <a:pt x="54" y="143"/>
                  </a:cubicBezTo>
                  <a:cubicBezTo>
                    <a:pt x="54" y="130"/>
                    <a:pt x="54" y="130"/>
                    <a:pt x="54" y="130"/>
                  </a:cubicBezTo>
                  <a:cubicBezTo>
                    <a:pt x="54" y="127"/>
                    <a:pt x="55" y="126"/>
                    <a:pt x="57" y="126"/>
                  </a:cubicBezTo>
                  <a:cubicBezTo>
                    <a:pt x="71" y="126"/>
                    <a:pt x="71" y="126"/>
                    <a:pt x="71" y="126"/>
                  </a:cubicBezTo>
                  <a:cubicBezTo>
                    <a:pt x="73" y="126"/>
                    <a:pt x="75" y="127"/>
                    <a:pt x="75" y="130"/>
                  </a:cubicBezTo>
                  <a:lnTo>
                    <a:pt x="75" y="143"/>
                  </a:lnTo>
                  <a:close/>
                  <a:moveTo>
                    <a:pt x="106" y="143"/>
                  </a:moveTo>
                  <a:cubicBezTo>
                    <a:pt x="106" y="145"/>
                    <a:pt x="104" y="147"/>
                    <a:pt x="102" y="147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86" y="147"/>
                    <a:pt x="84" y="145"/>
                    <a:pt x="84" y="143"/>
                  </a:cubicBezTo>
                  <a:cubicBezTo>
                    <a:pt x="84" y="130"/>
                    <a:pt x="84" y="130"/>
                    <a:pt x="84" y="130"/>
                  </a:cubicBezTo>
                  <a:cubicBezTo>
                    <a:pt x="84" y="127"/>
                    <a:pt x="86" y="126"/>
                    <a:pt x="88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4" y="126"/>
                    <a:pt x="106" y="127"/>
                    <a:pt x="106" y="130"/>
                  </a:cubicBezTo>
                  <a:lnTo>
                    <a:pt x="106" y="143"/>
                  </a:lnTo>
                  <a:close/>
                  <a:moveTo>
                    <a:pt x="136" y="143"/>
                  </a:moveTo>
                  <a:cubicBezTo>
                    <a:pt x="136" y="145"/>
                    <a:pt x="135" y="147"/>
                    <a:pt x="133" y="147"/>
                  </a:cubicBezTo>
                  <a:cubicBezTo>
                    <a:pt x="119" y="147"/>
                    <a:pt x="119" y="147"/>
                    <a:pt x="119" y="147"/>
                  </a:cubicBezTo>
                  <a:cubicBezTo>
                    <a:pt x="117" y="147"/>
                    <a:pt x="115" y="145"/>
                    <a:pt x="115" y="143"/>
                  </a:cubicBezTo>
                  <a:cubicBezTo>
                    <a:pt x="115" y="130"/>
                    <a:pt x="115" y="130"/>
                    <a:pt x="115" y="130"/>
                  </a:cubicBezTo>
                  <a:cubicBezTo>
                    <a:pt x="115" y="127"/>
                    <a:pt x="117" y="126"/>
                    <a:pt x="119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5" y="126"/>
                    <a:pt x="136" y="127"/>
                    <a:pt x="136" y="130"/>
                  </a:cubicBezTo>
                  <a:lnTo>
                    <a:pt x="136" y="143"/>
                  </a:lnTo>
                  <a:close/>
                  <a:moveTo>
                    <a:pt x="86" y="12"/>
                  </a:moveTo>
                  <a:cubicBezTo>
                    <a:pt x="94" y="16"/>
                    <a:pt x="104" y="15"/>
                    <a:pt x="113" y="17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3" y="19"/>
                    <a:pt x="129" y="24"/>
                    <a:pt x="133" y="30"/>
                  </a:cubicBezTo>
                  <a:cubicBezTo>
                    <a:pt x="137" y="36"/>
                    <a:pt x="139" y="40"/>
                    <a:pt x="140" y="40"/>
                  </a:cubicBezTo>
                  <a:cubicBezTo>
                    <a:pt x="141" y="39"/>
                    <a:pt x="141" y="35"/>
                    <a:pt x="138" y="28"/>
                  </a:cubicBezTo>
                  <a:cubicBezTo>
                    <a:pt x="136" y="24"/>
                    <a:pt x="134" y="20"/>
                    <a:pt x="130" y="17"/>
                  </a:cubicBezTo>
                  <a:cubicBezTo>
                    <a:pt x="126" y="13"/>
                    <a:pt x="121" y="11"/>
                    <a:pt x="116" y="10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04" y="8"/>
                    <a:pt x="94" y="9"/>
                    <a:pt x="89" y="7"/>
                  </a:cubicBezTo>
                  <a:cubicBezTo>
                    <a:pt x="83" y="5"/>
                    <a:pt x="81" y="0"/>
                    <a:pt x="80" y="1"/>
                  </a:cubicBezTo>
                  <a:cubicBezTo>
                    <a:pt x="80" y="1"/>
                    <a:pt x="80" y="2"/>
                    <a:pt x="80" y="4"/>
                  </a:cubicBezTo>
                  <a:cubicBezTo>
                    <a:pt x="81" y="6"/>
                    <a:pt x="83" y="10"/>
                    <a:pt x="86" y="12"/>
                  </a:cubicBezTo>
                  <a:close/>
                  <a:moveTo>
                    <a:pt x="78" y="30"/>
                  </a:moveTo>
                  <a:cubicBezTo>
                    <a:pt x="83" y="31"/>
                    <a:pt x="88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8" y="30"/>
                    <a:pt x="102" y="29"/>
                    <a:pt x="106" y="29"/>
                  </a:cubicBezTo>
                  <a:cubicBezTo>
                    <a:pt x="110" y="30"/>
                    <a:pt x="113" y="31"/>
                    <a:pt x="115" y="32"/>
                  </a:cubicBezTo>
                  <a:cubicBezTo>
                    <a:pt x="120" y="35"/>
                    <a:pt x="123" y="39"/>
                    <a:pt x="124" y="38"/>
                  </a:cubicBezTo>
                  <a:cubicBezTo>
                    <a:pt x="124" y="38"/>
                    <a:pt x="124" y="33"/>
                    <a:pt x="118" y="28"/>
                  </a:cubicBezTo>
                  <a:cubicBezTo>
                    <a:pt x="116" y="26"/>
                    <a:pt x="111" y="24"/>
                    <a:pt x="107" y="23"/>
                  </a:cubicBezTo>
                  <a:cubicBezTo>
                    <a:pt x="102" y="23"/>
                    <a:pt x="97" y="23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87" y="24"/>
                    <a:pt x="83" y="25"/>
                    <a:pt x="79" y="24"/>
                  </a:cubicBezTo>
                  <a:cubicBezTo>
                    <a:pt x="76" y="23"/>
                    <a:pt x="73" y="22"/>
                    <a:pt x="70" y="20"/>
                  </a:cubicBezTo>
                  <a:cubicBezTo>
                    <a:pt x="66" y="16"/>
                    <a:pt x="63" y="13"/>
                    <a:pt x="62" y="13"/>
                  </a:cubicBezTo>
                  <a:cubicBezTo>
                    <a:pt x="62" y="14"/>
                    <a:pt x="62" y="18"/>
                    <a:pt x="67" y="24"/>
                  </a:cubicBezTo>
                  <a:cubicBezTo>
                    <a:pt x="70" y="26"/>
                    <a:pt x="73" y="29"/>
                    <a:pt x="78" y="3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390" tIns="45696" rIns="91390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292929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985352" y="-126698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133990" y="365890"/>
            <a:ext cx="792000" cy="792000"/>
            <a:chOff x="3342078" y="-1683234"/>
            <a:chExt cx="792000" cy="792000"/>
          </a:xfrm>
        </p:grpSpPr>
        <p:grpSp>
          <p:nvGrpSpPr>
            <p:cNvPr id="56" name="Group 55"/>
            <p:cNvGrpSpPr/>
            <p:nvPr/>
          </p:nvGrpSpPr>
          <p:grpSpPr>
            <a:xfrm flipH="1">
              <a:off x="3478609" y="-1536484"/>
              <a:ext cx="518938" cy="498501"/>
              <a:chOff x="466342" y="659172"/>
              <a:chExt cx="2867877" cy="2754933"/>
            </a:xfrm>
          </p:grpSpPr>
          <p:sp>
            <p:nvSpPr>
              <p:cNvPr id="58" name="Rounded Rectangle 57"/>
              <p:cNvSpPr/>
              <p:nvPr/>
            </p:nvSpPr>
            <p:spPr bwMode="auto">
              <a:xfrm>
                <a:off x="466342" y="659172"/>
                <a:ext cx="2867877" cy="2145650"/>
              </a:xfrm>
              <a:prstGeom prst="roundRect">
                <a:avLst>
                  <a:gd name="adj" fmla="val 1704"/>
                </a:avLst>
              </a:prstGeom>
              <a:solidFill>
                <a:srgbClr val="007ABD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44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</a:endParaRPr>
              </a:p>
            </p:txBody>
          </p:sp>
          <p:sp>
            <p:nvSpPr>
              <p:cNvPr id="59" name="Right Triangle 58"/>
              <p:cNvSpPr/>
              <p:nvPr/>
            </p:nvSpPr>
            <p:spPr bwMode="auto">
              <a:xfrm rot="10800000" flipH="1">
                <a:off x="969262" y="2804822"/>
                <a:ext cx="609283" cy="609283"/>
              </a:xfrm>
              <a:prstGeom prst="rtTriangle">
                <a:avLst/>
              </a:prstGeom>
              <a:solidFill>
                <a:srgbClr val="007ABD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44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</a:endParaRPr>
              </a:p>
            </p:txBody>
          </p:sp>
        </p:grpSp>
        <p:sp>
          <p:nvSpPr>
            <p:cNvPr id="57" name="Rectangle 56"/>
            <p:cNvSpPr/>
            <p:nvPr/>
          </p:nvSpPr>
          <p:spPr>
            <a:xfrm>
              <a:off x="3342078" y="-168323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827404" y="374561"/>
            <a:ext cx="792000" cy="792000"/>
            <a:chOff x="10319379" y="598363"/>
            <a:chExt cx="792000" cy="792000"/>
          </a:xfrm>
        </p:grpSpPr>
        <p:sp>
          <p:nvSpPr>
            <p:cNvPr id="64" name="Freeform 31"/>
            <p:cNvSpPr>
              <a:spLocks noEditPoints="1"/>
            </p:cNvSpPr>
            <p:nvPr/>
          </p:nvSpPr>
          <p:spPr bwMode="auto">
            <a:xfrm>
              <a:off x="10437834" y="663407"/>
              <a:ext cx="555091" cy="661913"/>
            </a:xfrm>
            <a:custGeom>
              <a:avLst/>
              <a:gdLst>
                <a:gd name="T0" fmla="*/ 455 w 971"/>
                <a:gd name="T1" fmla="*/ 0 h 912"/>
                <a:gd name="T2" fmla="*/ 911 w 971"/>
                <a:gd name="T3" fmla="*/ 268 h 912"/>
                <a:gd name="T4" fmla="*/ 825 w 971"/>
                <a:gd name="T5" fmla="*/ 425 h 912"/>
                <a:gd name="T6" fmla="*/ 971 w 971"/>
                <a:gd name="T7" fmla="*/ 617 h 912"/>
                <a:gd name="T8" fmla="*/ 629 w 971"/>
                <a:gd name="T9" fmla="*/ 516 h 912"/>
                <a:gd name="T10" fmla="*/ 455 w 971"/>
                <a:gd name="T11" fmla="*/ 536 h 912"/>
                <a:gd name="T12" fmla="*/ 0 w 971"/>
                <a:gd name="T13" fmla="*/ 268 h 912"/>
                <a:gd name="T14" fmla="*/ 455 w 971"/>
                <a:gd name="T15" fmla="*/ 0 h 912"/>
                <a:gd name="T16" fmla="*/ 291 w 971"/>
                <a:gd name="T17" fmla="*/ 565 h 912"/>
                <a:gd name="T18" fmla="*/ 34 w 971"/>
                <a:gd name="T19" fmla="*/ 716 h 912"/>
                <a:gd name="T20" fmla="*/ 82 w 971"/>
                <a:gd name="T21" fmla="*/ 804 h 912"/>
                <a:gd name="T22" fmla="*/ 0 w 971"/>
                <a:gd name="T23" fmla="*/ 912 h 912"/>
                <a:gd name="T24" fmla="*/ 193 w 971"/>
                <a:gd name="T25" fmla="*/ 855 h 912"/>
                <a:gd name="T26" fmla="*/ 291 w 971"/>
                <a:gd name="T27" fmla="*/ 867 h 912"/>
                <a:gd name="T28" fmla="*/ 547 w 971"/>
                <a:gd name="T29" fmla="*/ 716 h 912"/>
                <a:gd name="T30" fmla="*/ 291 w 971"/>
                <a:gd name="T31" fmla="*/ 565 h 912"/>
                <a:gd name="T32" fmla="*/ 565 w 971"/>
                <a:gd name="T33" fmla="*/ 686 h 912"/>
                <a:gd name="T34" fmla="*/ 727 w 971"/>
                <a:gd name="T35" fmla="*/ 781 h 912"/>
                <a:gd name="T36" fmla="*/ 789 w 971"/>
                <a:gd name="T37" fmla="*/ 774 h 912"/>
                <a:gd name="T38" fmla="*/ 911 w 971"/>
                <a:gd name="T39" fmla="*/ 810 h 912"/>
                <a:gd name="T40" fmla="*/ 859 w 971"/>
                <a:gd name="T41" fmla="*/ 741 h 912"/>
                <a:gd name="T42" fmla="*/ 889 w 971"/>
                <a:gd name="T43" fmla="*/ 686 h 912"/>
                <a:gd name="T44" fmla="*/ 727 w 971"/>
                <a:gd name="T45" fmla="*/ 590 h 912"/>
                <a:gd name="T46" fmla="*/ 565 w 971"/>
                <a:gd name="T47" fmla="*/ 686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1" h="912">
                  <a:moveTo>
                    <a:pt x="455" y="0"/>
                  </a:moveTo>
                  <a:cubicBezTo>
                    <a:pt x="707" y="0"/>
                    <a:pt x="911" y="120"/>
                    <a:pt x="911" y="268"/>
                  </a:cubicBezTo>
                  <a:cubicBezTo>
                    <a:pt x="911" y="327"/>
                    <a:pt x="879" y="381"/>
                    <a:pt x="825" y="425"/>
                  </a:cubicBezTo>
                  <a:cubicBezTo>
                    <a:pt x="971" y="617"/>
                    <a:pt x="971" y="617"/>
                    <a:pt x="971" y="617"/>
                  </a:cubicBezTo>
                  <a:cubicBezTo>
                    <a:pt x="629" y="516"/>
                    <a:pt x="629" y="516"/>
                    <a:pt x="629" y="516"/>
                  </a:cubicBezTo>
                  <a:cubicBezTo>
                    <a:pt x="575" y="529"/>
                    <a:pt x="517" y="536"/>
                    <a:pt x="455" y="536"/>
                  </a:cubicBezTo>
                  <a:cubicBezTo>
                    <a:pt x="204" y="536"/>
                    <a:pt x="0" y="416"/>
                    <a:pt x="0" y="268"/>
                  </a:cubicBezTo>
                  <a:cubicBezTo>
                    <a:pt x="0" y="120"/>
                    <a:pt x="204" y="0"/>
                    <a:pt x="455" y="0"/>
                  </a:cubicBezTo>
                  <a:close/>
                  <a:moveTo>
                    <a:pt x="291" y="565"/>
                  </a:moveTo>
                  <a:cubicBezTo>
                    <a:pt x="149" y="565"/>
                    <a:pt x="34" y="633"/>
                    <a:pt x="34" y="716"/>
                  </a:cubicBezTo>
                  <a:cubicBezTo>
                    <a:pt x="34" y="749"/>
                    <a:pt x="52" y="779"/>
                    <a:pt x="82" y="804"/>
                  </a:cubicBezTo>
                  <a:cubicBezTo>
                    <a:pt x="0" y="912"/>
                    <a:pt x="0" y="912"/>
                    <a:pt x="0" y="912"/>
                  </a:cubicBezTo>
                  <a:cubicBezTo>
                    <a:pt x="193" y="855"/>
                    <a:pt x="193" y="855"/>
                    <a:pt x="193" y="855"/>
                  </a:cubicBezTo>
                  <a:cubicBezTo>
                    <a:pt x="223" y="863"/>
                    <a:pt x="256" y="867"/>
                    <a:pt x="291" y="867"/>
                  </a:cubicBezTo>
                  <a:cubicBezTo>
                    <a:pt x="432" y="867"/>
                    <a:pt x="547" y="799"/>
                    <a:pt x="547" y="716"/>
                  </a:cubicBezTo>
                  <a:cubicBezTo>
                    <a:pt x="547" y="633"/>
                    <a:pt x="432" y="565"/>
                    <a:pt x="291" y="565"/>
                  </a:cubicBezTo>
                  <a:close/>
                  <a:moveTo>
                    <a:pt x="565" y="686"/>
                  </a:moveTo>
                  <a:cubicBezTo>
                    <a:pt x="565" y="738"/>
                    <a:pt x="638" y="781"/>
                    <a:pt x="727" y="781"/>
                  </a:cubicBezTo>
                  <a:cubicBezTo>
                    <a:pt x="749" y="781"/>
                    <a:pt x="770" y="779"/>
                    <a:pt x="789" y="774"/>
                  </a:cubicBezTo>
                  <a:cubicBezTo>
                    <a:pt x="911" y="810"/>
                    <a:pt x="911" y="810"/>
                    <a:pt x="911" y="810"/>
                  </a:cubicBezTo>
                  <a:cubicBezTo>
                    <a:pt x="859" y="741"/>
                    <a:pt x="859" y="741"/>
                    <a:pt x="859" y="741"/>
                  </a:cubicBezTo>
                  <a:cubicBezTo>
                    <a:pt x="878" y="726"/>
                    <a:pt x="889" y="707"/>
                    <a:pt x="889" y="686"/>
                  </a:cubicBezTo>
                  <a:cubicBezTo>
                    <a:pt x="889" y="633"/>
                    <a:pt x="817" y="590"/>
                    <a:pt x="727" y="590"/>
                  </a:cubicBezTo>
                  <a:cubicBezTo>
                    <a:pt x="638" y="590"/>
                    <a:pt x="565" y="633"/>
                    <a:pt x="565" y="68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67199" tIns="33599" rIns="67199" bIns="33599" numCol="1" anchor="t" anchorCtr="0" compatLnSpc="1">
              <a:prstTxWarp prst="textNoShape">
                <a:avLst/>
              </a:prstTxWarp>
            </a:bodyPr>
            <a:lstStyle/>
            <a:p>
              <a:pPr defTabSz="671919">
                <a:defRPr/>
              </a:pPr>
              <a:endParaRPr lang="en-US" sz="1600" b="1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10319379" y="5983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8457247" y="394252"/>
            <a:ext cx="792000" cy="792000"/>
            <a:chOff x="10204188" y="787763"/>
            <a:chExt cx="792000" cy="792000"/>
          </a:xfrm>
        </p:grpSpPr>
        <p:grpSp>
          <p:nvGrpSpPr>
            <p:cNvPr id="70" name="Group 69"/>
            <p:cNvGrpSpPr>
              <a:grpSpLocks noChangeAspect="1"/>
            </p:cNvGrpSpPr>
            <p:nvPr/>
          </p:nvGrpSpPr>
          <p:grpSpPr bwMode="black">
            <a:xfrm>
              <a:off x="10417643" y="796648"/>
              <a:ext cx="365090" cy="774231"/>
              <a:chOff x="8920162" y="3943878"/>
              <a:chExt cx="419101" cy="889001"/>
            </a:xfrm>
            <a:solidFill>
              <a:srgbClr val="FFFFFF"/>
            </a:solidFill>
          </p:grpSpPr>
          <p:sp>
            <p:nvSpPr>
              <p:cNvPr id="72" name="Oval 16"/>
              <p:cNvSpPr>
                <a:spLocks noChangeArrowheads="1"/>
              </p:cNvSpPr>
              <p:nvPr/>
            </p:nvSpPr>
            <p:spPr bwMode="black">
              <a:xfrm>
                <a:off x="9148762" y="3943878"/>
                <a:ext cx="149225" cy="146050"/>
              </a:xfrm>
              <a:prstGeom prst="ellipse">
                <a:avLst/>
              </a:pr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3" name="Freeform 17"/>
              <p:cNvSpPr>
                <a:spLocks/>
              </p:cNvSpPr>
              <p:nvPr/>
            </p:nvSpPr>
            <p:spPr bwMode="black">
              <a:xfrm>
                <a:off x="9017000" y="4123266"/>
                <a:ext cx="322263" cy="709613"/>
              </a:xfrm>
              <a:custGeom>
                <a:avLst/>
                <a:gdLst>
                  <a:gd name="T0" fmla="*/ 76 w 86"/>
                  <a:gd name="T1" fmla="*/ 0 h 189"/>
                  <a:gd name="T2" fmla="*/ 80 w 86"/>
                  <a:gd name="T3" fmla="*/ 3 h 189"/>
                  <a:gd name="T4" fmla="*/ 83 w 86"/>
                  <a:gd name="T5" fmla="*/ 11 h 189"/>
                  <a:gd name="T6" fmla="*/ 78 w 86"/>
                  <a:gd name="T7" fmla="*/ 21 h 189"/>
                  <a:gd name="T8" fmla="*/ 44 w 86"/>
                  <a:gd name="T9" fmla="*/ 47 h 189"/>
                  <a:gd name="T10" fmla="*/ 39 w 86"/>
                  <a:gd name="T11" fmla="*/ 50 h 189"/>
                  <a:gd name="T12" fmla="*/ 39 w 86"/>
                  <a:gd name="T13" fmla="*/ 81 h 189"/>
                  <a:gd name="T14" fmla="*/ 2 w 86"/>
                  <a:gd name="T15" fmla="*/ 173 h 189"/>
                  <a:gd name="T16" fmla="*/ 9 w 86"/>
                  <a:gd name="T17" fmla="*/ 188 h 189"/>
                  <a:gd name="T18" fmla="*/ 13 w 86"/>
                  <a:gd name="T19" fmla="*/ 189 h 189"/>
                  <a:gd name="T20" fmla="*/ 24 w 86"/>
                  <a:gd name="T21" fmla="*/ 181 h 189"/>
                  <a:gd name="T22" fmla="*/ 63 w 86"/>
                  <a:gd name="T23" fmla="*/ 83 h 189"/>
                  <a:gd name="T24" fmla="*/ 63 w 86"/>
                  <a:gd name="T25" fmla="*/ 177 h 189"/>
                  <a:gd name="T26" fmla="*/ 74 w 86"/>
                  <a:gd name="T27" fmla="*/ 189 h 189"/>
                  <a:gd name="T28" fmla="*/ 86 w 86"/>
                  <a:gd name="T29" fmla="*/ 177 h 189"/>
                  <a:gd name="T30" fmla="*/ 86 w 86"/>
                  <a:gd name="T31" fmla="*/ 72 h 189"/>
                  <a:gd name="T32" fmla="*/ 86 w 86"/>
                  <a:gd name="T33" fmla="*/ 17 h 189"/>
                  <a:gd name="T34" fmla="*/ 76 w 86"/>
                  <a:gd name="T35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6" h="189">
                    <a:moveTo>
                      <a:pt x="76" y="0"/>
                    </a:moveTo>
                    <a:cubicBezTo>
                      <a:pt x="78" y="1"/>
                      <a:pt x="79" y="2"/>
                      <a:pt x="80" y="3"/>
                    </a:cubicBezTo>
                    <a:cubicBezTo>
                      <a:pt x="82" y="6"/>
                      <a:pt x="83" y="8"/>
                      <a:pt x="83" y="11"/>
                    </a:cubicBezTo>
                    <a:cubicBezTo>
                      <a:pt x="83" y="15"/>
                      <a:pt x="81" y="18"/>
                      <a:pt x="78" y="21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2" y="49"/>
                      <a:pt x="40" y="49"/>
                      <a:pt x="39" y="50"/>
                    </a:cubicBezTo>
                    <a:cubicBezTo>
                      <a:pt x="39" y="81"/>
                      <a:pt x="39" y="81"/>
                      <a:pt x="39" y="81"/>
                    </a:cubicBezTo>
                    <a:cubicBezTo>
                      <a:pt x="2" y="173"/>
                      <a:pt x="2" y="173"/>
                      <a:pt x="2" y="173"/>
                    </a:cubicBezTo>
                    <a:cubicBezTo>
                      <a:pt x="0" y="179"/>
                      <a:pt x="3" y="186"/>
                      <a:pt x="9" y="188"/>
                    </a:cubicBezTo>
                    <a:cubicBezTo>
                      <a:pt x="10" y="189"/>
                      <a:pt x="12" y="189"/>
                      <a:pt x="13" y="189"/>
                    </a:cubicBezTo>
                    <a:cubicBezTo>
                      <a:pt x="18" y="189"/>
                      <a:pt x="22" y="186"/>
                      <a:pt x="24" y="181"/>
                    </a:cubicBezTo>
                    <a:cubicBezTo>
                      <a:pt x="63" y="83"/>
                      <a:pt x="63" y="83"/>
                      <a:pt x="63" y="83"/>
                    </a:cubicBezTo>
                    <a:cubicBezTo>
                      <a:pt x="63" y="177"/>
                      <a:pt x="63" y="177"/>
                      <a:pt x="63" y="177"/>
                    </a:cubicBezTo>
                    <a:cubicBezTo>
                      <a:pt x="63" y="184"/>
                      <a:pt x="68" y="189"/>
                      <a:pt x="74" y="189"/>
                    </a:cubicBezTo>
                    <a:cubicBezTo>
                      <a:pt x="81" y="189"/>
                      <a:pt x="86" y="184"/>
                      <a:pt x="86" y="177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6" y="8"/>
                      <a:pt x="83" y="2"/>
                      <a:pt x="76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Freeform 18"/>
              <p:cNvSpPr>
                <a:spLocks/>
              </p:cNvSpPr>
              <p:nvPr/>
            </p:nvSpPr>
            <p:spPr bwMode="black">
              <a:xfrm>
                <a:off x="9051925" y="4089928"/>
                <a:ext cx="265113" cy="206375"/>
              </a:xfrm>
              <a:custGeom>
                <a:avLst/>
                <a:gdLst>
                  <a:gd name="T0" fmla="*/ 30 w 71"/>
                  <a:gd name="T1" fmla="*/ 33 h 55"/>
                  <a:gd name="T2" fmla="*/ 18 w 71"/>
                  <a:gd name="T3" fmla="*/ 6 h 55"/>
                  <a:gd name="T4" fmla="*/ 6 w 71"/>
                  <a:gd name="T5" fmla="*/ 2 h 55"/>
                  <a:gd name="T6" fmla="*/ 2 w 71"/>
                  <a:gd name="T7" fmla="*/ 14 h 55"/>
                  <a:gd name="T8" fmla="*/ 20 w 71"/>
                  <a:gd name="T9" fmla="*/ 50 h 55"/>
                  <a:gd name="T10" fmla="*/ 25 w 71"/>
                  <a:gd name="T11" fmla="*/ 55 h 55"/>
                  <a:gd name="T12" fmla="*/ 27 w 71"/>
                  <a:gd name="T13" fmla="*/ 55 h 55"/>
                  <a:gd name="T14" fmla="*/ 33 w 71"/>
                  <a:gd name="T15" fmla="*/ 53 h 55"/>
                  <a:gd name="T16" fmla="*/ 67 w 71"/>
                  <a:gd name="T17" fmla="*/ 27 h 55"/>
                  <a:gd name="T18" fmla="*/ 69 w 71"/>
                  <a:gd name="T19" fmla="*/ 15 h 55"/>
                  <a:gd name="T20" fmla="*/ 56 w 71"/>
                  <a:gd name="T21" fmla="*/ 13 h 55"/>
                  <a:gd name="T22" fmla="*/ 30 w 71"/>
                  <a:gd name="T23" fmla="*/ 3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1" h="55">
                    <a:moveTo>
                      <a:pt x="30" y="33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6" y="2"/>
                      <a:pt x="10" y="0"/>
                      <a:pt x="6" y="2"/>
                    </a:cubicBezTo>
                    <a:cubicBezTo>
                      <a:pt x="2" y="4"/>
                      <a:pt x="0" y="10"/>
                      <a:pt x="2" y="14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3"/>
                      <a:pt x="23" y="54"/>
                      <a:pt x="25" y="55"/>
                    </a:cubicBezTo>
                    <a:cubicBezTo>
                      <a:pt x="26" y="55"/>
                      <a:pt x="27" y="55"/>
                      <a:pt x="27" y="55"/>
                    </a:cubicBezTo>
                    <a:cubicBezTo>
                      <a:pt x="29" y="55"/>
                      <a:pt x="31" y="55"/>
                      <a:pt x="33" y="53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71" y="24"/>
                      <a:pt x="71" y="18"/>
                      <a:pt x="69" y="15"/>
                    </a:cubicBezTo>
                    <a:cubicBezTo>
                      <a:pt x="66" y="11"/>
                      <a:pt x="60" y="10"/>
                      <a:pt x="56" y="13"/>
                    </a:cubicBezTo>
                    <a:lnTo>
                      <a:pt x="30" y="33"/>
                    </a:ln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  <p:sp>
            <p:nvSpPr>
              <p:cNvPr id="75" name="Freeform 19"/>
              <p:cNvSpPr>
                <a:spLocks/>
              </p:cNvSpPr>
              <p:nvPr/>
            </p:nvSpPr>
            <p:spPr bwMode="black">
              <a:xfrm>
                <a:off x="8953500" y="3958166"/>
                <a:ext cx="90488" cy="165100"/>
              </a:xfrm>
              <a:custGeom>
                <a:avLst/>
                <a:gdLst>
                  <a:gd name="T0" fmla="*/ 24 w 24"/>
                  <a:gd name="T1" fmla="*/ 27 h 44"/>
                  <a:gd name="T2" fmla="*/ 24 w 24"/>
                  <a:gd name="T3" fmla="*/ 17 h 44"/>
                  <a:gd name="T4" fmla="*/ 24 w 24"/>
                  <a:gd name="T5" fmla="*/ 16 h 44"/>
                  <a:gd name="T6" fmla="*/ 0 w 24"/>
                  <a:gd name="T7" fmla="*/ 0 h 44"/>
                  <a:gd name="T8" fmla="*/ 0 w 24"/>
                  <a:gd name="T9" fmla="*/ 44 h 44"/>
                  <a:gd name="T10" fmla="*/ 24 w 24"/>
                  <a:gd name="T11" fmla="*/ 28 h 44"/>
                  <a:gd name="T12" fmla="*/ 24 w 24"/>
                  <a:gd name="T13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44">
                    <a:moveTo>
                      <a:pt x="24" y="27"/>
                    </a:moveTo>
                    <a:cubicBezTo>
                      <a:pt x="24" y="17"/>
                      <a:pt x="24" y="17"/>
                      <a:pt x="24" y="17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7"/>
                      <a:pt x="24" y="27"/>
                      <a:pt x="24" y="27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Freeform 20"/>
              <p:cNvSpPr>
                <a:spLocks/>
              </p:cNvSpPr>
              <p:nvPr/>
            </p:nvSpPr>
            <p:spPr bwMode="black">
              <a:xfrm>
                <a:off x="9055100" y="4010553"/>
                <a:ext cx="68263" cy="60325"/>
              </a:xfrm>
              <a:custGeom>
                <a:avLst/>
                <a:gdLst>
                  <a:gd name="T0" fmla="*/ 3 w 18"/>
                  <a:gd name="T1" fmla="*/ 16 h 16"/>
                  <a:gd name="T2" fmla="*/ 15 w 18"/>
                  <a:gd name="T3" fmla="*/ 16 h 16"/>
                  <a:gd name="T4" fmla="*/ 18 w 18"/>
                  <a:gd name="T5" fmla="*/ 13 h 16"/>
                  <a:gd name="T6" fmla="*/ 18 w 18"/>
                  <a:gd name="T7" fmla="*/ 3 h 16"/>
                  <a:gd name="T8" fmla="*/ 15 w 18"/>
                  <a:gd name="T9" fmla="*/ 0 h 16"/>
                  <a:gd name="T10" fmla="*/ 3 w 18"/>
                  <a:gd name="T11" fmla="*/ 0 h 16"/>
                  <a:gd name="T12" fmla="*/ 0 w 18"/>
                  <a:gd name="T13" fmla="*/ 3 h 16"/>
                  <a:gd name="T14" fmla="*/ 0 w 18"/>
                  <a:gd name="T15" fmla="*/ 13 h 16"/>
                  <a:gd name="T16" fmla="*/ 3 w 1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6">
                    <a:moveTo>
                      <a:pt x="3" y="16"/>
                    </a:move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6"/>
                      <a:pt x="18" y="15"/>
                      <a:pt x="18" y="1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1"/>
                      <a:pt x="17" y="0"/>
                      <a:pt x="15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1" y="16"/>
                      <a:pt x="3" y="16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Freeform 21"/>
              <p:cNvSpPr>
                <a:spLocks/>
              </p:cNvSpPr>
              <p:nvPr/>
            </p:nvSpPr>
            <p:spPr bwMode="black">
              <a:xfrm>
                <a:off x="8920162" y="3943878"/>
                <a:ext cx="19050" cy="195263"/>
              </a:xfrm>
              <a:custGeom>
                <a:avLst/>
                <a:gdLst>
                  <a:gd name="T0" fmla="*/ 3 w 5"/>
                  <a:gd name="T1" fmla="*/ 0 h 52"/>
                  <a:gd name="T2" fmla="*/ 2 w 5"/>
                  <a:gd name="T3" fmla="*/ 0 h 52"/>
                  <a:gd name="T4" fmla="*/ 0 w 5"/>
                  <a:gd name="T5" fmla="*/ 2 h 52"/>
                  <a:gd name="T6" fmla="*/ 0 w 5"/>
                  <a:gd name="T7" fmla="*/ 50 h 52"/>
                  <a:gd name="T8" fmla="*/ 2 w 5"/>
                  <a:gd name="T9" fmla="*/ 52 h 52"/>
                  <a:gd name="T10" fmla="*/ 3 w 5"/>
                  <a:gd name="T11" fmla="*/ 52 h 52"/>
                  <a:gd name="T12" fmla="*/ 5 w 5"/>
                  <a:gd name="T13" fmla="*/ 50 h 52"/>
                  <a:gd name="T14" fmla="*/ 5 w 5"/>
                  <a:gd name="T15" fmla="*/ 2 h 52"/>
                  <a:gd name="T16" fmla="*/ 3 w 5"/>
                  <a:gd name="T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2">
                    <a:moveTo>
                      <a:pt x="3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1"/>
                      <a:pt x="1" y="52"/>
                      <a:pt x="2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4" y="52"/>
                      <a:pt x="5" y="51"/>
                      <a:pt x="5" y="5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1" name="Rectangle 70"/>
            <p:cNvSpPr/>
            <p:nvPr/>
          </p:nvSpPr>
          <p:spPr>
            <a:xfrm>
              <a:off x="10204188" y="7877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750954" y="345545"/>
            <a:ext cx="792000" cy="792000"/>
            <a:chOff x="9806864" y="833392"/>
            <a:chExt cx="792000" cy="792000"/>
          </a:xfrm>
        </p:grpSpPr>
        <p:sp>
          <p:nvSpPr>
            <p:cNvPr id="79" name="Rectangle 3"/>
            <p:cNvSpPr/>
            <p:nvPr>
              <p:custDataLst>
                <p:tags r:id="rId5"/>
              </p:custDataLst>
            </p:nvPr>
          </p:nvSpPr>
          <p:spPr>
            <a:xfrm>
              <a:off x="9943870" y="859400"/>
              <a:ext cx="517989" cy="739985"/>
            </a:xfrm>
            <a:custGeom>
              <a:avLst/>
              <a:gdLst/>
              <a:ahLst/>
              <a:cxnLst/>
              <a:rect l="l" t="t" r="r" b="b"/>
              <a:pathLst>
                <a:path w="2054383" h="2910922">
                  <a:moveTo>
                    <a:pt x="1416893" y="2072251"/>
                  </a:moveTo>
                  <a:cubicBezTo>
                    <a:pt x="1482822" y="2072877"/>
                    <a:pt x="1541613" y="2085113"/>
                    <a:pt x="1586990" y="2122499"/>
                  </a:cubicBezTo>
                  <a:cubicBezTo>
                    <a:pt x="1581963" y="2141083"/>
                    <a:pt x="1579593" y="2162835"/>
                    <a:pt x="1579900" y="2188601"/>
                  </a:cubicBezTo>
                  <a:cubicBezTo>
                    <a:pt x="1521904" y="2131027"/>
                    <a:pt x="1319025" y="2094648"/>
                    <a:pt x="1147147" y="2129130"/>
                  </a:cubicBezTo>
                  <a:lnTo>
                    <a:pt x="1129432" y="2159498"/>
                  </a:lnTo>
                  <a:lnTo>
                    <a:pt x="944690" y="2159498"/>
                  </a:lnTo>
                  <a:lnTo>
                    <a:pt x="911790" y="2134191"/>
                  </a:lnTo>
                  <a:cubicBezTo>
                    <a:pt x="797697" y="2120272"/>
                    <a:pt x="586804" y="2094965"/>
                    <a:pt x="484099" y="2194928"/>
                  </a:cubicBezTo>
                  <a:cubicBezTo>
                    <a:pt x="487550" y="2165021"/>
                    <a:pt x="487236" y="2139255"/>
                    <a:pt x="478582" y="2113403"/>
                  </a:cubicBezTo>
                  <a:cubicBezTo>
                    <a:pt x="607741" y="2023922"/>
                    <a:pt x="830997" y="2109822"/>
                    <a:pt x="1024724" y="2103148"/>
                  </a:cubicBezTo>
                  <a:lnTo>
                    <a:pt x="1024724" y="2103190"/>
                  </a:lnTo>
                  <a:cubicBezTo>
                    <a:pt x="1154265" y="2108172"/>
                    <a:pt x="1297318" y="2071116"/>
                    <a:pt x="1416893" y="2072251"/>
                  </a:cubicBezTo>
                  <a:close/>
                  <a:moveTo>
                    <a:pt x="1416893" y="2041625"/>
                  </a:moveTo>
                  <a:cubicBezTo>
                    <a:pt x="1487192" y="2039357"/>
                    <a:pt x="1549376" y="2050536"/>
                    <a:pt x="1595431" y="2093318"/>
                  </a:cubicBezTo>
                  <a:cubicBezTo>
                    <a:pt x="1591950" y="2100818"/>
                    <a:pt x="1589337" y="2109102"/>
                    <a:pt x="1587958" y="2118281"/>
                  </a:cubicBezTo>
                  <a:cubicBezTo>
                    <a:pt x="1539454" y="2078935"/>
                    <a:pt x="1466268" y="2067602"/>
                    <a:pt x="1387992" y="2067899"/>
                  </a:cubicBezTo>
                  <a:cubicBezTo>
                    <a:pt x="1247290" y="2068432"/>
                    <a:pt x="1090140" y="2106542"/>
                    <a:pt x="1027570" y="2090343"/>
                  </a:cubicBezTo>
                  <a:cubicBezTo>
                    <a:pt x="1027570" y="2090196"/>
                    <a:pt x="1027570" y="2090050"/>
                    <a:pt x="1027570" y="2089904"/>
                  </a:cubicBezTo>
                  <a:lnTo>
                    <a:pt x="1026147" y="2090123"/>
                  </a:lnTo>
                  <a:lnTo>
                    <a:pt x="1024723" y="2089904"/>
                  </a:lnTo>
                  <a:cubicBezTo>
                    <a:pt x="1024723" y="2090050"/>
                    <a:pt x="1024723" y="2090196"/>
                    <a:pt x="1024723" y="2090343"/>
                  </a:cubicBezTo>
                  <a:cubicBezTo>
                    <a:pt x="962154" y="2106542"/>
                    <a:pt x="805004" y="2068432"/>
                    <a:pt x="664301" y="2067899"/>
                  </a:cubicBezTo>
                  <a:cubicBezTo>
                    <a:pt x="592633" y="2067627"/>
                    <a:pt x="525232" y="2077104"/>
                    <a:pt x="477006" y="2108812"/>
                  </a:cubicBezTo>
                  <a:cubicBezTo>
                    <a:pt x="474420" y="2100797"/>
                    <a:pt x="470793" y="2092840"/>
                    <a:pt x="466219" y="2084748"/>
                  </a:cubicBezTo>
                  <a:cubicBezTo>
                    <a:pt x="593560" y="1984764"/>
                    <a:pt x="824863" y="2089973"/>
                    <a:pt x="1024730" y="2083192"/>
                  </a:cubicBezTo>
                  <a:lnTo>
                    <a:pt x="1024724" y="2083261"/>
                  </a:lnTo>
                  <a:cubicBezTo>
                    <a:pt x="1154265" y="2088243"/>
                    <a:pt x="1297318" y="2045481"/>
                    <a:pt x="1416893" y="2041625"/>
                  </a:cubicBezTo>
                  <a:close/>
                  <a:moveTo>
                    <a:pt x="633098" y="1999258"/>
                  </a:moveTo>
                  <a:cubicBezTo>
                    <a:pt x="767607" y="1997339"/>
                    <a:pt x="899155" y="2043662"/>
                    <a:pt x="1008417" y="2049485"/>
                  </a:cubicBezTo>
                  <a:cubicBezTo>
                    <a:pt x="1017100" y="2052715"/>
                    <a:pt x="1024354" y="2056655"/>
                    <a:pt x="1027191" y="2062383"/>
                  </a:cubicBezTo>
                  <a:cubicBezTo>
                    <a:pt x="1028613" y="2056445"/>
                    <a:pt x="1034909" y="2052576"/>
                    <a:pt x="1043069" y="2049759"/>
                  </a:cubicBezTo>
                  <a:cubicBezTo>
                    <a:pt x="1229717" y="2045403"/>
                    <a:pt x="1397585" y="1944639"/>
                    <a:pt x="1620391" y="2045616"/>
                  </a:cubicBezTo>
                  <a:cubicBezTo>
                    <a:pt x="1612660" y="2056765"/>
                    <a:pt x="1605245" y="2069015"/>
                    <a:pt x="1599534" y="2083580"/>
                  </a:cubicBezTo>
                  <a:cubicBezTo>
                    <a:pt x="1556828" y="2043901"/>
                    <a:pt x="1483909" y="2033856"/>
                    <a:pt x="1403442" y="2036240"/>
                  </a:cubicBezTo>
                  <a:cubicBezTo>
                    <a:pt x="1259853" y="2040493"/>
                    <a:pt x="1092228" y="2084322"/>
                    <a:pt x="1026626" y="2072888"/>
                  </a:cubicBezTo>
                  <a:lnTo>
                    <a:pt x="1026620" y="2072821"/>
                  </a:lnTo>
                  <a:lnTo>
                    <a:pt x="1026147" y="2072854"/>
                  </a:lnTo>
                  <a:lnTo>
                    <a:pt x="1025673" y="2072821"/>
                  </a:lnTo>
                  <a:lnTo>
                    <a:pt x="1025667" y="2072888"/>
                  </a:lnTo>
                  <a:cubicBezTo>
                    <a:pt x="960065" y="2084322"/>
                    <a:pt x="792440" y="2040493"/>
                    <a:pt x="648851" y="2036240"/>
                  </a:cubicBezTo>
                  <a:cubicBezTo>
                    <a:pt x="573411" y="2034005"/>
                    <a:pt x="504606" y="2042695"/>
                    <a:pt x="461233" y="2076730"/>
                  </a:cubicBezTo>
                  <a:cubicBezTo>
                    <a:pt x="455267" y="2066629"/>
                    <a:pt x="447698" y="2056378"/>
                    <a:pt x="438546" y="2045616"/>
                  </a:cubicBezTo>
                  <a:cubicBezTo>
                    <a:pt x="502638" y="2012334"/>
                    <a:pt x="568213" y="2000183"/>
                    <a:pt x="633098" y="1999258"/>
                  </a:cubicBezTo>
                  <a:close/>
                  <a:moveTo>
                    <a:pt x="1425916" y="1357361"/>
                  </a:moveTo>
                  <a:cubicBezTo>
                    <a:pt x="1319532" y="1362116"/>
                    <a:pt x="1218086" y="1399701"/>
                    <a:pt x="1110768" y="1390844"/>
                  </a:cubicBezTo>
                  <a:lnTo>
                    <a:pt x="1112982" y="1419947"/>
                  </a:lnTo>
                  <a:cubicBezTo>
                    <a:pt x="1296881" y="1423005"/>
                    <a:pt x="1402960" y="1352988"/>
                    <a:pt x="1532765" y="1393058"/>
                  </a:cubicBezTo>
                  <a:lnTo>
                    <a:pt x="1534347" y="1366486"/>
                  </a:lnTo>
                  <a:cubicBezTo>
                    <a:pt x="1497388" y="1357839"/>
                    <a:pt x="1461377" y="1355776"/>
                    <a:pt x="1425916" y="1357361"/>
                  </a:cubicBezTo>
                  <a:close/>
                  <a:moveTo>
                    <a:pt x="616888" y="1357361"/>
                  </a:moveTo>
                  <a:cubicBezTo>
                    <a:pt x="581427" y="1355776"/>
                    <a:pt x="545417" y="1357839"/>
                    <a:pt x="508457" y="1366486"/>
                  </a:cubicBezTo>
                  <a:lnTo>
                    <a:pt x="510039" y="1393058"/>
                  </a:lnTo>
                  <a:cubicBezTo>
                    <a:pt x="639844" y="1352988"/>
                    <a:pt x="745923" y="1423005"/>
                    <a:pt x="929822" y="1419947"/>
                  </a:cubicBezTo>
                  <a:lnTo>
                    <a:pt x="932036" y="1390844"/>
                  </a:lnTo>
                  <a:cubicBezTo>
                    <a:pt x="824718" y="1399701"/>
                    <a:pt x="723272" y="1362116"/>
                    <a:pt x="616888" y="1357361"/>
                  </a:cubicBezTo>
                  <a:close/>
                  <a:moveTo>
                    <a:pt x="1425916" y="1282339"/>
                  </a:moveTo>
                  <a:cubicBezTo>
                    <a:pt x="1319532" y="1287094"/>
                    <a:pt x="1218086" y="1324679"/>
                    <a:pt x="1110768" y="1315821"/>
                  </a:cubicBezTo>
                  <a:lnTo>
                    <a:pt x="1112982" y="1344924"/>
                  </a:lnTo>
                  <a:cubicBezTo>
                    <a:pt x="1296881" y="1347982"/>
                    <a:pt x="1402960" y="1277965"/>
                    <a:pt x="1532765" y="1318035"/>
                  </a:cubicBezTo>
                  <a:lnTo>
                    <a:pt x="1534347" y="1291463"/>
                  </a:lnTo>
                  <a:cubicBezTo>
                    <a:pt x="1497388" y="1282816"/>
                    <a:pt x="1461377" y="1280754"/>
                    <a:pt x="1425916" y="1282339"/>
                  </a:cubicBezTo>
                  <a:close/>
                  <a:moveTo>
                    <a:pt x="616888" y="1282339"/>
                  </a:moveTo>
                  <a:cubicBezTo>
                    <a:pt x="581427" y="1280754"/>
                    <a:pt x="545417" y="1282816"/>
                    <a:pt x="508457" y="1291463"/>
                  </a:cubicBezTo>
                  <a:lnTo>
                    <a:pt x="510039" y="1318035"/>
                  </a:lnTo>
                  <a:cubicBezTo>
                    <a:pt x="639844" y="1277965"/>
                    <a:pt x="745923" y="1347982"/>
                    <a:pt x="929822" y="1344924"/>
                  </a:cubicBezTo>
                  <a:lnTo>
                    <a:pt x="932036" y="1315821"/>
                  </a:lnTo>
                  <a:cubicBezTo>
                    <a:pt x="824718" y="1324679"/>
                    <a:pt x="723272" y="1287094"/>
                    <a:pt x="616888" y="1282339"/>
                  </a:cubicBezTo>
                  <a:close/>
                  <a:moveTo>
                    <a:pt x="1418290" y="1128477"/>
                  </a:moveTo>
                  <a:cubicBezTo>
                    <a:pt x="1475240" y="1130686"/>
                    <a:pt x="1533105" y="1148604"/>
                    <a:pt x="1593565" y="1196055"/>
                  </a:cubicBezTo>
                  <a:lnTo>
                    <a:pt x="1623934" y="2036000"/>
                  </a:lnTo>
                  <a:cubicBezTo>
                    <a:pt x="1301394" y="1897443"/>
                    <a:pt x="1233191" y="2036000"/>
                    <a:pt x="1037820" y="2036000"/>
                  </a:cubicBezTo>
                  <a:lnTo>
                    <a:pt x="1037820" y="1194789"/>
                  </a:lnTo>
                  <a:cubicBezTo>
                    <a:pt x="1172138" y="1194789"/>
                    <a:pt x="1292999" y="1123618"/>
                    <a:pt x="1418290" y="1128477"/>
                  </a:cubicBezTo>
                  <a:close/>
                  <a:moveTo>
                    <a:pt x="636093" y="1128477"/>
                  </a:moveTo>
                  <a:cubicBezTo>
                    <a:pt x="761383" y="1123618"/>
                    <a:pt x="882244" y="1194789"/>
                    <a:pt x="1016562" y="1194789"/>
                  </a:cubicBezTo>
                  <a:lnTo>
                    <a:pt x="1016562" y="2036000"/>
                  </a:lnTo>
                  <a:cubicBezTo>
                    <a:pt x="821191" y="2036000"/>
                    <a:pt x="752988" y="1897443"/>
                    <a:pt x="430448" y="2036000"/>
                  </a:cubicBezTo>
                  <a:lnTo>
                    <a:pt x="460817" y="1196055"/>
                  </a:lnTo>
                  <a:cubicBezTo>
                    <a:pt x="521277" y="1148604"/>
                    <a:pt x="579143" y="1130686"/>
                    <a:pt x="636093" y="1128477"/>
                  </a:cubicBezTo>
                  <a:close/>
                  <a:moveTo>
                    <a:pt x="152065" y="206751"/>
                  </a:moveTo>
                  <a:lnTo>
                    <a:pt x="815751" y="206751"/>
                  </a:lnTo>
                  <a:cubicBezTo>
                    <a:pt x="801205" y="215681"/>
                    <a:pt x="783240" y="222603"/>
                    <a:pt x="761392" y="229833"/>
                  </a:cubicBezTo>
                  <a:lnTo>
                    <a:pt x="757670" y="229833"/>
                  </a:lnTo>
                  <a:lnTo>
                    <a:pt x="757670" y="231285"/>
                  </a:lnTo>
                  <a:lnTo>
                    <a:pt x="755461" y="232147"/>
                  </a:lnTo>
                  <a:lnTo>
                    <a:pt x="757670" y="232138"/>
                  </a:lnTo>
                  <a:lnTo>
                    <a:pt x="757670" y="410220"/>
                  </a:lnTo>
                  <a:lnTo>
                    <a:pt x="136193" y="410220"/>
                  </a:lnTo>
                  <a:lnTo>
                    <a:pt x="136193" y="2662330"/>
                  </a:lnTo>
                  <a:lnTo>
                    <a:pt x="1924754" y="2662330"/>
                  </a:lnTo>
                  <a:lnTo>
                    <a:pt x="1924754" y="410220"/>
                  </a:lnTo>
                  <a:lnTo>
                    <a:pt x="1296714" y="410220"/>
                  </a:lnTo>
                  <a:lnTo>
                    <a:pt x="1296714" y="232138"/>
                  </a:lnTo>
                  <a:lnTo>
                    <a:pt x="1298921" y="232147"/>
                  </a:lnTo>
                  <a:lnTo>
                    <a:pt x="1296714" y="231285"/>
                  </a:lnTo>
                  <a:lnTo>
                    <a:pt x="1296714" y="229833"/>
                  </a:lnTo>
                  <a:lnTo>
                    <a:pt x="1292992" y="229833"/>
                  </a:lnTo>
                  <a:cubicBezTo>
                    <a:pt x="1271144" y="222603"/>
                    <a:pt x="1253177" y="215681"/>
                    <a:pt x="1238633" y="206751"/>
                  </a:cubicBezTo>
                  <a:lnTo>
                    <a:pt x="1902318" y="206751"/>
                  </a:lnTo>
                  <a:cubicBezTo>
                    <a:pt x="1986301" y="206751"/>
                    <a:pt x="2054383" y="274833"/>
                    <a:pt x="2054383" y="358817"/>
                  </a:cubicBezTo>
                  <a:lnTo>
                    <a:pt x="2054383" y="2758857"/>
                  </a:lnTo>
                  <a:cubicBezTo>
                    <a:pt x="2054383" y="2842840"/>
                    <a:pt x="1986301" y="2910922"/>
                    <a:pt x="1902318" y="2910922"/>
                  </a:cubicBezTo>
                  <a:lnTo>
                    <a:pt x="152065" y="2910922"/>
                  </a:lnTo>
                  <a:cubicBezTo>
                    <a:pt x="68083" y="2910922"/>
                    <a:pt x="0" y="2842840"/>
                    <a:pt x="0" y="2758857"/>
                  </a:cubicBezTo>
                  <a:lnTo>
                    <a:pt x="0" y="358817"/>
                  </a:lnTo>
                  <a:cubicBezTo>
                    <a:pt x="0" y="274833"/>
                    <a:pt x="68083" y="206751"/>
                    <a:pt x="152065" y="206751"/>
                  </a:cubicBezTo>
                  <a:close/>
                  <a:moveTo>
                    <a:pt x="1027192" y="65635"/>
                  </a:moveTo>
                  <a:cubicBezTo>
                    <a:pt x="991510" y="65635"/>
                    <a:pt x="962583" y="94562"/>
                    <a:pt x="962583" y="130245"/>
                  </a:cubicBezTo>
                  <a:cubicBezTo>
                    <a:pt x="962583" y="165927"/>
                    <a:pt x="991510" y="194854"/>
                    <a:pt x="1027192" y="194854"/>
                  </a:cubicBezTo>
                  <a:cubicBezTo>
                    <a:pt x="1062874" y="194854"/>
                    <a:pt x="1091801" y="165927"/>
                    <a:pt x="1091801" y="130245"/>
                  </a:cubicBezTo>
                  <a:cubicBezTo>
                    <a:pt x="1091801" y="94562"/>
                    <a:pt x="1062874" y="65635"/>
                    <a:pt x="1027192" y="65635"/>
                  </a:cubicBezTo>
                  <a:close/>
                  <a:moveTo>
                    <a:pt x="1022052" y="0"/>
                  </a:moveTo>
                  <a:lnTo>
                    <a:pt x="1027192" y="952"/>
                  </a:lnTo>
                  <a:lnTo>
                    <a:pt x="1032330" y="0"/>
                  </a:lnTo>
                  <a:cubicBezTo>
                    <a:pt x="1099144" y="0"/>
                    <a:pt x="1154151" y="49992"/>
                    <a:pt x="1159147" y="114435"/>
                  </a:cubicBezTo>
                  <a:lnTo>
                    <a:pt x="1159834" y="114487"/>
                  </a:lnTo>
                  <a:cubicBezTo>
                    <a:pt x="1173754" y="205539"/>
                    <a:pt x="1199690" y="225374"/>
                    <a:pt x="1273971" y="248867"/>
                  </a:cubicBezTo>
                  <a:lnTo>
                    <a:pt x="1277426" y="248867"/>
                  </a:lnTo>
                  <a:lnTo>
                    <a:pt x="1277426" y="250155"/>
                  </a:lnTo>
                  <a:lnTo>
                    <a:pt x="1279476" y="250921"/>
                  </a:lnTo>
                  <a:lnTo>
                    <a:pt x="1277426" y="250912"/>
                  </a:lnTo>
                  <a:lnTo>
                    <a:pt x="1277426" y="435368"/>
                  </a:lnTo>
                  <a:cubicBezTo>
                    <a:pt x="1289733" y="435939"/>
                    <a:pt x="1301388" y="436707"/>
                    <a:pt x="1312282" y="437568"/>
                  </a:cubicBezTo>
                  <a:cubicBezTo>
                    <a:pt x="1462358" y="449418"/>
                    <a:pt x="1558113" y="470385"/>
                    <a:pt x="1624404" y="508672"/>
                  </a:cubicBezTo>
                  <a:cubicBezTo>
                    <a:pt x="1690696" y="546959"/>
                    <a:pt x="1698983" y="592996"/>
                    <a:pt x="1696221" y="645412"/>
                  </a:cubicBezTo>
                  <a:cubicBezTo>
                    <a:pt x="1690737" y="646104"/>
                    <a:pt x="1671055" y="647063"/>
                    <a:pt x="1640233" y="648148"/>
                  </a:cubicBezTo>
                  <a:lnTo>
                    <a:pt x="354130" y="648148"/>
                  </a:lnTo>
                  <a:cubicBezTo>
                    <a:pt x="354675" y="582341"/>
                    <a:pt x="386879" y="526881"/>
                    <a:pt x="447729" y="492263"/>
                  </a:cubicBezTo>
                  <a:cubicBezTo>
                    <a:pt x="509421" y="457166"/>
                    <a:pt x="579852" y="449418"/>
                    <a:pt x="723944" y="440302"/>
                  </a:cubicBezTo>
                  <a:lnTo>
                    <a:pt x="776956" y="437595"/>
                  </a:lnTo>
                  <a:lnTo>
                    <a:pt x="776956" y="250912"/>
                  </a:lnTo>
                  <a:lnTo>
                    <a:pt x="774906" y="250921"/>
                  </a:lnTo>
                  <a:lnTo>
                    <a:pt x="776956" y="250155"/>
                  </a:lnTo>
                  <a:lnTo>
                    <a:pt x="776956" y="248867"/>
                  </a:lnTo>
                  <a:lnTo>
                    <a:pt x="780411" y="248867"/>
                  </a:lnTo>
                  <a:cubicBezTo>
                    <a:pt x="854692" y="225374"/>
                    <a:pt x="880630" y="205539"/>
                    <a:pt x="894550" y="114487"/>
                  </a:cubicBezTo>
                  <a:lnTo>
                    <a:pt x="895237" y="114435"/>
                  </a:lnTo>
                  <a:cubicBezTo>
                    <a:pt x="900233" y="49992"/>
                    <a:pt x="955239" y="0"/>
                    <a:pt x="1022052" y="0"/>
                  </a:cubicBezTo>
                  <a:close/>
                </a:path>
              </a:pathLst>
            </a:custGeom>
            <a:solidFill>
              <a:srgbClr val="007ABD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9806864" y="83339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1573335" y="425589"/>
            <a:ext cx="792000" cy="792000"/>
            <a:chOff x="9936796" y="460584"/>
            <a:chExt cx="792000" cy="792000"/>
          </a:xfrm>
        </p:grpSpPr>
        <p:sp>
          <p:nvSpPr>
            <p:cNvPr id="82" name="Freeform 81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black">
            <a:xfrm>
              <a:off x="10088246" y="558156"/>
              <a:ext cx="489100" cy="596857"/>
            </a:xfrm>
            <a:custGeom>
              <a:avLst/>
              <a:gdLst>
                <a:gd name="T0" fmla="*/ 129 w 246"/>
                <a:gd name="T1" fmla="*/ 192 h 300"/>
                <a:gd name="T2" fmla="*/ 43 w 246"/>
                <a:gd name="T3" fmla="*/ 202 h 300"/>
                <a:gd name="T4" fmla="*/ 129 w 246"/>
                <a:gd name="T5" fmla="*/ 126 h 300"/>
                <a:gd name="T6" fmla="*/ 43 w 246"/>
                <a:gd name="T7" fmla="*/ 135 h 300"/>
                <a:gd name="T8" fmla="*/ 129 w 246"/>
                <a:gd name="T9" fmla="*/ 126 h 300"/>
                <a:gd name="T10" fmla="*/ 215 w 246"/>
                <a:gd name="T11" fmla="*/ 101 h 300"/>
                <a:gd name="T12" fmla="*/ 219 w 246"/>
                <a:gd name="T13" fmla="*/ 90 h 300"/>
                <a:gd name="T14" fmla="*/ 208 w 246"/>
                <a:gd name="T15" fmla="*/ 111 h 300"/>
                <a:gd name="T16" fmla="*/ 43 w 246"/>
                <a:gd name="T17" fmla="*/ 92 h 300"/>
                <a:gd name="T18" fmla="*/ 117 w 246"/>
                <a:gd name="T19" fmla="*/ 102 h 300"/>
                <a:gd name="T20" fmla="*/ 43 w 246"/>
                <a:gd name="T21" fmla="*/ 235 h 300"/>
                <a:gd name="T22" fmla="*/ 117 w 246"/>
                <a:gd name="T23" fmla="*/ 226 h 300"/>
                <a:gd name="T24" fmla="*/ 43 w 246"/>
                <a:gd name="T25" fmla="*/ 235 h 300"/>
                <a:gd name="T26" fmla="*/ 11 w 246"/>
                <a:gd name="T27" fmla="*/ 287 h 300"/>
                <a:gd name="T28" fmla="*/ 35 w 246"/>
                <a:gd name="T29" fmla="*/ 36 h 300"/>
                <a:gd name="T30" fmla="*/ 0 w 246"/>
                <a:gd name="T31" fmla="*/ 22 h 300"/>
                <a:gd name="T32" fmla="*/ 219 w 246"/>
                <a:gd name="T33" fmla="*/ 300 h 300"/>
                <a:gd name="T34" fmla="*/ 208 w 246"/>
                <a:gd name="T35" fmla="*/ 173 h 300"/>
                <a:gd name="T36" fmla="*/ 117 w 246"/>
                <a:gd name="T37" fmla="*/ 159 h 300"/>
                <a:gd name="T38" fmla="*/ 43 w 246"/>
                <a:gd name="T39" fmla="*/ 169 h 300"/>
                <a:gd name="T40" fmla="*/ 117 w 246"/>
                <a:gd name="T41" fmla="*/ 159 h 300"/>
                <a:gd name="T42" fmla="*/ 57 w 246"/>
                <a:gd name="T43" fmla="*/ 22 h 300"/>
                <a:gd name="T44" fmla="*/ 86 w 246"/>
                <a:gd name="T45" fmla="*/ 20 h 300"/>
                <a:gd name="T46" fmla="*/ 110 w 246"/>
                <a:gd name="T47" fmla="*/ 0 h 300"/>
                <a:gd name="T48" fmla="*/ 133 w 246"/>
                <a:gd name="T49" fmla="*/ 20 h 300"/>
                <a:gd name="T50" fmla="*/ 162 w 246"/>
                <a:gd name="T51" fmla="*/ 22 h 300"/>
                <a:gd name="T52" fmla="*/ 179 w 246"/>
                <a:gd name="T53" fmla="*/ 43 h 300"/>
                <a:gd name="T54" fmla="*/ 41 w 246"/>
                <a:gd name="T55" fmla="*/ 36 h 300"/>
                <a:gd name="T56" fmla="*/ 110 w 246"/>
                <a:gd name="T57" fmla="*/ 20 h 300"/>
                <a:gd name="T58" fmla="*/ 110 w 246"/>
                <a:gd name="T59" fmla="*/ 11 h 300"/>
                <a:gd name="T60" fmla="*/ 190 w 246"/>
                <a:gd name="T61" fmla="*/ 269 h 300"/>
                <a:gd name="T62" fmla="*/ 29 w 246"/>
                <a:gd name="T63" fmla="*/ 59 h 300"/>
                <a:gd name="T64" fmla="*/ 190 w 246"/>
                <a:gd name="T65" fmla="*/ 71 h 300"/>
                <a:gd name="T66" fmla="*/ 200 w 246"/>
                <a:gd name="T67" fmla="*/ 49 h 300"/>
                <a:gd name="T68" fmla="*/ 19 w 246"/>
                <a:gd name="T69" fmla="*/ 278 h 300"/>
                <a:gd name="T70" fmla="*/ 200 w 246"/>
                <a:gd name="T71" fmla="*/ 185 h 300"/>
                <a:gd name="T72" fmla="*/ 190 w 246"/>
                <a:gd name="T73" fmla="*/ 269 h 300"/>
                <a:gd name="T74" fmla="*/ 190 w 246"/>
                <a:gd name="T75" fmla="*/ 133 h 300"/>
                <a:gd name="T76" fmla="*/ 200 w 246"/>
                <a:gd name="T77" fmla="*/ 124 h 300"/>
                <a:gd name="T78" fmla="*/ 215 w 246"/>
                <a:gd name="T79" fmla="*/ 35 h 300"/>
                <a:gd name="T80" fmla="*/ 219 w 246"/>
                <a:gd name="T81" fmla="*/ 22 h 300"/>
                <a:gd name="T82" fmla="*/ 184 w 246"/>
                <a:gd name="T83" fmla="*/ 36 h 300"/>
                <a:gd name="T84" fmla="*/ 208 w 246"/>
                <a:gd name="T85" fmla="*/ 44 h 300"/>
                <a:gd name="T86" fmla="*/ 246 w 246"/>
                <a:gd name="T87" fmla="*/ 41 h 300"/>
                <a:gd name="T88" fmla="*/ 155 w 246"/>
                <a:gd name="T89" fmla="*/ 134 h 300"/>
                <a:gd name="T90" fmla="*/ 156 w 246"/>
                <a:gd name="T91" fmla="*/ 92 h 300"/>
                <a:gd name="T92" fmla="*/ 218 w 246"/>
                <a:gd name="T93" fmla="*/ 41 h 300"/>
                <a:gd name="T94" fmla="*/ 246 w 246"/>
                <a:gd name="T95" fmla="*/ 107 h 300"/>
                <a:gd name="T96" fmla="*/ 155 w 246"/>
                <a:gd name="T97" fmla="*/ 201 h 300"/>
                <a:gd name="T98" fmla="*/ 156 w 246"/>
                <a:gd name="T99" fmla="*/ 159 h 300"/>
                <a:gd name="T100" fmla="*/ 218 w 246"/>
                <a:gd name="T101" fmla="*/ 10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6" h="300">
                  <a:moveTo>
                    <a:pt x="43" y="192"/>
                  </a:moveTo>
                  <a:cubicBezTo>
                    <a:pt x="129" y="192"/>
                    <a:pt x="129" y="192"/>
                    <a:pt x="129" y="192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43" y="202"/>
                    <a:pt x="43" y="202"/>
                    <a:pt x="43" y="202"/>
                  </a:cubicBezTo>
                  <a:lnTo>
                    <a:pt x="43" y="192"/>
                  </a:lnTo>
                  <a:close/>
                  <a:moveTo>
                    <a:pt x="129" y="126"/>
                  </a:moveTo>
                  <a:cubicBezTo>
                    <a:pt x="43" y="126"/>
                    <a:pt x="43" y="126"/>
                    <a:pt x="43" y="126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129" y="135"/>
                    <a:pt x="129" y="135"/>
                    <a:pt x="129" y="135"/>
                  </a:cubicBezTo>
                  <a:lnTo>
                    <a:pt x="129" y="126"/>
                  </a:lnTo>
                  <a:close/>
                  <a:moveTo>
                    <a:pt x="208" y="111"/>
                  </a:moveTo>
                  <a:cubicBezTo>
                    <a:pt x="215" y="101"/>
                    <a:pt x="215" y="101"/>
                    <a:pt x="215" y="101"/>
                  </a:cubicBezTo>
                  <a:cubicBezTo>
                    <a:pt x="219" y="101"/>
                    <a:pt x="219" y="101"/>
                    <a:pt x="219" y="101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08" y="106"/>
                    <a:pt x="208" y="106"/>
                    <a:pt x="208" y="106"/>
                  </a:cubicBezTo>
                  <a:lnTo>
                    <a:pt x="208" y="111"/>
                  </a:lnTo>
                  <a:close/>
                  <a:moveTo>
                    <a:pt x="117" y="92"/>
                  </a:moveTo>
                  <a:cubicBezTo>
                    <a:pt x="43" y="92"/>
                    <a:pt x="43" y="92"/>
                    <a:pt x="43" y="9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17" y="102"/>
                    <a:pt x="117" y="102"/>
                    <a:pt x="117" y="102"/>
                  </a:cubicBezTo>
                  <a:lnTo>
                    <a:pt x="117" y="92"/>
                  </a:lnTo>
                  <a:close/>
                  <a:moveTo>
                    <a:pt x="43" y="235"/>
                  </a:moveTo>
                  <a:cubicBezTo>
                    <a:pt x="117" y="235"/>
                    <a:pt x="117" y="235"/>
                    <a:pt x="117" y="235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43" y="226"/>
                    <a:pt x="43" y="226"/>
                    <a:pt x="43" y="226"/>
                  </a:cubicBezTo>
                  <a:lnTo>
                    <a:pt x="43" y="235"/>
                  </a:lnTo>
                  <a:close/>
                  <a:moveTo>
                    <a:pt x="208" y="287"/>
                  </a:moveTo>
                  <a:cubicBezTo>
                    <a:pt x="11" y="287"/>
                    <a:pt x="11" y="287"/>
                    <a:pt x="11" y="28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7" y="31"/>
                    <a:pt x="40" y="26"/>
                    <a:pt x="44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219" y="300"/>
                    <a:pt x="219" y="300"/>
                    <a:pt x="219" y="300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08" y="173"/>
                    <a:pt x="208" y="173"/>
                    <a:pt x="208" y="173"/>
                  </a:cubicBezTo>
                  <a:lnTo>
                    <a:pt x="208" y="287"/>
                  </a:lnTo>
                  <a:close/>
                  <a:moveTo>
                    <a:pt x="117" y="159"/>
                  </a:moveTo>
                  <a:cubicBezTo>
                    <a:pt x="43" y="159"/>
                    <a:pt x="43" y="159"/>
                    <a:pt x="43" y="159"/>
                  </a:cubicBezTo>
                  <a:cubicBezTo>
                    <a:pt x="43" y="169"/>
                    <a:pt x="43" y="169"/>
                    <a:pt x="4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17" y="159"/>
                  </a:lnTo>
                  <a:close/>
                  <a:moveTo>
                    <a:pt x="41" y="36"/>
                  </a:moveTo>
                  <a:cubicBezTo>
                    <a:pt x="43" y="29"/>
                    <a:pt x="50" y="25"/>
                    <a:pt x="57" y="22"/>
                  </a:cubicBezTo>
                  <a:cubicBezTo>
                    <a:pt x="63" y="21"/>
                    <a:pt x="71" y="20"/>
                    <a:pt x="77" y="20"/>
                  </a:cubicBezTo>
                  <a:cubicBezTo>
                    <a:pt x="80" y="20"/>
                    <a:pt x="83" y="20"/>
                    <a:pt x="86" y="20"/>
                  </a:cubicBezTo>
                  <a:cubicBezTo>
                    <a:pt x="87" y="20"/>
                    <a:pt x="88" y="20"/>
                    <a:pt x="89" y="20"/>
                  </a:cubicBezTo>
                  <a:cubicBezTo>
                    <a:pt x="89" y="9"/>
                    <a:pt x="98" y="0"/>
                    <a:pt x="110" y="0"/>
                  </a:cubicBezTo>
                  <a:cubicBezTo>
                    <a:pt x="121" y="0"/>
                    <a:pt x="130" y="9"/>
                    <a:pt x="130" y="20"/>
                  </a:cubicBezTo>
                  <a:cubicBezTo>
                    <a:pt x="131" y="20"/>
                    <a:pt x="132" y="20"/>
                    <a:pt x="133" y="20"/>
                  </a:cubicBezTo>
                  <a:cubicBezTo>
                    <a:pt x="136" y="20"/>
                    <a:pt x="139" y="20"/>
                    <a:pt x="142" y="20"/>
                  </a:cubicBezTo>
                  <a:cubicBezTo>
                    <a:pt x="149" y="20"/>
                    <a:pt x="156" y="21"/>
                    <a:pt x="162" y="22"/>
                  </a:cubicBezTo>
                  <a:cubicBezTo>
                    <a:pt x="170" y="25"/>
                    <a:pt x="176" y="29"/>
                    <a:pt x="178" y="36"/>
                  </a:cubicBezTo>
                  <a:cubicBezTo>
                    <a:pt x="179" y="38"/>
                    <a:pt x="179" y="41"/>
                    <a:pt x="179" y="43"/>
                  </a:cubicBezTo>
                  <a:cubicBezTo>
                    <a:pt x="145" y="43"/>
                    <a:pt x="74" y="43"/>
                    <a:pt x="40" y="43"/>
                  </a:cubicBezTo>
                  <a:cubicBezTo>
                    <a:pt x="40" y="41"/>
                    <a:pt x="41" y="38"/>
                    <a:pt x="41" y="36"/>
                  </a:cubicBezTo>
                  <a:close/>
                  <a:moveTo>
                    <a:pt x="99" y="20"/>
                  </a:moveTo>
                  <a:cubicBezTo>
                    <a:pt x="103" y="20"/>
                    <a:pt x="106" y="20"/>
                    <a:pt x="110" y="20"/>
                  </a:cubicBezTo>
                  <a:cubicBezTo>
                    <a:pt x="113" y="20"/>
                    <a:pt x="116" y="20"/>
                    <a:pt x="120" y="20"/>
                  </a:cubicBezTo>
                  <a:cubicBezTo>
                    <a:pt x="119" y="15"/>
                    <a:pt x="115" y="11"/>
                    <a:pt x="110" y="11"/>
                  </a:cubicBezTo>
                  <a:cubicBezTo>
                    <a:pt x="104" y="11"/>
                    <a:pt x="100" y="15"/>
                    <a:pt x="99" y="20"/>
                  </a:cubicBezTo>
                  <a:close/>
                  <a:moveTo>
                    <a:pt x="190" y="269"/>
                  </a:moveTo>
                  <a:cubicBezTo>
                    <a:pt x="29" y="269"/>
                    <a:pt x="29" y="269"/>
                    <a:pt x="29" y="26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190" y="59"/>
                    <a:pt x="190" y="59"/>
                    <a:pt x="190" y="59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49"/>
                    <a:pt x="200" y="49"/>
                    <a:pt x="200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278"/>
                    <a:pt x="19" y="278"/>
                    <a:pt x="19" y="278"/>
                  </a:cubicBezTo>
                  <a:cubicBezTo>
                    <a:pt x="200" y="278"/>
                    <a:pt x="200" y="278"/>
                    <a:pt x="200" y="278"/>
                  </a:cubicBezTo>
                  <a:cubicBezTo>
                    <a:pt x="200" y="185"/>
                    <a:pt x="200" y="185"/>
                    <a:pt x="200" y="185"/>
                  </a:cubicBezTo>
                  <a:cubicBezTo>
                    <a:pt x="190" y="199"/>
                    <a:pt x="190" y="199"/>
                    <a:pt x="190" y="199"/>
                  </a:cubicBezTo>
                  <a:lnTo>
                    <a:pt x="190" y="269"/>
                  </a:lnTo>
                  <a:close/>
                  <a:moveTo>
                    <a:pt x="200" y="119"/>
                  </a:moveTo>
                  <a:cubicBezTo>
                    <a:pt x="190" y="133"/>
                    <a:pt x="190" y="133"/>
                    <a:pt x="190" y="133"/>
                  </a:cubicBezTo>
                  <a:cubicBezTo>
                    <a:pt x="190" y="138"/>
                    <a:pt x="190" y="138"/>
                    <a:pt x="190" y="138"/>
                  </a:cubicBezTo>
                  <a:cubicBezTo>
                    <a:pt x="200" y="124"/>
                    <a:pt x="200" y="124"/>
                    <a:pt x="200" y="124"/>
                  </a:cubicBezTo>
                  <a:lnTo>
                    <a:pt x="200" y="119"/>
                  </a:lnTo>
                  <a:close/>
                  <a:moveTo>
                    <a:pt x="215" y="35"/>
                  </a:moveTo>
                  <a:cubicBezTo>
                    <a:pt x="219" y="35"/>
                    <a:pt x="219" y="35"/>
                    <a:pt x="219" y="35"/>
                  </a:cubicBezTo>
                  <a:cubicBezTo>
                    <a:pt x="219" y="22"/>
                    <a:pt x="219" y="22"/>
                    <a:pt x="219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9" y="26"/>
                    <a:pt x="182" y="30"/>
                    <a:pt x="184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8" y="44"/>
                    <a:pt x="208" y="44"/>
                    <a:pt x="208" y="44"/>
                  </a:cubicBezTo>
                  <a:lnTo>
                    <a:pt x="215" y="35"/>
                  </a:lnTo>
                  <a:close/>
                  <a:moveTo>
                    <a:pt x="246" y="41"/>
                  </a:moveTo>
                  <a:cubicBezTo>
                    <a:pt x="182" y="134"/>
                    <a:pt x="182" y="134"/>
                    <a:pt x="182" y="134"/>
                  </a:cubicBezTo>
                  <a:cubicBezTo>
                    <a:pt x="155" y="134"/>
                    <a:pt x="155" y="134"/>
                    <a:pt x="155" y="134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56" y="92"/>
                    <a:pt x="156" y="92"/>
                    <a:pt x="156" y="92"/>
                  </a:cubicBezTo>
                  <a:cubicBezTo>
                    <a:pt x="169" y="113"/>
                    <a:pt x="169" y="113"/>
                    <a:pt x="169" y="113"/>
                  </a:cubicBezTo>
                  <a:cubicBezTo>
                    <a:pt x="218" y="41"/>
                    <a:pt x="218" y="41"/>
                    <a:pt x="218" y="41"/>
                  </a:cubicBezTo>
                  <a:lnTo>
                    <a:pt x="246" y="41"/>
                  </a:lnTo>
                  <a:close/>
                  <a:moveTo>
                    <a:pt x="246" y="107"/>
                  </a:moveTo>
                  <a:cubicBezTo>
                    <a:pt x="182" y="201"/>
                    <a:pt x="182" y="201"/>
                    <a:pt x="182" y="201"/>
                  </a:cubicBezTo>
                  <a:cubicBezTo>
                    <a:pt x="155" y="201"/>
                    <a:pt x="155" y="201"/>
                    <a:pt x="155" y="201"/>
                  </a:cubicBezTo>
                  <a:cubicBezTo>
                    <a:pt x="129" y="159"/>
                    <a:pt x="129" y="159"/>
                    <a:pt x="129" y="159"/>
                  </a:cubicBezTo>
                  <a:cubicBezTo>
                    <a:pt x="156" y="159"/>
                    <a:pt x="156" y="159"/>
                    <a:pt x="156" y="159"/>
                  </a:cubicBezTo>
                  <a:cubicBezTo>
                    <a:pt x="169" y="180"/>
                    <a:pt x="169" y="180"/>
                    <a:pt x="169" y="180"/>
                  </a:cubicBezTo>
                  <a:cubicBezTo>
                    <a:pt x="218" y="107"/>
                    <a:pt x="218" y="107"/>
                    <a:pt x="218" y="107"/>
                  </a:cubicBezTo>
                  <a:lnTo>
                    <a:pt x="246" y="107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271" tIns="41136" rIns="82271" bIns="41136" numCol="1" anchor="b" anchorCtr="0" compatLnSpc="1">
              <a:prstTxWarp prst="textNoShape">
                <a:avLst/>
              </a:prstTxWarp>
            </a:bodyPr>
            <a:lstStyle/>
            <a:p>
              <a:pPr algn="ctr" defTabSz="685652">
                <a:defRPr/>
              </a:pPr>
              <a:endParaRPr lang="en-US" sz="16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929"/>
                </a:solidFill>
                <a:latin typeface="Calibri" panose="020F0502020204030204"/>
                <a:cs typeface="Segoe UI" panose="020B0502040204020203" pitchFamily="34" charset="0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9936796" y="46058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3144676" y="2739881"/>
            <a:ext cx="6222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Cloud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073424" y="2737343"/>
            <a:ext cx="15103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Charts &amp; Graphs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-30208" y="354429"/>
            <a:ext cx="792000" cy="792000"/>
            <a:chOff x="1671719" y="-1624236"/>
            <a:chExt cx="792000" cy="792000"/>
          </a:xfrm>
        </p:grpSpPr>
        <p:sp>
          <p:nvSpPr>
            <p:cNvPr id="106" name="Freeform 11"/>
            <p:cNvSpPr>
              <a:spLocks noEditPoints="1"/>
            </p:cNvSpPr>
            <p:nvPr/>
          </p:nvSpPr>
          <p:spPr bwMode="auto">
            <a:xfrm>
              <a:off x="1759661" y="-1536968"/>
              <a:ext cx="616116" cy="617465"/>
            </a:xfrm>
            <a:custGeom>
              <a:avLst/>
              <a:gdLst>
                <a:gd name="T0" fmla="*/ 881 w 966"/>
                <a:gd name="T1" fmla="*/ 82 h 968"/>
                <a:gd name="T2" fmla="*/ 669 w 966"/>
                <a:gd name="T3" fmla="*/ 99 h 968"/>
                <a:gd name="T4" fmla="*/ 483 w 966"/>
                <a:gd name="T5" fmla="*/ 0 h 968"/>
                <a:gd name="T6" fmla="*/ 297 w 966"/>
                <a:gd name="T7" fmla="*/ 99 h 968"/>
                <a:gd name="T8" fmla="*/ 85 w 966"/>
                <a:gd name="T9" fmla="*/ 82 h 968"/>
                <a:gd name="T10" fmla="*/ 79 w 966"/>
                <a:gd name="T11" fmla="*/ 554 h 968"/>
                <a:gd name="T12" fmla="*/ 483 w 966"/>
                <a:gd name="T13" fmla="*/ 968 h 968"/>
                <a:gd name="T14" fmla="*/ 887 w 966"/>
                <a:gd name="T15" fmla="*/ 554 h 968"/>
                <a:gd name="T16" fmla="*/ 881 w 966"/>
                <a:gd name="T17" fmla="*/ 82 h 968"/>
                <a:gd name="T18" fmla="*/ 797 w 966"/>
                <a:gd name="T19" fmla="*/ 578 h 968"/>
                <a:gd name="T20" fmla="*/ 483 w 966"/>
                <a:gd name="T21" fmla="*/ 877 h 968"/>
                <a:gd name="T22" fmla="*/ 169 w 966"/>
                <a:gd name="T23" fmla="*/ 578 h 968"/>
                <a:gd name="T24" fmla="*/ 793 w 966"/>
                <a:gd name="T25" fmla="*/ 238 h 968"/>
                <a:gd name="T26" fmla="*/ 797 w 966"/>
                <a:gd name="T27" fmla="*/ 57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6" h="968">
                  <a:moveTo>
                    <a:pt x="881" y="82"/>
                  </a:moveTo>
                  <a:cubicBezTo>
                    <a:pt x="881" y="82"/>
                    <a:pt x="775" y="127"/>
                    <a:pt x="669" y="99"/>
                  </a:cubicBezTo>
                  <a:cubicBezTo>
                    <a:pt x="563" y="71"/>
                    <a:pt x="483" y="0"/>
                    <a:pt x="483" y="0"/>
                  </a:cubicBezTo>
                  <a:cubicBezTo>
                    <a:pt x="483" y="0"/>
                    <a:pt x="403" y="71"/>
                    <a:pt x="297" y="99"/>
                  </a:cubicBezTo>
                  <a:cubicBezTo>
                    <a:pt x="191" y="127"/>
                    <a:pt x="85" y="82"/>
                    <a:pt x="85" y="82"/>
                  </a:cubicBezTo>
                  <a:cubicBezTo>
                    <a:pt x="85" y="82"/>
                    <a:pt x="0" y="334"/>
                    <a:pt x="79" y="554"/>
                  </a:cubicBezTo>
                  <a:cubicBezTo>
                    <a:pt x="158" y="774"/>
                    <a:pt x="422" y="968"/>
                    <a:pt x="483" y="968"/>
                  </a:cubicBezTo>
                  <a:cubicBezTo>
                    <a:pt x="544" y="968"/>
                    <a:pt x="808" y="774"/>
                    <a:pt x="887" y="554"/>
                  </a:cubicBezTo>
                  <a:cubicBezTo>
                    <a:pt x="966" y="334"/>
                    <a:pt x="881" y="82"/>
                    <a:pt x="881" y="82"/>
                  </a:cubicBezTo>
                  <a:close/>
                  <a:moveTo>
                    <a:pt x="797" y="578"/>
                  </a:moveTo>
                  <a:cubicBezTo>
                    <a:pt x="736" y="736"/>
                    <a:pt x="530" y="877"/>
                    <a:pt x="483" y="877"/>
                  </a:cubicBezTo>
                  <a:cubicBezTo>
                    <a:pt x="436" y="877"/>
                    <a:pt x="229" y="737"/>
                    <a:pt x="169" y="578"/>
                  </a:cubicBezTo>
                  <a:cubicBezTo>
                    <a:pt x="169" y="578"/>
                    <a:pt x="339" y="297"/>
                    <a:pt x="793" y="238"/>
                  </a:cubicBezTo>
                  <a:cubicBezTo>
                    <a:pt x="793" y="238"/>
                    <a:pt x="859" y="419"/>
                    <a:pt x="797" y="578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390" tIns="45696" rIns="91390" bIns="45696" numCol="1" anchor="t" anchorCtr="0" compatLnSpc="1">
              <a:prstTxWarp prst="textNoShape">
                <a:avLst/>
              </a:prstTxWarp>
            </a:bodyPr>
            <a:lstStyle/>
            <a:p>
              <a:pPr defTabSz="932540">
                <a:defRPr/>
              </a:pPr>
              <a:endParaRPr lang="en-US" sz="1600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1671719" y="-16242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5550310" y="3132452"/>
            <a:ext cx="792000" cy="792000"/>
            <a:chOff x="9936796" y="493252"/>
            <a:chExt cx="792000" cy="792000"/>
          </a:xfrm>
        </p:grpSpPr>
        <p:sp>
          <p:nvSpPr>
            <p:cNvPr id="113" name="Rectangle 135"/>
            <p:cNvSpPr/>
            <p:nvPr>
              <p:custDataLst>
                <p:tags r:id="rId3"/>
              </p:custDataLst>
            </p:nvPr>
          </p:nvSpPr>
          <p:spPr bwMode="auto">
            <a:xfrm>
              <a:off x="9948276" y="553196"/>
              <a:ext cx="769041" cy="672112"/>
            </a:xfrm>
            <a:custGeom>
              <a:avLst/>
              <a:gdLst/>
              <a:ahLst/>
              <a:cxnLst/>
              <a:rect l="l" t="t" r="r" b="b"/>
              <a:pathLst>
                <a:path w="4691327" h="4100037">
                  <a:moveTo>
                    <a:pt x="1582367" y="2785348"/>
                  </a:moveTo>
                  <a:lnTo>
                    <a:pt x="1582367" y="2787595"/>
                  </a:lnTo>
                  <a:lnTo>
                    <a:pt x="1580874" y="2787377"/>
                  </a:lnTo>
                  <a:cubicBezTo>
                    <a:pt x="1581426" y="2786751"/>
                    <a:pt x="1581977" y="2786122"/>
                    <a:pt x="1582367" y="2785348"/>
                  </a:cubicBezTo>
                  <a:close/>
                  <a:moveTo>
                    <a:pt x="4094790" y="2627448"/>
                  </a:moveTo>
                  <a:lnTo>
                    <a:pt x="4094790" y="3108960"/>
                  </a:lnTo>
                  <a:lnTo>
                    <a:pt x="4599887" y="3108960"/>
                  </a:lnTo>
                  <a:lnTo>
                    <a:pt x="4599887" y="2627448"/>
                  </a:lnTo>
                  <a:close/>
                  <a:moveTo>
                    <a:pt x="3425924" y="2627448"/>
                  </a:moveTo>
                  <a:lnTo>
                    <a:pt x="3425924" y="3108960"/>
                  </a:lnTo>
                  <a:lnTo>
                    <a:pt x="4049070" y="3108960"/>
                  </a:lnTo>
                  <a:lnTo>
                    <a:pt x="4049070" y="2627448"/>
                  </a:lnTo>
                  <a:close/>
                  <a:moveTo>
                    <a:pt x="2757057" y="2627448"/>
                  </a:moveTo>
                  <a:lnTo>
                    <a:pt x="2757057" y="3108960"/>
                  </a:lnTo>
                  <a:lnTo>
                    <a:pt x="3380204" y="3108960"/>
                  </a:lnTo>
                  <a:lnTo>
                    <a:pt x="3380204" y="2627448"/>
                  </a:lnTo>
                  <a:close/>
                  <a:moveTo>
                    <a:pt x="4094790" y="1975514"/>
                  </a:moveTo>
                  <a:lnTo>
                    <a:pt x="4094790" y="2581729"/>
                  </a:lnTo>
                  <a:lnTo>
                    <a:pt x="4599887" y="2581729"/>
                  </a:lnTo>
                  <a:lnTo>
                    <a:pt x="4599887" y="1975514"/>
                  </a:lnTo>
                  <a:close/>
                  <a:moveTo>
                    <a:pt x="3425924" y="1975514"/>
                  </a:moveTo>
                  <a:lnTo>
                    <a:pt x="3425924" y="2581729"/>
                  </a:lnTo>
                  <a:lnTo>
                    <a:pt x="4049070" y="2581729"/>
                  </a:lnTo>
                  <a:lnTo>
                    <a:pt x="4049070" y="1975514"/>
                  </a:lnTo>
                  <a:close/>
                  <a:moveTo>
                    <a:pt x="2757057" y="1975514"/>
                  </a:moveTo>
                  <a:lnTo>
                    <a:pt x="2757057" y="2581729"/>
                  </a:lnTo>
                  <a:lnTo>
                    <a:pt x="3380204" y="2581729"/>
                  </a:lnTo>
                  <a:lnTo>
                    <a:pt x="3380204" y="1975514"/>
                  </a:lnTo>
                  <a:close/>
                  <a:moveTo>
                    <a:pt x="2613376" y="1975514"/>
                  </a:moveTo>
                  <a:lnTo>
                    <a:pt x="2388162" y="2544127"/>
                  </a:lnTo>
                  <a:lnTo>
                    <a:pt x="2114917" y="2034166"/>
                  </a:lnTo>
                  <a:lnTo>
                    <a:pt x="2088190" y="2049962"/>
                  </a:lnTo>
                  <a:lnTo>
                    <a:pt x="2088190" y="2581729"/>
                  </a:lnTo>
                  <a:lnTo>
                    <a:pt x="2711337" y="2581729"/>
                  </a:lnTo>
                  <a:lnTo>
                    <a:pt x="2711337" y="1975514"/>
                  </a:lnTo>
                  <a:close/>
                  <a:moveTo>
                    <a:pt x="1629418" y="1975514"/>
                  </a:moveTo>
                  <a:cubicBezTo>
                    <a:pt x="1639758" y="2026787"/>
                    <a:pt x="1644652" y="2080347"/>
                    <a:pt x="1644652" y="2135347"/>
                  </a:cubicBezTo>
                  <a:cubicBezTo>
                    <a:pt x="1644652" y="2304623"/>
                    <a:pt x="1598296" y="2460257"/>
                    <a:pt x="1518386" y="2581729"/>
                  </a:cubicBezTo>
                  <a:lnTo>
                    <a:pt x="2042470" y="2581729"/>
                  </a:lnTo>
                  <a:lnTo>
                    <a:pt x="2042470" y="2076984"/>
                  </a:lnTo>
                  <a:lnTo>
                    <a:pt x="1776889" y="2233951"/>
                  </a:lnTo>
                  <a:cubicBezTo>
                    <a:pt x="1785074" y="2148768"/>
                    <a:pt x="1783436" y="2061033"/>
                    <a:pt x="1768701" y="1975514"/>
                  </a:cubicBezTo>
                  <a:close/>
                  <a:moveTo>
                    <a:pt x="2711337" y="1728187"/>
                  </a:moveTo>
                  <a:lnTo>
                    <a:pt x="2631485" y="1929795"/>
                  </a:lnTo>
                  <a:lnTo>
                    <a:pt x="2711337" y="1929795"/>
                  </a:lnTo>
                  <a:close/>
                  <a:moveTo>
                    <a:pt x="2854838" y="1365881"/>
                  </a:moveTo>
                  <a:lnTo>
                    <a:pt x="2757057" y="1612755"/>
                  </a:lnTo>
                  <a:lnTo>
                    <a:pt x="2757057" y="1929795"/>
                  </a:lnTo>
                  <a:lnTo>
                    <a:pt x="3380204" y="1929795"/>
                  </a:lnTo>
                  <a:lnTo>
                    <a:pt x="3380204" y="1462108"/>
                  </a:lnTo>
                  <a:close/>
                  <a:moveTo>
                    <a:pt x="4094790" y="1323581"/>
                  </a:moveTo>
                  <a:lnTo>
                    <a:pt x="4094790" y="1929795"/>
                  </a:lnTo>
                  <a:lnTo>
                    <a:pt x="4599887" y="1929795"/>
                  </a:lnTo>
                  <a:lnTo>
                    <a:pt x="4599887" y="1323581"/>
                  </a:lnTo>
                  <a:close/>
                  <a:moveTo>
                    <a:pt x="3658828" y="1323581"/>
                  </a:moveTo>
                  <a:lnTo>
                    <a:pt x="3475649" y="1479590"/>
                  </a:lnTo>
                  <a:lnTo>
                    <a:pt x="3425924" y="1470482"/>
                  </a:lnTo>
                  <a:lnTo>
                    <a:pt x="3425924" y="1929795"/>
                  </a:lnTo>
                  <a:lnTo>
                    <a:pt x="4049070" y="1929795"/>
                  </a:lnTo>
                  <a:lnTo>
                    <a:pt x="4049070" y="1323581"/>
                  </a:lnTo>
                  <a:close/>
                  <a:moveTo>
                    <a:pt x="2088190" y="1323581"/>
                  </a:moveTo>
                  <a:lnTo>
                    <a:pt x="2088190" y="1772170"/>
                  </a:lnTo>
                  <a:lnTo>
                    <a:pt x="2225476" y="1693945"/>
                  </a:lnTo>
                  <a:lnTo>
                    <a:pt x="2353492" y="1929795"/>
                  </a:lnTo>
                  <a:lnTo>
                    <a:pt x="2356664" y="1929795"/>
                  </a:lnTo>
                  <a:lnTo>
                    <a:pt x="2594992" y="1323581"/>
                  </a:lnTo>
                  <a:close/>
                  <a:moveTo>
                    <a:pt x="4049070" y="991222"/>
                  </a:moveTo>
                  <a:lnTo>
                    <a:pt x="3712509" y="1277862"/>
                  </a:lnTo>
                  <a:lnTo>
                    <a:pt x="4049070" y="1277862"/>
                  </a:lnTo>
                  <a:close/>
                  <a:moveTo>
                    <a:pt x="4389416" y="671648"/>
                  </a:moveTo>
                  <a:lnTo>
                    <a:pt x="4275516" y="1195186"/>
                  </a:lnTo>
                  <a:lnTo>
                    <a:pt x="4094790" y="1020866"/>
                  </a:lnTo>
                  <a:lnTo>
                    <a:pt x="4094790" y="1277862"/>
                  </a:lnTo>
                  <a:lnTo>
                    <a:pt x="4599887" y="1277862"/>
                  </a:lnTo>
                  <a:lnTo>
                    <a:pt x="4599887" y="671648"/>
                  </a:lnTo>
                  <a:close/>
                  <a:moveTo>
                    <a:pt x="3425924" y="671648"/>
                  </a:moveTo>
                  <a:lnTo>
                    <a:pt x="3425924" y="1208929"/>
                  </a:lnTo>
                  <a:lnTo>
                    <a:pt x="3889749" y="845120"/>
                  </a:lnTo>
                  <a:lnTo>
                    <a:pt x="3657017" y="671648"/>
                  </a:lnTo>
                  <a:close/>
                  <a:moveTo>
                    <a:pt x="2757057" y="671648"/>
                  </a:moveTo>
                  <a:lnTo>
                    <a:pt x="2757057" y="1119643"/>
                  </a:lnTo>
                  <a:lnTo>
                    <a:pt x="3380204" y="1230168"/>
                  </a:lnTo>
                  <a:lnTo>
                    <a:pt x="3380204" y="671648"/>
                  </a:lnTo>
                  <a:close/>
                  <a:moveTo>
                    <a:pt x="2088190" y="671648"/>
                  </a:moveTo>
                  <a:lnTo>
                    <a:pt x="2088190" y="1277862"/>
                  </a:lnTo>
                  <a:lnTo>
                    <a:pt x="2612966" y="1277862"/>
                  </a:lnTo>
                  <a:lnTo>
                    <a:pt x="2680506" y="1106065"/>
                  </a:lnTo>
                  <a:lnTo>
                    <a:pt x="2711337" y="1111533"/>
                  </a:lnTo>
                  <a:lnTo>
                    <a:pt x="2711337" y="671648"/>
                  </a:lnTo>
                  <a:close/>
                  <a:moveTo>
                    <a:pt x="1582367" y="671648"/>
                  </a:moveTo>
                  <a:lnTo>
                    <a:pt x="1582367" y="1277862"/>
                  </a:lnTo>
                  <a:lnTo>
                    <a:pt x="2042470" y="1277862"/>
                  </a:lnTo>
                  <a:lnTo>
                    <a:pt x="2042470" y="671648"/>
                  </a:lnTo>
                  <a:close/>
                  <a:moveTo>
                    <a:pt x="4094790" y="91440"/>
                  </a:moveTo>
                  <a:lnTo>
                    <a:pt x="4094790" y="558797"/>
                  </a:lnTo>
                  <a:lnTo>
                    <a:pt x="4428087" y="493901"/>
                  </a:lnTo>
                  <a:lnTo>
                    <a:pt x="4399363" y="625929"/>
                  </a:lnTo>
                  <a:lnTo>
                    <a:pt x="4599887" y="625929"/>
                  </a:lnTo>
                  <a:lnTo>
                    <a:pt x="4599887" y="91440"/>
                  </a:lnTo>
                  <a:close/>
                  <a:moveTo>
                    <a:pt x="3425924" y="91440"/>
                  </a:moveTo>
                  <a:lnTo>
                    <a:pt x="3425924" y="625929"/>
                  </a:lnTo>
                  <a:lnTo>
                    <a:pt x="3750013" y="625929"/>
                  </a:lnTo>
                  <a:lnTo>
                    <a:pt x="4049070" y="567699"/>
                  </a:lnTo>
                  <a:lnTo>
                    <a:pt x="4049070" y="91440"/>
                  </a:lnTo>
                  <a:close/>
                  <a:moveTo>
                    <a:pt x="2757057" y="91440"/>
                  </a:moveTo>
                  <a:lnTo>
                    <a:pt x="2757057" y="625929"/>
                  </a:lnTo>
                  <a:lnTo>
                    <a:pt x="3380204" y="625929"/>
                  </a:lnTo>
                  <a:lnTo>
                    <a:pt x="3380204" y="91440"/>
                  </a:lnTo>
                  <a:close/>
                  <a:moveTo>
                    <a:pt x="2088190" y="91440"/>
                  </a:moveTo>
                  <a:lnTo>
                    <a:pt x="2088190" y="625929"/>
                  </a:lnTo>
                  <a:lnTo>
                    <a:pt x="2711337" y="625929"/>
                  </a:lnTo>
                  <a:lnTo>
                    <a:pt x="2711337" y="91440"/>
                  </a:lnTo>
                  <a:close/>
                  <a:moveTo>
                    <a:pt x="1582367" y="91440"/>
                  </a:moveTo>
                  <a:lnTo>
                    <a:pt x="1582367" y="625929"/>
                  </a:lnTo>
                  <a:lnTo>
                    <a:pt x="2042470" y="625929"/>
                  </a:lnTo>
                  <a:lnTo>
                    <a:pt x="2042470" y="91440"/>
                  </a:lnTo>
                  <a:close/>
                  <a:moveTo>
                    <a:pt x="1490927" y="0"/>
                  </a:moveTo>
                  <a:lnTo>
                    <a:pt x="4691327" y="0"/>
                  </a:lnTo>
                  <a:lnTo>
                    <a:pt x="4691327" y="625929"/>
                  </a:lnTo>
                  <a:lnTo>
                    <a:pt x="4691327" y="671648"/>
                  </a:lnTo>
                  <a:lnTo>
                    <a:pt x="4691327" y="1277862"/>
                  </a:lnTo>
                  <a:lnTo>
                    <a:pt x="4691327" y="1323581"/>
                  </a:lnTo>
                  <a:lnTo>
                    <a:pt x="4691327" y="1929795"/>
                  </a:lnTo>
                  <a:lnTo>
                    <a:pt x="4691327" y="1975514"/>
                  </a:lnTo>
                  <a:lnTo>
                    <a:pt x="4691327" y="2581729"/>
                  </a:lnTo>
                  <a:lnTo>
                    <a:pt x="4691327" y="2627448"/>
                  </a:lnTo>
                  <a:lnTo>
                    <a:pt x="4691327" y="3200400"/>
                  </a:lnTo>
                  <a:lnTo>
                    <a:pt x="2265945" y="3200400"/>
                  </a:lnTo>
                  <a:lnTo>
                    <a:pt x="2221585" y="3108960"/>
                  </a:lnTo>
                  <a:lnTo>
                    <a:pt x="2711337" y="3108960"/>
                  </a:lnTo>
                  <a:lnTo>
                    <a:pt x="2711337" y="2627448"/>
                  </a:lnTo>
                  <a:lnTo>
                    <a:pt x="2088190" y="2627448"/>
                  </a:lnTo>
                  <a:lnTo>
                    <a:pt x="2088190" y="3126664"/>
                  </a:lnTo>
                  <a:lnTo>
                    <a:pt x="2127250" y="3185637"/>
                  </a:lnTo>
                  <a:cubicBezTo>
                    <a:pt x="2112463" y="3397912"/>
                    <a:pt x="2131414" y="3623954"/>
                    <a:pt x="2127250" y="4100037"/>
                  </a:cubicBezTo>
                  <a:lnTo>
                    <a:pt x="0" y="4093687"/>
                  </a:lnTo>
                  <a:cubicBezTo>
                    <a:pt x="2117" y="3815345"/>
                    <a:pt x="4233" y="3537004"/>
                    <a:pt x="6350" y="3258662"/>
                  </a:cubicBezTo>
                  <a:cubicBezTo>
                    <a:pt x="19050" y="3045937"/>
                    <a:pt x="355600" y="2914174"/>
                    <a:pt x="590550" y="2880837"/>
                  </a:cubicBezTo>
                  <a:cubicBezTo>
                    <a:pt x="663575" y="2939575"/>
                    <a:pt x="784225" y="3014187"/>
                    <a:pt x="822325" y="3058637"/>
                  </a:cubicBezTo>
                  <a:lnTo>
                    <a:pt x="742950" y="3204687"/>
                  </a:lnTo>
                  <a:lnTo>
                    <a:pt x="831850" y="3287237"/>
                  </a:lnTo>
                  <a:lnTo>
                    <a:pt x="752475" y="3382487"/>
                  </a:lnTo>
                  <a:lnTo>
                    <a:pt x="946150" y="3833337"/>
                  </a:lnTo>
                  <a:lnTo>
                    <a:pt x="1009650" y="3147537"/>
                  </a:lnTo>
                  <a:lnTo>
                    <a:pt x="930275" y="3061812"/>
                  </a:lnTo>
                  <a:lnTo>
                    <a:pt x="1066800" y="2937987"/>
                  </a:lnTo>
                  <a:lnTo>
                    <a:pt x="1200150" y="3080862"/>
                  </a:lnTo>
                  <a:lnTo>
                    <a:pt x="1111250" y="3147537"/>
                  </a:lnTo>
                  <a:lnTo>
                    <a:pt x="1187450" y="3807937"/>
                  </a:lnTo>
                  <a:lnTo>
                    <a:pt x="1393825" y="3376137"/>
                  </a:lnTo>
                  <a:lnTo>
                    <a:pt x="1301750" y="3284062"/>
                  </a:lnTo>
                  <a:lnTo>
                    <a:pt x="1390650" y="3198337"/>
                  </a:lnTo>
                  <a:lnTo>
                    <a:pt x="1311275" y="3052287"/>
                  </a:lnTo>
                  <a:cubicBezTo>
                    <a:pt x="1380067" y="2997254"/>
                    <a:pt x="1495954" y="2912587"/>
                    <a:pt x="1549400" y="2877662"/>
                  </a:cubicBezTo>
                  <a:cubicBezTo>
                    <a:pt x="1658370" y="2895470"/>
                    <a:pt x="1901881" y="2951670"/>
                    <a:pt x="2042470" y="3079725"/>
                  </a:cubicBezTo>
                  <a:lnTo>
                    <a:pt x="2042470" y="2627448"/>
                  </a:lnTo>
                  <a:lnTo>
                    <a:pt x="1490927" y="2627448"/>
                  </a:lnTo>
                  <a:lnTo>
                    <a:pt x="1490927" y="2623662"/>
                  </a:lnTo>
                  <a:cubicBezTo>
                    <a:pt x="1388006" y="2766629"/>
                    <a:pt x="1238810" y="2855438"/>
                    <a:pt x="1073152" y="2855438"/>
                  </a:cubicBezTo>
                  <a:cubicBezTo>
                    <a:pt x="757521" y="2855438"/>
                    <a:pt x="501652" y="2533042"/>
                    <a:pt x="501652" y="2135347"/>
                  </a:cubicBezTo>
                  <a:cubicBezTo>
                    <a:pt x="501652" y="1737652"/>
                    <a:pt x="757521" y="1415256"/>
                    <a:pt x="1073152" y="1415256"/>
                  </a:cubicBezTo>
                  <a:cubicBezTo>
                    <a:pt x="1331911" y="1415256"/>
                    <a:pt x="1550504" y="1631937"/>
                    <a:pt x="1618154" y="1929795"/>
                  </a:cubicBezTo>
                  <a:lnTo>
                    <a:pt x="1811555" y="1929795"/>
                  </a:lnTo>
                  <a:lnTo>
                    <a:pt x="2042470" y="1798221"/>
                  </a:lnTo>
                  <a:lnTo>
                    <a:pt x="2042470" y="1323581"/>
                  </a:lnTo>
                  <a:lnTo>
                    <a:pt x="1582367" y="1323581"/>
                  </a:lnTo>
                  <a:lnTo>
                    <a:pt x="1582367" y="1580210"/>
                  </a:lnTo>
                  <a:cubicBezTo>
                    <a:pt x="1557308" y="1549114"/>
                    <a:pt x="1526744" y="1522013"/>
                    <a:pt x="1490927" y="1499564"/>
                  </a:cubicBezTo>
                  <a:lnTo>
                    <a:pt x="1490927" y="1323581"/>
                  </a:lnTo>
                  <a:lnTo>
                    <a:pt x="1490927" y="1277862"/>
                  </a:lnTo>
                  <a:lnTo>
                    <a:pt x="1490927" y="671648"/>
                  </a:lnTo>
                  <a:lnTo>
                    <a:pt x="1490927" y="625929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9936796" y="4932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4745105" y="3121663"/>
            <a:ext cx="792000" cy="792000"/>
            <a:chOff x="10332640" y="1563187"/>
            <a:chExt cx="792000" cy="792000"/>
          </a:xfrm>
        </p:grpSpPr>
        <p:sp>
          <p:nvSpPr>
            <p:cNvPr id="116" name="Rectangle 135"/>
            <p:cNvSpPr/>
            <p:nvPr>
              <p:custDataLst>
                <p:tags r:id="rId2"/>
              </p:custDataLst>
            </p:nvPr>
          </p:nvSpPr>
          <p:spPr bwMode="auto">
            <a:xfrm>
              <a:off x="10350640" y="158118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4486492" h="4486492">
                  <a:moveTo>
                    <a:pt x="3115020" y="3115652"/>
                  </a:moveTo>
                  <a:lnTo>
                    <a:pt x="3115020" y="4358307"/>
                  </a:lnTo>
                  <a:lnTo>
                    <a:pt x="4358306" y="4358307"/>
                  </a:lnTo>
                  <a:lnTo>
                    <a:pt x="4358306" y="3115652"/>
                  </a:lnTo>
                  <a:close/>
                  <a:moveTo>
                    <a:pt x="1473659" y="3115652"/>
                  </a:moveTo>
                  <a:lnTo>
                    <a:pt x="1473659" y="4358307"/>
                  </a:lnTo>
                  <a:lnTo>
                    <a:pt x="3012833" y="4358307"/>
                  </a:lnTo>
                  <a:lnTo>
                    <a:pt x="3012833" y="3115652"/>
                  </a:lnTo>
                  <a:close/>
                  <a:moveTo>
                    <a:pt x="128186" y="3115652"/>
                  </a:moveTo>
                  <a:lnTo>
                    <a:pt x="128186" y="4358307"/>
                  </a:lnTo>
                  <a:lnTo>
                    <a:pt x="1371472" y="4358307"/>
                  </a:lnTo>
                  <a:lnTo>
                    <a:pt x="1371472" y="3115652"/>
                  </a:lnTo>
                  <a:close/>
                  <a:moveTo>
                    <a:pt x="1473659" y="2755431"/>
                  </a:moveTo>
                  <a:lnTo>
                    <a:pt x="1473659" y="3013467"/>
                  </a:lnTo>
                  <a:lnTo>
                    <a:pt x="1793547" y="3013467"/>
                  </a:lnTo>
                  <a:close/>
                  <a:moveTo>
                    <a:pt x="963448" y="2343871"/>
                  </a:moveTo>
                  <a:lnTo>
                    <a:pt x="330177" y="3013467"/>
                  </a:lnTo>
                  <a:lnTo>
                    <a:pt x="1371472" y="3013467"/>
                  </a:lnTo>
                  <a:lnTo>
                    <a:pt x="1371472" y="2673002"/>
                  </a:lnTo>
                  <a:close/>
                  <a:moveTo>
                    <a:pt x="3012833" y="1906434"/>
                  </a:moveTo>
                  <a:lnTo>
                    <a:pt x="2010377" y="3013467"/>
                  </a:lnTo>
                  <a:lnTo>
                    <a:pt x="3012833" y="3013467"/>
                  </a:lnTo>
                  <a:close/>
                  <a:moveTo>
                    <a:pt x="3386427" y="1493866"/>
                  </a:moveTo>
                  <a:lnTo>
                    <a:pt x="3115020" y="1793586"/>
                  </a:lnTo>
                  <a:lnTo>
                    <a:pt x="3115020" y="3013467"/>
                  </a:lnTo>
                  <a:lnTo>
                    <a:pt x="4358306" y="3013467"/>
                  </a:lnTo>
                  <a:lnTo>
                    <a:pt x="4358306" y="2522701"/>
                  </a:lnTo>
                  <a:close/>
                  <a:moveTo>
                    <a:pt x="3801600" y="1473023"/>
                  </a:moveTo>
                  <a:lnTo>
                    <a:pt x="4358306" y="2069204"/>
                  </a:lnTo>
                  <a:lnTo>
                    <a:pt x="4358306" y="1473023"/>
                  </a:lnTo>
                  <a:close/>
                  <a:moveTo>
                    <a:pt x="1473659" y="1473023"/>
                  </a:moveTo>
                  <a:lnTo>
                    <a:pt x="1473659" y="2383401"/>
                  </a:lnTo>
                  <a:lnTo>
                    <a:pt x="1820355" y="2695206"/>
                  </a:lnTo>
                  <a:lnTo>
                    <a:pt x="2954285" y="1473023"/>
                  </a:lnTo>
                  <a:close/>
                  <a:moveTo>
                    <a:pt x="128186" y="1473023"/>
                  </a:moveTo>
                  <a:lnTo>
                    <a:pt x="128186" y="2789526"/>
                  </a:lnTo>
                  <a:lnTo>
                    <a:pt x="963448" y="1924535"/>
                  </a:lnTo>
                  <a:lnTo>
                    <a:pt x="1371472" y="2291497"/>
                  </a:lnTo>
                  <a:lnTo>
                    <a:pt x="1371472" y="1473023"/>
                  </a:lnTo>
                  <a:close/>
                  <a:moveTo>
                    <a:pt x="3115020" y="128186"/>
                  </a:moveTo>
                  <a:lnTo>
                    <a:pt x="3115020" y="1299778"/>
                  </a:lnTo>
                  <a:lnTo>
                    <a:pt x="3376578" y="1017863"/>
                  </a:lnTo>
                  <a:lnTo>
                    <a:pt x="3706181" y="1370838"/>
                  </a:lnTo>
                  <a:lnTo>
                    <a:pt x="4358306" y="1370838"/>
                  </a:lnTo>
                  <a:lnTo>
                    <a:pt x="4358306" y="128186"/>
                  </a:lnTo>
                  <a:close/>
                  <a:moveTo>
                    <a:pt x="1473659" y="128186"/>
                  </a:moveTo>
                  <a:lnTo>
                    <a:pt x="1473659" y="1370838"/>
                  </a:lnTo>
                  <a:lnTo>
                    <a:pt x="3012833" y="1370838"/>
                  </a:lnTo>
                  <a:lnTo>
                    <a:pt x="3012833" y="128186"/>
                  </a:lnTo>
                  <a:close/>
                  <a:moveTo>
                    <a:pt x="128186" y="128186"/>
                  </a:moveTo>
                  <a:lnTo>
                    <a:pt x="128186" y="1370838"/>
                  </a:lnTo>
                  <a:lnTo>
                    <a:pt x="1371472" y="1370838"/>
                  </a:lnTo>
                  <a:lnTo>
                    <a:pt x="1371472" y="128186"/>
                  </a:lnTo>
                  <a:close/>
                  <a:moveTo>
                    <a:pt x="0" y="0"/>
                  </a:moveTo>
                  <a:lnTo>
                    <a:pt x="4486492" y="0"/>
                  </a:lnTo>
                  <a:lnTo>
                    <a:pt x="4486492" y="4486492"/>
                  </a:lnTo>
                  <a:lnTo>
                    <a:pt x="0" y="4486492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10332640" y="15631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2255537" y="3097737"/>
            <a:ext cx="792000" cy="792000"/>
            <a:chOff x="9772790" y="351013"/>
            <a:chExt cx="792000" cy="792000"/>
          </a:xfrm>
        </p:grpSpPr>
        <p:sp>
          <p:nvSpPr>
            <p:cNvPr id="148" name="Freeform 147"/>
            <p:cNvSpPr>
              <a:spLocks noEditPoints="1"/>
            </p:cNvSpPr>
            <p:nvPr/>
          </p:nvSpPr>
          <p:spPr bwMode="black">
            <a:xfrm>
              <a:off x="9924889" y="358276"/>
              <a:ext cx="487803" cy="777475"/>
            </a:xfrm>
            <a:custGeom>
              <a:avLst/>
              <a:gdLst>
                <a:gd name="T0" fmla="*/ 1222 w 1490"/>
                <a:gd name="T1" fmla="*/ 199 h 2432"/>
                <a:gd name="T2" fmla="*/ 1082 w 1490"/>
                <a:gd name="T3" fmla="*/ 239 h 2432"/>
                <a:gd name="T4" fmla="*/ 705 w 1490"/>
                <a:gd name="T5" fmla="*/ 0 h 2432"/>
                <a:gd name="T6" fmla="*/ 298 w 1490"/>
                <a:gd name="T7" fmla="*/ 326 h 2432"/>
                <a:gd name="T8" fmla="*/ 214 w 1490"/>
                <a:gd name="T9" fmla="*/ 309 h 2432"/>
                <a:gd name="T10" fmla="*/ 0 w 1490"/>
                <a:gd name="T11" fmla="*/ 522 h 2432"/>
                <a:gd name="T12" fmla="*/ 214 w 1490"/>
                <a:gd name="T13" fmla="*/ 736 h 2432"/>
                <a:gd name="T14" fmla="*/ 1222 w 1490"/>
                <a:gd name="T15" fmla="*/ 736 h 2432"/>
                <a:gd name="T16" fmla="*/ 1490 w 1490"/>
                <a:gd name="T17" fmla="*/ 467 h 2432"/>
                <a:gd name="T18" fmla="*/ 1222 w 1490"/>
                <a:gd name="T19" fmla="*/ 199 h 2432"/>
                <a:gd name="T20" fmla="*/ 318 w 1490"/>
                <a:gd name="T21" fmla="*/ 2032 h 2432"/>
                <a:gd name="T22" fmla="*/ 318 w 1490"/>
                <a:gd name="T23" fmla="*/ 2398 h 2432"/>
                <a:gd name="T24" fmla="*/ 351 w 1490"/>
                <a:gd name="T25" fmla="*/ 2432 h 2432"/>
                <a:gd name="T26" fmla="*/ 605 w 1490"/>
                <a:gd name="T27" fmla="*/ 2432 h 2432"/>
                <a:gd name="T28" fmla="*/ 605 w 1490"/>
                <a:gd name="T29" fmla="*/ 2091 h 2432"/>
                <a:gd name="T30" fmla="*/ 639 w 1490"/>
                <a:gd name="T31" fmla="*/ 2058 h 2432"/>
                <a:gd name="T32" fmla="*/ 852 w 1490"/>
                <a:gd name="T33" fmla="*/ 2058 h 2432"/>
                <a:gd name="T34" fmla="*/ 886 w 1490"/>
                <a:gd name="T35" fmla="*/ 2091 h 2432"/>
                <a:gd name="T36" fmla="*/ 886 w 1490"/>
                <a:gd name="T37" fmla="*/ 2432 h 2432"/>
                <a:gd name="T38" fmla="*/ 1140 w 1490"/>
                <a:gd name="T39" fmla="*/ 2432 h 2432"/>
                <a:gd name="T40" fmla="*/ 1173 w 1490"/>
                <a:gd name="T41" fmla="*/ 2398 h 2432"/>
                <a:gd name="T42" fmla="*/ 1173 w 1490"/>
                <a:gd name="T43" fmla="*/ 2032 h 2432"/>
                <a:gd name="T44" fmla="*/ 745 w 1490"/>
                <a:gd name="T45" fmla="*/ 1657 h 2432"/>
                <a:gd name="T46" fmla="*/ 318 w 1490"/>
                <a:gd name="T47" fmla="*/ 2032 h 2432"/>
                <a:gd name="T48" fmla="*/ 1086 w 1490"/>
                <a:gd name="T49" fmla="*/ 1483 h 2432"/>
                <a:gd name="T50" fmla="*/ 926 w 1490"/>
                <a:gd name="T51" fmla="*/ 1483 h 2432"/>
                <a:gd name="T52" fmla="*/ 926 w 1490"/>
                <a:gd name="T53" fmla="*/ 1601 h 2432"/>
                <a:gd name="T54" fmla="*/ 745 w 1490"/>
                <a:gd name="T55" fmla="*/ 1443 h 2432"/>
                <a:gd name="T56" fmla="*/ 198 w 1490"/>
                <a:gd name="T57" fmla="*/ 1924 h 2432"/>
                <a:gd name="T58" fmla="*/ 198 w 1490"/>
                <a:gd name="T59" fmla="*/ 2071 h 2432"/>
                <a:gd name="T60" fmla="*/ 745 w 1490"/>
                <a:gd name="T61" fmla="*/ 1590 h 2432"/>
                <a:gd name="T62" fmla="*/ 1293 w 1490"/>
                <a:gd name="T63" fmla="*/ 2071 h 2432"/>
                <a:gd name="T64" fmla="*/ 1293 w 1490"/>
                <a:gd name="T65" fmla="*/ 1924 h 2432"/>
                <a:gd name="T66" fmla="*/ 1086 w 1490"/>
                <a:gd name="T67" fmla="*/ 1742 h 2432"/>
                <a:gd name="T68" fmla="*/ 1086 w 1490"/>
                <a:gd name="T69" fmla="*/ 1483 h 2432"/>
                <a:gd name="T70" fmla="*/ 745 w 1490"/>
                <a:gd name="T71" fmla="*/ 1287 h 2432"/>
                <a:gd name="T72" fmla="*/ 1091 w 1490"/>
                <a:gd name="T73" fmla="*/ 1085 h 2432"/>
                <a:gd name="T74" fmla="*/ 745 w 1490"/>
                <a:gd name="T75" fmla="*/ 1228 h 2432"/>
                <a:gd name="T76" fmla="*/ 400 w 1490"/>
                <a:gd name="T77" fmla="*/ 1085 h 2432"/>
                <a:gd name="T78" fmla="*/ 745 w 1490"/>
                <a:gd name="T79" fmla="*/ 1287 h 2432"/>
                <a:gd name="T80" fmla="*/ 745 w 1490"/>
                <a:gd name="T81" fmla="*/ 1115 h 2432"/>
                <a:gd name="T82" fmla="*/ 982 w 1490"/>
                <a:gd name="T83" fmla="*/ 959 h 2432"/>
                <a:gd name="T84" fmla="*/ 745 w 1490"/>
                <a:gd name="T85" fmla="*/ 1063 h 2432"/>
                <a:gd name="T86" fmla="*/ 509 w 1490"/>
                <a:gd name="T87" fmla="*/ 959 h 2432"/>
                <a:gd name="T88" fmla="*/ 745 w 1490"/>
                <a:gd name="T89" fmla="*/ 1115 h 2432"/>
                <a:gd name="T90" fmla="*/ 883 w 1490"/>
                <a:gd name="T91" fmla="*/ 866 h 2432"/>
                <a:gd name="T92" fmla="*/ 745 w 1490"/>
                <a:gd name="T93" fmla="*/ 923 h 2432"/>
                <a:gd name="T94" fmla="*/ 608 w 1490"/>
                <a:gd name="T95" fmla="*/ 866 h 2432"/>
                <a:gd name="T96" fmla="*/ 745 w 1490"/>
                <a:gd name="T97" fmla="*/ 969 h 2432"/>
                <a:gd name="T98" fmla="*/ 883 w 1490"/>
                <a:gd name="T99" fmla="*/ 866 h 2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90" h="2432">
                  <a:moveTo>
                    <a:pt x="1222" y="199"/>
                  </a:moveTo>
                  <a:cubicBezTo>
                    <a:pt x="1171" y="199"/>
                    <a:pt x="1123" y="214"/>
                    <a:pt x="1082" y="239"/>
                  </a:cubicBezTo>
                  <a:cubicBezTo>
                    <a:pt x="1015" y="98"/>
                    <a:pt x="871" y="0"/>
                    <a:pt x="705" y="0"/>
                  </a:cubicBezTo>
                  <a:cubicBezTo>
                    <a:pt x="506" y="0"/>
                    <a:pt x="340" y="140"/>
                    <a:pt x="298" y="326"/>
                  </a:cubicBezTo>
                  <a:cubicBezTo>
                    <a:pt x="272" y="315"/>
                    <a:pt x="244" y="309"/>
                    <a:pt x="214" y="309"/>
                  </a:cubicBezTo>
                  <a:cubicBezTo>
                    <a:pt x="96" y="309"/>
                    <a:pt x="0" y="404"/>
                    <a:pt x="0" y="522"/>
                  </a:cubicBezTo>
                  <a:cubicBezTo>
                    <a:pt x="0" y="640"/>
                    <a:pt x="96" y="736"/>
                    <a:pt x="214" y="736"/>
                  </a:cubicBezTo>
                  <a:cubicBezTo>
                    <a:pt x="1222" y="736"/>
                    <a:pt x="1222" y="736"/>
                    <a:pt x="1222" y="736"/>
                  </a:cubicBezTo>
                  <a:cubicBezTo>
                    <a:pt x="1370" y="736"/>
                    <a:pt x="1490" y="616"/>
                    <a:pt x="1490" y="467"/>
                  </a:cubicBezTo>
                  <a:cubicBezTo>
                    <a:pt x="1490" y="319"/>
                    <a:pt x="1370" y="199"/>
                    <a:pt x="1222" y="199"/>
                  </a:cubicBezTo>
                  <a:close/>
                  <a:moveTo>
                    <a:pt x="318" y="2032"/>
                  </a:moveTo>
                  <a:cubicBezTo>
                    <a:pt x="318" y="2398"/>
                    <a:pt x="318" y="2398"/>
                    <a:pt x="318" y="2398"/>
                  </a:cubicBezTo>
                  <a:cubicBezTo>
                    <a:pt x="318" y="2417"/>
                    <a:pt x="333" y="2432"/>
                    <a:pt x="351" y="2432"/>
                  </a:cubicBezTo>
                  <a:cubicBezTo>
                    <a:pt x="605" y="2432"/>
                    <a:pt x="605" y="2432"/>
                    <a:pt x="605" y="2432"/>
                  </a:cubicBezTo>
                  <a:cubicBezTo>
                    <a:pt x="605" y="2091"/>
                    <a:pt x="605" y="2091"/>
                    <a:pt x="605" y="2091"/>
                  </a:cubicBezTo>
                  <a:cubicBezTo>
                    <a:pt x="605" y="2073"/>
                    <a:pt x="620" y="2058"/>
                    <a:pt x="639" y="2058"/>
                  </a:cubicBezTo>
                  <a:cubicBezTo>
                    <a:pt x="852" y="2058"/>
                    <a:pt x="852" y="2058"/>
                    <a:pt x="852" y="2058"/>
                  </a:cubicBezTo>
                  <a:cubicBezTo>
                    <a:pt x="871" y="2058"/>
                    <a:pt x="886" y="2073"/>
                    <a:pt x="886" y="2091"/>
                  </a:cubicBezTo>
                  <a:cubicBezTo>
                    <a:pt x="886" y="2432"/>
                    <a:pt x="886" y="2432"/>
                    <a:pt x="886" y="2432"/>
                  </a:cubicBezTo>
                  <a:cubicBezTo>
                    <a:pt x="1140" y="2432"/>
                    <a:pt x="1140" y="2432"/>
                    <a:pt x="1140" y="2432"/>
                  </a:cubicBezTo>
                  <a:cubicBezTo>
                    <a:pt x="1158" y="2432"/>
                    <a:pt x="1173" y="2417"/>
                    <a:pt x="1173" y="2398"/>
                  </a:cubicBezTo>
                  <a:cubicBezTo>
                    <a:pt x="1173" y="2032"/>
                    <a:pt x="1173" y="2032"/>
                    <a:pt x="1173" y="2032"/>
                  </a:cubicBezTo>
                  <a:cubicBezTo>
                    <a:pt x="745" y="1657"/>
                    <a:pt x="745" y="1657"/>
                    <a:pt x="745" y="1657"/>
                  </a:cubicBezTo>
                  <a:lnTo>
                    <a:pt x="318" y="2032"/>
                  </a:lnTo>
                  <a:close/>
                  <a:moveTo>
                    <a:pt x="1086" y="1483"/>
                  </a:moveTo>
                  <a:cubicBezTo>
                    <a:pt x="926" y="1483"/>
                    <a:pt x="926" y="1483"/>
                    <a:pt x="926" y="1483"/>
                  </a:cubicBezTo>
                  <a:cubicBezTo>
                    <a:pt x="926" y="1601"/>
                    <a:pt x="926" y="1601"/>
                    <a:pt x="926" y="1601"/>
                  </a:cubicBezTo>
                  <a:cubicBezTo>
                    <a:pt x="745" y="1443"/>
                    <a:pt x="745" y="1443"/>
                    <a:pt x="745" y="1443"/>
                  </a:cubicBezTo>
                  <a:cubicBezTo>
                    <a:pt x="198" y="1924"/>
                    <a:pt x="198" y="1924"/>
                    <a:pt x="198" y="1924"/>
                  </a:cubicBezTo>
                  <a:cubicBezTo>
                    <a:pt x="198" y="2071"/>
                    <a:pt x="198" y="2071"/>
                    <a:pt x="198" y="2071"/>
                  </a:cubicBezTo>
                  <a:cubicBezTo>
                    <a:pt x="745" y="1590"/>
                    <a:pt x="745" y="1590"/>
                    <a:pt x="745" y="1590"/>
                  </a:cubicBezTo>
                  <a:cubicBezTo>
                    <a:pt x="1293" y="2071"/>
                    <a:pt x="1293" y="2071"/>
                    <a:pt x="1293" y="2071"/>
                  </a:cubicBezTo>
                  <a:cubicBezTo>
                    <a:pt x="1293" y="1924"/>
                    <a:pt x="1293" y="1924"/>
                    <a:pt x="1293" y="1924"/>
                  </a:cubicBezTo>
                  <a:cubicBezTo>
                    <a:pt x="1086" y="1742"/>
                    <a:pt x="1086" y="1742"/>
                    <a:pt x="1086" y="1742"/>
                  </a:cubicBezTo>
                  <a:lnTo>
                    <a:pt x="1086" y="1483"/>
                  </a:lnTo>
                  <a:close/>
                  <a:moveTo>
                    <a:pt x="745" y="1287"/>
                  </a:moveTo>
                  <a:cubicBezTo>
                    <a:pt x="906" y="1289"/>
                    <a:pt x="1041" y="1191"/>
                    <a:pt x="1091" y="1085"/>
                  </a:cubicBezTo>
                  <a:cubicBezTo>
                    <a:pt x="1001" y="1176"/>
                    <a:pt x="874" y="1228"/>
                    <a:pt x="745" y="1228"/>
                  </a:cubicBezTo>
                  <a:cubicBezTo>
                    <a:pt x="617" y="1228"/>
                    <a:pt x="490" y="1176"/>
                    <a:pt x="400" y="1085"/>
                  </a:cubicBezTo>
                  <a:cubicBezTo>
                    <a:pt x="449" y="1191"/>
                    <a:pt x="585" y="1289"/>
                    <a:pt x="745" y="1287"/>
                  </a:cubicBezTo>
                  <a:close/>
                  <a:moveTo>
                    <a:pt x="745" y="1115"/>
                  </a:moveTo>
                  <a:cubicBezTo>
                    <a:pt x="862" y="1116"/>
                    <a:pt x="952" y="1037"/>
                    <a:pt x="982" y="959"/>
                  </a:cubicBezTo>
                  <a:cubicBezTo>
                    <a:pt x="919" y="1022"/>
                    <a:pt x="834" y="1064"/>
                    <a:pt x="745" y="1063"/>
                  </a:cubicBezTo>
                  <a:cubicBezTo>
                    <a:pt x="657" y="1064"/>
                    <a:pt x="572" y="1022"/>
                    <a:pt x="509" y="959"/>
                  </a:cubicBezTo>
                  <a:cubicBezTo>
                    <a:pt x="539" y="1037"/>
                    <a:pt x="629" y="1116"/>
                    <a:pt x="745" y="1115"/>
                  </a:cubicBezTo>
                  <a:close/>
                  <a:moveTo>
                    <a:pt x="883" y="866"/>
                  </a:moveTo>
                  <a:cubicBezTo>
                    <a:pt x="847" y="903"/>
                    <a:pt x="796" y="923"/>
                    <a:pt x="745" y="923"/>
                  </a:cubicBezTo>
                  <a:cubicBezTo>
                    <a:pt x="694" y="923"/>
                    <a:pt x="644" y="903"/>
                    <a:pt x="608" y="866"/>
                  </a:cubicBezTo>
                  <a:cubicBezTo>
                    <a:pt x="618" y="918"/>
                    <a:pt x="675" y="969"/>
                    <a:pt x="745" y="969"/>
                  </a:cubicBezTo>
                  <a:cubicBezTo>
                    <a:pt x="816" y="969"/>
                    <a:pt x="873" y="918"/>
                    <a:pt x="883" y="86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en-US" sz="160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9772790" y="35101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3883863" y="3090475"/>
            <a:ext cx="792000" cy="792000"/>
            <a:chOff x="9936796" y="511596"/>
            <a:chExt cx="792000" cy="792000"/>
          </a:xfrm>
        </p:grpSpPr>
        <p:sp>
          <p:nvSpPr>
            <p:cNvPr id="151" name="Freeform 150"/>
            <p:cNvSpPr/>
            <p:nvPr>
              <p:custDataLst>
                <p:tags r:id="rId1"/>
              </p:custDataLst>
            </p:nvPr>
          </p:nvSpPr>
          <p:spPr bwMode="auto">
            <a:xfrm>
              <a:off x="10016148" y="543095"/>
              <a:ext cx="633296" cy="729003"/>
            </a:xfrm>
            <a:custGeom>
              <a:avLst/>
              <a:gdLst/>
              <a:ahLst/>
              <a:cxnLst/>
              <a:rect l="l" t="t" r="r" b="b"/>
              <a:pathLst>
                <a:path w="1409187" h="1407887">
                  <a:moveTo>
                    <a:pt x="932843" y="1289744"/>
                  </a:moveTo>
                  <a:lnTo>
                    <a:pt x="1118492" y="1289744"/>
                  </a:lnTo>
                  <a:cubicBezTo>
                    <a:pt x="1125060" y="1289744"/>
                    <a:pt x="1130383" y="1295068"/>
                    <a:pt x="1130383" y="1301635"/>
                  </a:cubicBezTo>
                  <a:cubicBezTo>
                    <a:pt x="1130383" y="1308203"/>
                    <a:pt x="1125059" y="1313526"/>
                    <a:pt x="1118492" y="1313526"/>
                  </a:cubicBezTo>
                  <a:lnTo>
                    <a:pt x="932843" y="1313526"/>
                  </a:lnTo>
                  <a:cubicBezTo>
                    <a:pt x="926276" y="1313526"/>
                    <a:pt x="920952" y="1308202"/>
                    <a:pt x="920952" y="1301635"/>
                  </a:cubicBezTo>
                  <a:cubicBezTo>
                    <a:pt x="920952" y="1295068"/>
                    <a:pt x="926276" y="1289744"/>
                    <a:pt x="932843" y="1289744"/>
                  </a:cubicBezTo>
                  <a:close/>
                  <a:moveTo>
                    <a:pt x="215619" y="1289744"/>
                  </a:moveTo>
                  <a:lnTo>
                    <a:pt x="401269" y="1289744"/>
                  </a:lnTo>
                  <a:cubicBezTo>
                    <a:pt x="407837" y="1289744"/>
                    <a:pt x="413160" y="1295068"/>
                    <a:pt x="413160" y="1301635"/>
                  </a:cubicBezTo>
                  <a:cubicBezTo>
                    <a:pt x="413160" y="1308203"/>
                    <a:pt x="407836" y="1313526"/>
                    <a:pt x="401269" y="1313526"/>
                  </a:cubicBezTo>
                  <a:lnTo>
                    <a:pt x="215619" y="1313526"/>
                  </a:lnTo>
                  <a:cubicBezTo>
                    <a:pt x="209052" y="1313526"/>
                    <a:pt x="203728" y="1308202"/>
                    <a:pt x="203728" y="1301635"/>
                  </a:cubicBezTo>
                  <a:cubicBezTo>
                    <a:pt x="203728" y="1295068"/>
                    <a:pt x="209052" y="1289744"/>
                    <a:pt x="215619" y="1289744"/>
                  </a:cubicBezTo>
                  <a:close/>
                  <a:moveTo>
                    <a:pt x="932843" y="1234510"/>
                  </a:moveTo>
                  <a:lnTo>
                    <a:pt x="1118492" y="1234510"/>
                  </a:lnTo>
                  <a:cubicBezTo>
                    <a:pt x="1125060" y="1234510"/>
                    <a:pt x="1130383" y="1239834"/>
                    <a:pt x="1130383" y="1246401"/>
                  </a:cubicBezTo>
                  <a:cubicBezTo>
                    <a:pt x="1130383" y="1252968"/>
                    <a:pt x="1125059" y="1258292"/>
                    <a:pt x="1118492" y="1258292"/>
                  </a:cubicBezTo>
                  <a:lnTo>
                    <a:pt x="932843" y="1258292"/>
                  </a:lnTo>
                  <a:cubicBezTo>
                    <a:pt x="926276" y="1258292"/>
                    <a:pt x="920952" y="1252968"/>
                    <a:pt x="920952" y="1246401"/>
                  </a:cubicBezTo>
                  <a:cubicBezTo>
                    <a:pt x="920952" y="1239834"/>
                    <a:pt x="926276" y="1234510"/>
                    <a:pt x="932843" y="1234510"/>
                  </a:cubicBezTo>
                  <a:close/>
                  <a:moveTo>
                    <a:pt x="215619" y="1234510"/>
                  </a:moveTo>
                  <a:lnTo>
                    <a:pt x="401269" y="1234510"/>
                  </a:lnTo>
                  <a:cubicBezTo>
                    <a:pt x="407837" y="1234510"/>
                    <a:pt x="413160" y="1239834"/>
                    <a:pt x="413160" y="1246401"/>
                  </a:cubicBezTo>
                  <a:cubicBezTo>
                    <a:pt x="413160" y="1252968"/>
                    <a:pt x="407836" y="1258292"/>
                    <a:pt x="401269" y="1258292"/>
                  </a:cubicBezTo>
                  <a:lnTo>
                    <a:pt x="215619" y="1258292"/>
                  </a:lnTo>
                  <a:cubicBezTo>
                    <a:pt x="209052" y="1258292"/>
                    <a:pt x="203728" y="1252968"/>
                    <a:pt x="203728" y="1246401"/>
                  </a:cubicBezTo>
                  <a:cubicBezTo>
                    <a:pt x="203728" y="1239834"/>
                    <a:pt x="209052" y="1234510"/>
                    <a:pt x="215619" y="1234510"/>
                  </a:cubicBezTo>
                  <a:close/>
                  <a:moveTo>
                    <a:pt x="932843" y="1179275"/>
                  </a:moveTo>
                  <a:lnTo>
                    <a:pt x="1118492" y="1179275"/>
                  </a:lnTo>
                  <a:cubicBezTo>
                    <a:pt x="1125060" y="1179275"/>
                    <a:pt x="1130383" y="1184599"/>
                    <a:pt x="1130383" y="1191166"/>
                  </a:cubicBezTo>
                  <a:cubicBezTo>
                    <a:pt x="1130383" y="1197733"/>
                    <a:pt x="1125059" y="1203057"/>
                    <a:pt x="1118492" y="1203057"/>
                  </a:cubicBezTo>
                  <a:lnTo>
                    <a:pt x="932843" y="1203057"/>
                  </a:lnTo>
                  <a:cubicBezTo>
                    <a:pt x="926276" y="1203057"/>
                    <a:pt x="920952" y="1197733"/>
                    <a:pt x="920952" y="1191166"/>
                  </a:cubicBezTo>
                  <a:cubicBezTo>
                    <a:pt x="920952" y="1184599"/>
                    <a:pt x="926276" y="1179275"/>
                    <a:pt x="932843" y="1179275"/>
                  </a:cubicBezTo>
                  <a:close/>
                  <a:moveTo>
                    <a:pt x="215619" y="1179275"/>
                  </a:moveTo>
                  <a:lnTo>
                    <a:pt x="401269" y="1179275"/>
                  </a:lnTo>
                  <a:cubicBezTo>
                    <a:pt x="407837" y="1179275"/>
                    <a:pt x="413160" y="1184599"/>
                    <a:pt x="413160" y="1191166"/>
                  </a:cubicBezTo>
                  <a:cubicBezTo>
                    <a:pt x="413160" y="1197733"/>
                    <a:pt x="407836" y="1203057"/>
                    <a:pt x="401269" y="1203057"/>
                  </a:cubicBezTo>
                  <a:lnTo>
                    <a:pt x="215619" y="1203057"/>
                  </a:lnTo>
                  <a:cubicBezTo>
                    <a:pt x="209052" y="1203057"/>
                    <a:pt x="203728" y="1197733"/>
                    <a:pt x="203728" y="1191166"/>
                  </a:cubicBezTo>
                  <a:cubicBezTo>
                    <a:pt x="203728" y="1184599"/>
                    <a:pt x="209052" y="1179275"/>
                    <a:pt x="215619" y="1179275"/>
                  </a:cubicBezTo>
                  <a:close/>
                  <a:moveTo>
                    <a:pt x="1014160" y="1124808"/>
                  </a:moveTo>
                  <a:lnTo>
                    <a:pt x="1118492" y="1124808"/>
                  </a:lnTo>
                  <a:cubicBezTo>
                    <a:pt x="1125060" y="1124808"/>
                    <a:pt x="1130383" y="1130131"/>
                    <a:pt x="1130383" y="1136698"/>
                  </a:cubicBezTo>
                  <a:cubicBezTo>
                    <a:pt x="1130383" y="1143266"/>
                    <a:pt x="1125059" y="1148589"/>
                    <a:pt x="1118492" y="1148589"/>
                  </a:cubicBezTo>
                  <a:lnTo>
                    <a:pt x="1014160" y="1148589"/>
                  </a:lnTo>
                  <a:cubicBezTo>
                    <a:pt x="1007593" y="1148589"/>
                    <a:pt x="1002269" y="1143265"/>
                    <a:pt x="1002269" y="1136698"/>
                  </a:cubicBezTo>
                  <a:cubicBezTo>
                    <a:pt x="1002269" y="1130131"/>
                    <a:pt x="1007593" y="1124808"/>
                    <a:pt x="1014160" y="1124808"/>
                  </a:cubicBezTo>
                  <a:close/>
                  <a:moveTo>
                    <a:pt x="296937" y="1124808"/>
                  </a:moveTo>
                  <a:lnTo>
                    <a:pt x="401269" y="1124808"/>
                  </a:lnTo>
                  <a:cubicBezTo>
                    <a:pt x="407837" y="1124808"/>
                    <a:pt x="413160" y="1130131"/>
                    <a:pt x="413160" y="1136698"/>
                  </a:cubicBezTo>
                  <a:cubicBezTo>
                    <a:pt x="413160" y="1143266"/>
                    <a:pt x="407836" y="1148589"/>
                    <a:pt x="401269" y="1148589"/>
                  </a:cubicBezTo>
                  <a:lnTo>
                    <a:pt x="296937" y="1148589"/>
                  </a:lnTo>
                  <a:cubicBezTo>
                    <a:pt x="290370" y="1148589"/>
                    <a:pt x="285046" y="1143265"/>
                    <a:pt x="285046" y="1136698"/>
                  </a:cubicBezTo>
                  <a:cubicBezTo>
                    <a:pt x="285046" y="1130131"/>
                    <a:pt x="290370" y="1124808"/>
                    <a:pt x="296937" y="1124808"/>
                  </a:cubicBezTo>
                  <a:close/>
                  <a:moveTo>
                    <a:pt x="659719" y="1108134"/>
                  </a:moveTo>
                  <a:lnTo>
                    <a:pt x="659719" y="1360546"/>
                  </a:lnTo>
                  <a:lnTo>
                    <a:pt x="571046" y="1234340"/>
                  </a:lnTo>
                  <a:close/>
                  <a:moveTo>
                    <a:pt x="681840" y="1108133"/>
                  </a:moveTo>
                  <a:lnTo>
                    <a:pt x="770513" y="1234339"/>
                  </a:lnTo>
                  <a:lnTo>
                    <a:pt x="681840" y="1360545"/>
                  </a:lnTo>
                  <a:close/>
                  <a:moveTo>
                    <a:pt x="979183" y="1039652"/>
                  </a:moveTo>
                  <a:lnTo>
                    <a:pt x="979183" y="1109374"/>
                  </a:lnTo>
                  <a:cubicBezTo>
                    <a:pt x="979183" y="1120440"/>
                    <a:pt x="970213" y="1129410"/>
                    <a:pt x="959147" y="1129410"/>
                  </a:cubicBezTo>
                  <a:lnTo>
                    <a:pt x="878375" y="1129410"/>
                  </a:lnTo>
                  <a:lnTo>
                    <a:pt x="878375" y="1351972"/>
                  </a:lnTo>
                  <a:cubicBezTo>
                    <a:pt x="878375" y="1369134"/>
                    <a:pt x="885086" y="1386115"/>
                    <a:pt x="908785" y="1383046"/>
                  </a:cubicBezTo>
                  <a:lnTo>
                    <a:pt x="1172960" y="1383046"/>
                  </a:lnTo>
                  <a:lnTo>
                    <a:pt x="1172960" y="1071486"/>
                  </a:lnTo>
                  <a:cubicBezTo>
                    <a:pt x="1172192" y="1044352"/>
                    <a:pt x="1159344" y="1040412"/>
                    <a:pt x="1142550" y="1040412"/>
                  </a:cubicBezTo>
                  <a:close/>
                  <a:moveTo>
                    <a:pt x="261959" y="1039652"/>
                  </a:moveTo>
                  <a:lnTo>
                    <a:pt x="261959" y="1109374"/>
                  </a:lnTo>
                  <a:cubicBezTo>
                    <a:pt x="261959" y="1120440"/>
                    <a:pt x="252989" y="1129410"/>
                    <a:pt x="241924" y="1129410"/>
                  </a:cubicBezTo>
                  <a:lnTo>
                    <a:pt x="161152" y="1129410"/>
                  </a:lnTo>
                  <a:lnTo>
                    <a:pt x="161152" y="1351972"/>
                  </a:lnTo>
                  <a:cubicBezTo>
                    <a:pt x="161152" y="1369134"/>
                    <a:pt x="167862" y="1386115"/>
                    <a:pt x="191561" y="1383046"/>
                  </a:cubicBezTo>
                  <a:lnTo>
                    <a:pt x="455737" y="1383046"/>
                  </a:lnTo>
                  <a:lnTo>
                    <a:pt x="455737" y="1071486"/>
                  </a:lnTo>
                  <a:cubicBezTo>
                    <a:pt x="454969" y="1044352"/>
                    <a:pt x="442121" y="1040412"/>
                    <a:pt x="425327" y="1040412"/>
                  </a:cubicBezTo>
                  <a:close/>
                  <a:moveTo>
                    <a:pt x="961720" y="1015571"/>
                  </a:moveTo>
                  <a:lnTo>
                    <a:pt x="1162420" y="1015571"/>
                  </a:lnTo>
                  <a:cubicBezTo>
                    <a:pt x="1182070" y="1015571"/>
                    <a:pt x="1197999" y="1031501"/>
                    <a:pt x="1197999" y="1051151"/>
                  </a:cubicBezTo>
                  <a:lnTo>
                    <a:pt x="1197999" y="1407887"/>
                  </a:lnTo>
                  <a:lnTo>
                    <a:pt x="888915" y="1407887"/>
                  </a:lnTo>
                  <a:cubicBezTo>
                    <a:pt x="869265" y="1407887"/>
                    <a:pt x="853335" y="1391958"/>
                    <a:pt x="853335" y="1372308"/>
                  </a:cubicBezTo>
                  <a:lnTo>
                    <a:pt x="853335" y="1115619"/>
                  </a:lnTo>
                  <a:close/>
                  <a:moveTo>
                    <a:pt x="244497" y="1015571"/>
                  </a:moveTo>
                  <a:lnTo>
                    <a:pt x="445197" y="1015571"/>
                  </a:lnTo>
                  <a:cubicBezTo>
                    <a:pt x="464847" y="1015571"/>
                    <a:pt x="480776" y="1031501"/>
                    <a:pt x="480776" y="1051151"/>
                  </a:cubicBezTo>
                  <a:lnTo>
                    <a:pt x="480776" y="1407887"/>
                  </a:lnTo>
                  <a:lnTo>
                    <a:pt x="171691" y="1407887"/>
                  </a:lnTo>
                  <a:cubicBezTo>
                    <a:pt x="152041" y="1407887"/>
                    <a:pt x="136112" y="1391958"/>
                    <a:pt x="136112" y="1372308"/>
                  </a:cubicBezTo>
                  <a:lnTo>
                    <a:pt x="136112" y="1115619"/>
                  </a:lnTo>
                  <a:close/>
                  <a:moveTo>
                    <a:pt x="1159689" y="406905"/>
                  </a:moveTo>
                  <a:lnTo>
                    <a:pt x="1133674" y="482527"/>
                  </a:lnTo>
                  <a:cubicBezTo>
                    <a:pt x="1145026" y="489199"/>
                    <a:pt x="1155915" y="496458"/>
                    <a:pt x="1166281" y="504267"/>
                  </a:cubicBezTo>
                  <a:lnTo>
                    <a:pt x="1166159" y="504392"/>
                  </a:lnTo>
                  <a:cubicBezTo>
                    <a:pt x="1301677" y="586137"/>
                    <a:pt x="1364541" y="748811"/>
                    <a:pt x="1324505" y="917662"/>
                  </a:cubicBezTo>
                  <a:lnTo>
                    <a:pt x="1409187" y="947909"/>
                  </a:lnTo>
                  <a:lnTo>
                    <a:pt x="1248401" y="991021"/>
                  </a:lnTo>
                  <a:lnTo>
                    <a:pt x="1149747" y="855242"/>
                  </a:lnTo>
                  <a:lnTo>
                    <a:pt x="1234379" y="885471"/>
                  </a:lnTo>
                  <a:cubicBezTo>
                    <a:pt x="1261578" y="754107"/>
                    <a:pt x="1209151" y="632297"/>
                    <a:pt x="1101499" y="576059"/>
                  </a:cubicBezTo>
                  <a:lnTo>
                    <a:pt x="1082591" y="631021"/>
                  </a:lnTo>
                  <a:lnTo>
                    <a:pt x="1029161" y="480083"/>
                  </a:lnTo>
                  <a:close/>
                  <a:moveTo>
                    <a:pt x="249498" y="406905"/>
                  </a:moveTo>
                  <a:lnTo>
                    <a:pt x="380026" y="480083"/>
                  </a:lnTo>
                  <a:lnTo>
                    <a:pt x="326596" y="631021"/>
                  </a:lnTo>
                  <a:lnTo>
                    <a:pt x="307688" y="576059"/>
                  </a:lnTo>
                  <a:cubicBezTo>
                    <a:pt x="200036" y="632297"/>
                    <a:pt x="147609" y="754107"/>
                    <a:pt x="174808" y="885471"/>
                  </a:cubicBezTo>
                  <a:lnTo>
                    <a:pt x="259440" y="855242"/>
                  </a:lnTo>
                  <a:lnTo>
                    <a:pt x="160786" y="991021"/>
                  </a:lnTo>
                  <a:lnTo>
                    <a:pt x="0" y="947909"/>
                  </a:lnTo>
                  <a:lnTo>
                    <a:pt x="84682" y="917662"/>
                  </a:lnTo>
                  <a:cubicBezTo>
                    <a:pt x="44646" y="748811"/>
                    <a:pt x="107510" y="586137"/>
                    <a:pt x="243028" y="504392"/>
                  </a:cubicBezTo>
                  <a:lnTo>
                    <a:pt x="242906" y="504267"/>
                  </a:lnTo>
                  <a:cubicBezTo>
                    <a:pt x="253272" y="496458"/>
                    <a:pt x="264161" y="489199"/>
                    <a:pt x="275513" y="482527"/>
                  </a:cubicBezTo>
                  <a:close/>
                  <a:moveTo>
                    <a:pt x="781366" y="0"/>
                  </a:moveTo>
                  <a:cubicBezTo>
                    <a:pt x="884063" y="26"/>
                    <a:pt x="982836" y="84764"/>
                    <a:pt x="972659" y="204589"/>
                  </a:cubicBezTo>
                  <a:cubicBezTo>
                    <a:pt x="1130236" y="160992"/>
                    <a:pt x="1158600" y="410489"/>
                    <a:pt x="977387" y="390530"/>
                  </a:cubicBezTo>
                  <a:cubicBezTo>
                    <a:pt x="966356" y="434126"/>
                    <a:pt x="920659" y="476146"/>
                    <a:pt x="859204" y="436227"/>
                  </a:cubicBezTo>
                  <a:cubicBezTo>
                    <a:pt x="839769" y="486652"/>
                    <a:pt x="774637" y="546531"/>
                    <a:pt x="692172" y="469318"/>
                  </a:cubicBezTo>
                  <a:cubicBezTo>
                    <a:pt x="659606" y="528147"/>
                    <a:pt x="491524" y="575945"/>
                    <a:pt x="443200" y="409439"/>
                  </a:cubicBezTo>
                  <a:cubicBezTo>
                    <a:pt x="290875" y="475621"/>
                    <a:pt x="229945" y="218771"/>
                    <a:pt x="411685" y="220346"/>
                  </a:cubicBezTo>
                  <a:cubicBezTo>
                    <a:pt x="362836" y="138406"/>
                    <a:pt x="493625" y="-14444"/>
                    <a:pt x="614959" y="102164"/>
                  </a:cubicBezTo>
                  <a:cubicBezTo>
                    <a:pt x="656717" y="30466"/>
                    <a:pt x="719748" y="-16"/>
                    <a:pt x="781366" y="0"/>
                  </a:cubicBezTo>
                  <a:close/>
                </a:path>
              </a:pathLst>
            </a:custGeom>
            <a:solidFill>
              <a:srgbClr val="007AB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9936796" y="51159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6365256" y="3131039"/>
            <a:ext cx="792000" cy="792000"/>
            <a:chOff x="3002706" y="-1628498"/>
            <a:chExt cx="792000" cy="792000"/>
          </a:xfrm>
        </p:grpSpPr>
        <p:sp>
          <p:nvSpPr>
            <p:cNvPr id="154" name="Freeform 14"/>
            <p:cNvSpPr>
              <a:spLocks noEditPoints="1"/>
            </p:cNvSpPr>
            <p:nvPr/>
          </p:nvSpPr>
          <p:spPr bwMode="black">
            <a:xfrm>
              <a:off x="3056706" y="-1574498"/>
              <a:ext cx="684000" cy="684000"/>
            </a:xfrm>
            <a:custGeom>
              <a:avLst/>
              <a:gdLst>
                <a:gd name="T0" fmla="*/ 518 w 709"/>
                <a:gd name="T1" fmla="*/ 343 h 709"/>
                <a:gd name="T2" fmla="*/ 449 w 709"/>
                <a:gd name="T3" fmla="*/ 258 h 709"/>
                <a:gd name="T4" fmla="*/ 362 w 709"/>
                <a:gd name="T5" fmla="*/ 189 h 709"/>
                <a:gd name="T6" fmla="*/ 449 w 709"/>
                <a:gd name="T7" fmla="*/ 0 h 709"/>
                <a:gd name="T8" fmla="*/ 260 w 709"/>
                <a:gd name="T9" fmla="*/ 189 h 709"/>
                <a:gd name="T10" fmla="*/ 345 w 709"/>
                <a:gd name="T11" fmla="*/ 258 h 709"/>
                <a:gd name="T12" fmla="*/ 260 w 709"/>
                <a:gd name="T13" fmla="*/ 343 h 709"/>
                <a:gd name="T14" fmla="*/ 189 w 709"/>
                <a:gd name="T15" fmla="*/ 258 h 709"/>
                <a:gd name="T16" fmla="*/ 0 w 709"/>
                <a:gd name="T17" fmla="*/ 447 h 709"/>
                <a:gd name="T18" fmla="*/ 85 w 709"/>
                <a:gd name="T19" fmla="*/ 520 h 709"/>
                <a:gd name="T20" fmla="*/ 0 w 709"/>
                <a:gd name="T21" fmla="*/ 709 h 709"/>
                <a:gd name="T22" fmla="*/ 189 w 709"/>
                <a:gd name="T23" fmla="*/ 520 h 709"/>
                <a:gd name="T24" fmla="*/ 104 w 709"/>
                <a:gd name="T25" fmla="*/ 447 h 709"/>
                <a:gd name="T26" fmla="*/ 189 w 709"/>
                <a:gd name="T27" fmla="*/ 362 h 709"/>
                <a:gd name="T28" fmla="*/ 260 w 709"/>
                <a:gd name="T29" fmla="*/ 447 h 709"/>
                <a:gd name="T30" fmla="*/ 345 w 709"/>
                <a:gd name="T31" fmla="*/ 520 h 709"/>
                <a:gd name="T32" fmla="*/ 260 w 709"/>
                <a:gd name="T33" fmla="*/ 709 h 709"/>
                <a:gd name="T34" fmla="*/ 449 w 709"/>
                <a:gd name="T35" fmla="*/ 520 h 709"/>
                <a:gd name="T36" fmla="*/ 362 w 709"/>
                <a:gd name="T37" fmla="*/ 447 h 709"/>
                <a:gd name="T38" fmla="*/ 449 w 709"/>
                <a:gd name="T39" fmla="*/ 362 h 709"/>
                <a:gd name="T40" fmla="*/ 518 w 709"/>
                <a:gd name="T41" fmla="*/ 447 h 709"/>
                <a:gd name="T42" fmla="*/ 709 w 709"/>
                <a:gd name="T43" fmla="*/ 258 h 709"/>
                <a:gd name="T44" fmla="*/ 277 w 709"/>
                <a:gd name="T45" fmla="*/ 17 h 709"/>
                <a:gd name="T46" fmla="*/ 433 w 709"/>
                <a:gd name="T47" fmla="*/ 170 h 709"/>
                <a:gd name="T48" fmla="*/ 277 w 709"/>
                <a:gd name="T49" fmla="*/ 17 h 709"/>
                <a:gd name="T50" fmla="*/ 17 w 709"/>
                <a:gd name="T51" fmla="*/ 690 h 709"/>
                <a:gd name="T52" fmla="*/ 173 w 709"/>
                <a:gd name="T53" fmla="*/ 536 h 709"/>
                <a:gd name="T54" fmla="*/ 173 w 709"/>
                <a:gd name="T55" fmla="*/ 430 h 709"/>
                <a:gd name="T56" fmla="*/ 17 w 709"/>
                <a:gd name="T57" fmla="*/ 274 h 709"/>
                <a:gd name="T58" fmla="*/ 173 w 709"/>
                <a:gd name="T59" fmla="*/ 430 h 709"/>
                <a:gd name="T60" fmla="*/ 277 w 709"/>
                <a:gd name="T61" fmla="*/ 690 h 709"/>
                <a:gd name="T62" fmla="*/ 433 w 709"/>
                <a:gd name="T63" fmla="*/ 536 h 709"/>
                <a:gd name="T64" fmla="*/ 433 w 709"/>
                <a:gd name="T65" fmla="*/ 430 h 709"/>
                <a:gd name="T66" fmla="*/ 277 w 709"/>
                <a:gd name="T67" fmla="*/ 274 h 709"/>
                <a:gd name="T68" fmla="*/ 433 w 709"/>
                <a:gd name="T69" fmla="*/ 430 h 709"/>
                <a:gd name="T70" fmla="*/ 536 w 709"/>
                <a:gd name="T71" fmla="*/ 430 h 709"/>
                <a:gd name="T72" fmla="*/ 690 w 709"/>
                <a:gd name="T73" fmla="*/ 2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09" h="709">
                  <a:moveTo>
                    <a:pt x="518" y="258"/>
                  </a:moveTo>
                  <a:lnTo>
                    <a:pt x="518" y="343"/>
                  </a:lnTo>
                  <a:lnTo>
                    <a:pt x="449" y="343"/>
                  </a:lnTo>
                  <a:lnTo>
                    <a:pt x="449" y="258"/>
                  </a:lnTo>
                  <a:lnTo>
                    <a:pt x="362" y="258"/>
                  </a:lnTo>
                  <a:lnTo>
                    <a:pt x="362" y="189"/>
                  </a:lnTo>
                  <a:lnTo>
                    <a:pt x="449" y="189"/>
                  </a:lnTo>
                  <a:lnTo>
                    <a:pt x="449" y="0"/>
                  </a:lnTo>
                  <a:lnTo>
                    <a:pt x="260" y="0"/>
                  </a:lnTo>
                  <a:lnTo>
                    <a:pt x="260" y="189"/>
                  </a:lnTo>
                  <a:lnTo>
                    <a:pt x="345" y="189"/>
                  </a:lnTo>
                  <a:lnTo>
                    <a:pt x="345" y="258"/>
                  </a:lnTo>
                  <a:lnTo>
                    <a:pt x="260" y="258"/>
                  </a:lnTo>
                  <a:lnTo>
                    <a:pt x="260" y="343"/>
                  </a:lnTo>
                  <a:lnTo>
                    <a:pt x="189" y="343"/>
                  </a:lnTo>
                  <a:lnTo>
                    <a:pt x="189" y="258"/>
                  </a:lnTo>
                  <a:lnTo>
                    <a:pt x="0" y="258"/>
                  </a:lnTo>
                  <a:lnTo>
                    <a:pt x="0" y="447"/>
                  </a:lnTo>
                  <a:lnTo>
                    <a:pt x="85" y="447"/>
                  </a:lnTo>
                  <a:lnTo>
                    <a:pt x="85" y="520"/>
                  </a:lnTo>
                  <a:lnTo>
                    <a:pt x="0" y="520"/>
                  </a:lnTo>
                  <a:lnTo>
                    <a:pt x="0" y="709"/>
                  </a:lnTo>
                  <a:lnTo>
                    <a:pt x="189" y="709"/>
                  </a:lnTo>
                  <a:lnTo>
                    <a:pt x="189" y="520"/>
                  </a:lnTo>
                  <a:lnTo>
                    <a:pt x="104" y="520"/>
                  </a:lnTo>
                  <a:lnTo>
                    <a:pt x="104" y="447"/>
                  </a:lnTo>
                  <a:lnTo>
                    <a:pt x="189" y="447"/>
                  </a:lnTo>
                  <a:lnTo>
                    <a:pt x="189" y="362"/>
                  </a:lnTo>
                  <a:lnTo>
                    <a:pt x="260" y="362"/>
                  </a:lnTo>
                  <a:lnTo>
                    <a:pt x="260" y="447"/>
                  </a:lnTo>
                  <a:lnTo>
                    <a:pt x="345" y="447"/>
                  </a:lnTo>
                  <a:lnTo>
                    <a:pt x="345" y="520"/>
                  </a:lnTo>
                  <a:lnTo>
                    <a:pt x="260" y="520"/>
                  </a:lnTo>
                  <a:lnTo>
                    <a:pt x="260" y="709"/>
                  </a:lnTo>
                  <a:lnTo>
                    <a:pt x="449" y="709"/>
                  </a:lnTo>
                  <a:lnTo>
                    <a:pt x="449" y="520"/>
                  </a:lnTo>
                  <a:lnTo>
                    <a:pt x="362" y="520"/>
                  </a:lnTo>
                  <a:lnTo>
                    <a:pt x="362" y="447"/>
                  </a:lnTo>
                  <a:lnTo>
                    <a:pt x="449" y="447"/>
                  </a:lnTo>
                  <a:lnTo>
                    <a:pt x="449" y="362"/>
                  </a:lnTo>
                  <a:lnTo>
                    <a:pt x="518" y="362"/>
                  </a:lnTo>
                  <a:lnTo>
                    <a:pt x="518" y="447"/>
                  </a:lnTo>
                  <a:lnTo>
                    <a:pt x="709" y="447"/>
                  </a:lnTo>
                  <a:lnTo>
                    <a:pt x="709" y="258"/>
                  </a:lnTo>
                  <a:lnTo>
                    <a:pt x="518" y="258"/>
                  </a:lnTo>
                  <a:close/>
                  <a:moveTo>
                    <a:pt x="277" y="17"/>
                  </a:moveTo>
                  <a:lnTo>
                    <a:pt x="433" y="17"/>
                  </a:lnTo>
                  <a:lnTo>
                    <a:pt x="433" y="170"/>
                  </a:lnTo>
                  <a:lnTo>
                    <a:pt x="277" y="170"/>
                  </a:lnTo>
                  <a:lnTo>
                    <a:pt x="277" y="17"/>
                  </a:lnTo>
                  <a:close/>
                  <a:moveTo>
                    <a:pt x="173" y="690"/>
                  </a:moveTo>
                  <a:lnTo>
                    <a:pt x="17" y="690"/>
                  </a:lnTo>
                  <a:lnTo>
                    <a:pt x="17" y="536"/>
                  </a:lnTo>
                  <a:lnTo>
                    <a:pt x="173" y="536"/>
                  </a:lnTo>
                  <a:lnTo>
                    <a:pt x="173" y="690"/>
                  </a:lnTo>
                  <a:close/>
                  <a:moveTo>
                    <a:pt x="173" y="430"/>
                  </a:moveTo>
                  <a:lnTo>
                    <a:pt x="17" y="430"/>
                  </a:lnTo>
                  <a:lnTo>
                    <a:pt x="17" y="274"/>
                  </a:lnTo>
                  <a:lnTo>
                    <a:pt x="173" y="274"/>
                  </a:lnTo>
                  <a:lnTo>
                    <a:pt x="173" y="430"/>
                  </a:lnTo>
                  <a:close/>
                  <a:moveTo>
                    <a:pt x="433" y="690"/>
                  </a:moveTo>
                  <a:lnTo>
                    <a:pt x="277" y="690"/>
                  </a:lnTo>
                  <a:lnTo>
                    <a:pt x="277" y="536"/>
                  </a:lnTo>
                  <a:lnTo>
                    <a:pt x="433" y="536"/>
                  </a:lnTo>
                  <a:lnTo>
                    <a:pt x="433" y="690"/>
                  </a:lnTo>
                  <a:close/>
                  <a:moveTo>
                    <a:pt x="433" y="430"/>
                  </a:moveTo>
                  <a:lnTo>
                    <a:pt x="277" y="430"/>
                  </a:lnTo>
                  <a:lnTo>
                    <a:pt x="277" y="274"/>
                  </a:lnTo>
                  <a:lnTo>
                    <a:pt x="433" y="274"/>
                  </a:lnTo>
                  <a:lnTo>
                    <a:pt x="433" y="430"/>
                  </a:lnTo>
                  <a:close/>
                  <a:moveTo>
                    <a:pt x="690" y="430"/>
                  </a:moveTo>
                  <a:lnTo>
                    <a:pt x="536" y="430"/>
                  </a:lnTo>
                  <a:lnTo>
                    <a:pt x="536" y="274"/>
                  </a:lnTo>
                  <a:lnTo>
                    <a:pt x="690" y="274"/>
                  </a:lnTo>
                  <a:lnTo>
                    <a:pt x="690" y="430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272" tIns="41137" rIns="82272" bIns="41137" numCol="1" anchor="t" anchorCtr="0" compatLnSpc="1">
              <a:prstTxWarp prst="textNoShape">
                <a:avLst/>
              </a:prstTxWarp>
            </a:bodyPr>
            <a:lstStyle/>
            <a:p>
              <a:pPr defTabSz="932574">
                <a:defRPr/>
              </a:pPr>
              <a:endParaRPr lang="en-US" sz="1600" kern="0">
                <a:solidFill>
                  <a:sysClr val="windowText" lastClr="000000"/>
                </a:solidFill>
                <a:latin typeface="Calibri" panose="020F0502020204030204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002706" y="-162849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156" name="Freeform 18"/>
          <p:cNvSpPr>
            <a:spLocks/>
          </p:cNvSpPr>
          <p:nvPr/>
        </p:nvSpPr>
        <p:spPr bwMode="black">
          <a:xfrm>
            <a:off x="2937491" y="3241360"/>
            <a:ext cx="912276" cy="531434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rgbClr val="007ABD"/>
          </a:solidFill>
          <a:ln>
            <a:noFill/>
          </a:ln>
          <a:extLst/>
        </p:spPr>
        <p:txBody>
          <a:bodyPr vert="horz" wrap="square" lIns="0" tIns="34285" rIns="68570" bIns="34285" numCol="1" anchor="t" anchorCtr="0" compatLnSpc="1">
            <a:prstTxWarp prst="textNoShape">
              <a:avLst/>
            </a:prstTxWarp>
          </a:bodyPr>
          <a:lstStyle/>
          <a:p>
            <a:pPr algn="ctr" defTabSz="911960"/>
            <a:endParaRPr lang="en-US" sz="16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NotesStyle-Regular" pitchFamily="50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208625" y="3910046"/>
            <a:ext cx="792000" cy="792000"/>
            <a:chOff x="1806471" y="1906014"/>
            <a:chExt cx="792000" cy="792000"/>
          </a:xfrm>
        </p:grpSpPr>
        <p:grpSp>
          <p:nvGrpSpPr>
            <p:cNvPr id="190" name="Group 189"/>
            <p:cNvGrpSpPr/>
            <p:nvPr/>
          </p:nvGrpSpPr>
          <p:grpSpPr>
            <a:xfrm>
              <a:off x="1844943" y="2063198"/>
              <a:ext cx="715057" cy="477633"/>
              <a:chOff x="5349954" y="3308377"/>
              <a:chExt cx="1724632" cy="1151996"/>
            </a:xfrm>
            <a:solidFill>
              <a:srgbClr val="FFFFFF"/>
            </a:solidFill>
          </p:grpSpPr>
          <p:sp>
            <p:nvSpPr>
              <p:cNvPr id="191" name="Freeform 5"/>
              <p:cNvSpPr>
                <a:spLocks noEditPoints="1"/>
              </p:cNvSpPr>
              <p:nvPr/>
            </p:nvSpPr>
            <p:spPr bwMode="black">
              <a:xfrm>
                <a:off x="5844170" y="3308377"/>
                <a:ext cx="748137" cy="1151996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solidFill>
                <a:srgbClr val="007ABD"/>
              </a:solidFill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92" name="Freeform 5"/>
              <p:cNvSpPr>
                <a:spLocks noEditPoints="1"/>
              </p:cNvSpPr>
              <p:nvPr/>
            </p:nvSpPr>
            <p:spPr bwMode="black">
              <a:xfrm>
                <a:off x="6533200" y="3626735"/>
                <a:ext cx="541386" cy="833638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solidFill>
                <a:srgbClr val="007ABD"/>
              </a:solidFill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93" name="Freeform 5"/>
              <p:cNvSpPr>
                <a:spLocks noEditPoints="1"/>
              </p:cNvSpPr>
              <p:nvPr/>
            </p:nvSpPr>
            <p:spPr bwMode="black">
              <a:xfrm>
                <a:off x="5349954" y="3626735"/>
                <a:ext cx="541386" cy="833638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solidFill>
                <a:srgbClr val="007ABD"/>
              </a:solidFill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196" name="Rectangle 195"/>
            <p:cNvSpPr/>
            <p:nvPr/>
          </p:nvSpPr>
          <p:spPr>
            <a:xfrm>
              <a:off x="1806471" y="190601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16" name="TextBox 215"/>
          <p:cNvSpPr txBox="1"/>
          <p:nvPr/>
        </p:nvSpPr>
        <p:spPr>
          <a:xfrm>
            <a:off x="3024253" y="34447"/>
            <a:ext cx="811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Devices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217" name="Group 216"/>
          <p:cNvGrpSpPr/>
          <p:nvPr/>
        </p:nvGrpSpPr>
        <p:grpSpPr>
          <a:xfrm>
            <a:off x="2325192" y="1248319"/>
            <a:ext cx="792000" cy="792000"/>
            <a:chOff x="1905703" y="-1268457"/>
            <a:chExt cx="792000" cy="792000"/>
          </a:xfrm>
        </p:grpSpPr>
        <p:grpSp>
          <p:nvGrpSpPr>
            <p:cNvPr id="218" name="Group 217"/>
            <p:cNvGrpSpPr/>
            <p:nvPr/>
          </p:nvGrpSpPr>
          <p:grpSpPr>
            <a:xfrm>
              <a:off x="2059313" y="-1199649"/>
              <a:ext cx="484781" cy="654384"/>
              <a:chOff x="4387598" y="-1382918"/>
              <a:chExt cx="751534" cy="1014460"/>
            </a:xfrm>
            <a:solidFill>
              <a:srgbClr val="8598B1"/>
            </a:solidFill>
          </p:grpSpPr>
          <p:sp>
            <p:nvSpPr>
              <p:cNvPr id="222" name="Freeform 41"/>
              <p:cNvSpPr>
                <a:spLocks/>
              </p:cNvSpPr>
              <p:nvPr/>
            </p:nvSpPr>
            <p:spPr bwMode="auto">
              <a:xfrm>
                <a:off x="4509189" y="-1382918"/>
                <a:ext cx="629943" cy="817491"/>
              </a:xfrm>
              <a:custGeom>
                <a:avLst/>
                <a:gdLst>
                  <a:gd name="T0" fmla="*/ 533 w 594"/>
                  <a:gd name="T1" fmla="*/ 0 h 771"/>
                  <a:gd name="T2" fmla="*/ 63 w 594"/>
                  <a:gd name="T3" fmla="*/ 0 h 771"/>
                  <a:gd name="T4" fmla="*/ 0 w 594"/>
                  <a:gd name="T5" fmla="*/ 61 h 771"/>
                  <a:gd name="T6" fmla="*/ 0 w 594"/>
                  <a:gd name="T7" fmla="*/ 554 h 771"/>
                  <a:gd name="T8" fmla="*/ 10 w 594"/>
                  <a:gd name="T9" fmla="*/ 536 h 771"/>
                  <a:gd name="T10" fmla="*/ 57 w 594"/>
                  <a:gd name="T11" fmla="*/ 445 h 771"/>
                  <a:gd name="T12" fmla="*/ 57 w 594"/>
                  <a:gd name="T13" fmla="*/ 61 h 771"/>
                  <a:gd name="T14" fmla="*/ 63 w 594"/>
                  <a:gd name="T15" fmla="*/ 56 h 771"/>
                  <a:gd name="T16" fmla="*/ 533 w 594"/>
                  <a:gd name="T17" fmla="*/ 56 h 771"/>
                  <a:gd name="T18" fmla="*/ 537 w 594"/>
                  <a:gd name="T19" fmla="*/ 61 h 771"/>
                  <a:gd name="T20" fmla="*/ 537 w 594"/>
                  <a:gd name="T21" fmla="*/ 708 h 771"/>
                  <a:gd name="T22" fmla="*/ 533 w 594"/>
                  <a:gd name="T23" fmla="*/ 714 h 771"/>
                  <a:gd name="T24" fmla="*/ 255 w 594"/>
                  <a:gd name="T25" fmla="*/ 714 h 771"/>
                  <a:gd name="T26" fmla="*/ 258 w 594"/>
                  <a:gd name="T27" fmla="*/ 771 h 771"/>
                  <a:gd name="T28" fmla="*/ 533 w 594"/>
                  <a:gd name="T29" fmla="*/ 771 h 771"/>
                  <a:gd name="T30" fmla="*/ 594 w 594"/>
                  <a:gd name="T31" fmla="*/ 708 h 771"/>
                  <a:gd name="T32" fmla="*/ 594 w 594"/>
                  <a:gd name="T33" fmla="*/ 61 h 771"/>
                  <a:gd name="T34" fmla="*/ 533 w 594"/>
                  <a:gd name="T35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4" h="771">
                    <a:moveTo>
                      <a:pt x="53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1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10" y="536"/>
                      <a:pt x="10" y="536"/>
                      <a:pt x="10" y="536"/>
                    </a:cubicBezTo>
                    <a:cubicBezTo>
                      <a:pt x="57" y="445"/>
                      <a:pt x="57" y="445"/>
                      <a:pt x="57" y="445"/>
                    </a:cubicBezTo>
                    <a:cubicBezTo>
                      <a:pt x="57" y="61"/>
                      <a:pt x="57" y="61"/>
                      <a:pt x="57" y="61"/>
                    </a:cubicBezTo>
                    <a:cubicBezTo>
                      <a:pt x="57" y="58"/>
                      <a:pt x="59" y="56"/>
                      <a:pt x="63" y="56"/>
                    </a:cubicBezTo>
                    <a:cubicBezTo>
                      <a:pt x="533" y="56"/>
                      <a:pt x="533" y="56"/>
                      <a:pt x="533" y="56"/>
                    </a:cubicBezTo>
                    <a:cubicBezTo>
                      <a:pt x="535" y="56"/>
                      <a:pt x="537" y="58"/>
                      <a:pt x="537" y="61"/>
                    </a:cubicBezTo>
                    <a:cubicBezTo>
                      <a:pt x="537" y="708"/>
                      <a:pt x="537" y="708"/>
                      <a:pt x="537" y="708"/>
                    </a:cubicBezTo>
                    <a:cubicBezTo>
                      <a:pt x="537" y="712"/>
                      <a:pt x="535" y="714"/>
                      <a:pt x="533" y="714"/>
                    </a:cubicBezTo>
                    <a:cubicBezTo>
                      <a:pt x="255" y="714"/>
                      <a:pt x="255" y="714"/>
                      <a:pt x="255" y="714"/>
                    </a:cubicBezTo>
                    <a:cubicBezTo>
                      <a:pt x="266" y="734"/>
                      <a:pt x="266" y="755"/>
                      <a:pt x="258" y="771"/>
                    </a:cubicBezTo>
                    <a:cubicBezTo>
                      <a:pt x="533" y="771"/>
                      <a:pt x="533" y="771"/>
                      <a:pt x="533" y="771"/>
                    </a:cubicBezTo>
                    <a:cubicBezTo>
                      <a:pt x="568" y="771"/>
                      <a:pt x="594" y="742"/>
                      <a:pt x="594" y="708"/>
                    </a:cubicBezTo>
                    <a:cubicBezTo>
                      <a:pt x="594" y="61"/>
                      <a:pt x="594" y="61"/>
                      <a:pt x="594" y="61"/>
                    </a:cubicBezTo>
                    <a:cubicBezTo>
                      <a:pt x="594" y="28"/>
                      <a:pt x="568" y="0"/>
                      <a:pt x="533" y="0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23" name="Freeform 42"/>
              <p:cNvSpPr>
                <a:spLocks/>
              </p:cNvSpPr>
              <p:nvPr/>
            </p:nvSpPr>
            <p:spPr bwMode="auto">
              <a:xfrm>
                <a:off x="4387598" y="-954431"/>
                <a:ext cx="362531" cy="585973"/>
              </a:xfrm>
              <a:custGeom>
                <a:avLst/>
                <a:gdLst>
                  <a:gd name="T0" fmla="*/ 306 w 342"/>
                  <a:gd name="T1" fmla="*/ 296 h 553"/>
                  <a:gd name="T2" fmla="*/ 196 w 342"/>
                  <a:gd name="T3" fmla="*/ 225 h 553"/>
                  <a:gd name="T4" fmla="*/ 277 w 342"/>
                  <a:gd name="T5" fmla="*/ 56 h 553"/>
                  <a:gd name="T6" fmla="*/ 263 w 342"/>
                  <a:gd name="T7" fmla="*/ 10 h 553"/>
                  <a:gd name="T8" fmla="*/ 223 w 342"/>
                  <a:gd name="T9" fmla="*/ 29 h 553"/>
                  <a:gd name="T10" fmla="*/ 102 w 342"/>
                  <a:gd name="T11" fmla="*/ 261 h 553"/>
                  <a:gd name="T12" fmla="*/ 85 w 342"/>
                  <a:gd name="T13" fmla="*/ 186 h 553"/>
                  <a:gd name="T14" fmla="*/ 20 w 342"/>
                  <a:gd name="T15" fmla="*/ 135 h 553"/>
                  <a:gd name="T16" fmla="*/ 20 w 342"/>
                  <a:gd name="T17" fmla="*/ 196 h 553"/>
                  <a:gd name="T18" fmla="*/ 50 w 342"/>
                  <a:gd name="T19" fmla="*/ 434 h 553"/>
                  <a:gd name="T20" fmla="*/ 56 w 342"/>
                  <a:gd name="T21" fmla="*/ 471 h 553"/>
                  <a:gd name="T22" fmla="*/ 64 w 342"/>
                  <a:gd name="T23" fmla="*/ 488 h 553"/>
                  <a:gd name="T24" fmla="*/ 106 w 342"/>
                  <a:gd name="T25" fmla="*/ 528 h 553"/>
                  <a:gd name="T26" fmla="*/ 244 w 342"/>
                  <a:gd name="T27" fmla="*/ 490 h 553"/>
                  <a:gd name="T28" fmla="*/ 246 w 342"/>
                  <a:gd name="T29" fmla="*/ 486 h 553"/>
                  <a:gd name="T30" fmla="*/ 335 w 342"/>
                  <a:gd name="T31" fmla="*/ 357 h 553"/>
                  <a:gd name="T32" fmla="*/ 306 w 342"/>
                  <a:gd name="T33" fmla="*/ 296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2" h="553">
                    <a:moveTo>
                      <a:pt x="306" y="296"/>
                    </a:moveTo>
                    <a:cubicBezTo>
                      <a:pt x="196" y="225"/>
                      <a:pt x="196" y="225"/>
                      <a:pt x="196" y="225"/>
                    </a:cubicBezTo>
                    <a:cubicBezTo>
                      <a:pt x="225" y="169"/>
                      <a:pt x="248" y="111"/>
                      <a:pt x="277" y="56"/>
                    </a:cubicBezTo>
                    <a:cubicBezTo>
                      <a:pt x="287" y="40"/>
                      <a:pt x="279" y="17"/>
                      <a:pt x="263" y="10"/>
                    </a:cubicBezTo>
                    <a:cubicBezTo>
                      <a:pt x="246" y="0"/>
                      <a:pt x="233" y="12"/>
                      <a:pt x="223" y="29"/>
                    </a:cubicBezTo>
                    <a:cubicBezTo>
                      <a:pt x="187" y="102"/>
                      <a:pt x="141" y="188"/>
                      <a:pt x="102" y="261"/>
                    </a:cubicBezTo>
                    <a:cubicBezTo>
                      <a:pt x="100" y="244"/>
                      <a:pt x="85" y="186"/>
                      <a:pt x="85" y="186"/>
                    </a:cubicBezTo>
                    <a:cubicBezTo>
                      <a:pt x="81" y="165"/>
                      <a:pt x="45" y="133"/>
                      <a:pt x="20" y="135"/>
                    </a:cubicBezTo>
                    <a:cubicBezTo>
                      <a:pt x="0" y="135"/>
                      <a:pt x="16" y="173"/>
                      <a:pt x="20" y="196"/>
                    </a:cubicBezTo>
                    <a:cubicBezTo>
                      <a:pt x="33" y="277"/>
                      <a:pt x="37" y="354"/>
                      <a:pt x="50" y="434"/>
                    </a:cubicBezTo>
                    <a:cubicBezTo>
                      <a:pt x="50" y="448"/>
                      <a:pt x="52" y="459"/>
                      <a:pt x="56" y="471"/>
                    </a:cubicBezTo>
                    <a:cubicBezTo>
                      <a:pt x="58" y="477"/>
                      <a:pt x="62" y="484"/>
                      <a:pt x="64" y="488"/>
                    </a:cubicBezTo>
                    <a:cubicBezTo>
                      <a:pt x="75" y="503"/>
                      <a:pt x="89" y="519"/>
                      <a:pt x="106" y="528"/>
                    </a:cubicBezTo>
                    <a:cubicBezTo>
                      <a:pt x="156" y="553"/>
                      <a:pt x="216" y="536"/>
                      <a:pt x="244" y="490"/>
                    </a:cubicBezTo>
                    <a:cubicBezTo>
                      <a:pt x="244" y="490"/>
                      <a:pt x="246" y="488"/>
                      <a:pt x="246" y="486"/>
                    </a:cubicBezTo>
                    <a:cubicBezTo>
                      <a:pt x="335" y="357"/>
                      <a:pt x="335" y="357"/>
                      <a:pt x="335" y="357"/>
                    </a:cubicBezTo>
                    <a:cubicBezTo>
                      <a:pt x="342" y="340"/>
                      <a:pt x="323" y="306"/>
                      <a:pt x="306" y="296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19" name="Group 218"/>
            <p:cNvGrpSpPr/>
            <p:nvPr/>
          </p:nvGrpSpPr>
          <p:grpSpPr>
            <a:xfrm>
              <a:off x="1905703" y="-1268457"/>
              <a:ext cx="792000" cy="792000"/>
              <a:chOff x="1301691" y="-1022413"/>
              <a:chExt cx="792000" cy="792000"/>
            </a:xfrm>
          </p:grpSpPr>
          <p:sp>
            <p:nvSpPr>
              <p:cNvPr id="220" name="Rectangle 219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21" name="Rectangle 220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224" name="Group 223"/>
          <p:cNvGrpSpPr/>
          <p:nvPr/>
        </p:nvGrpSpPr>
        <p:grpSpPr>
          <a:xfrm>
            <a:off x="2314064" y="406555"/>
            <a:ext cx="792000" cy="792000"/>
            <a:chOff x="4157632" y="-1925840"/>
            <a:chExt cx="792000" cy="792000"/>
          </a:xfrm>
        </p:grpSpPr>
        <p:sp>
          <p:nvSpPr>
            <p:cNvPr id="225" name="Freeform 18"/>
            <p:cNvSpPr>
              <a:spLocks noEditPoints="1"/>
            </p:cNvSpPr>
            <p:nvPr/>
          </p:nvSpPr>
          <p:spPr bwMode="auto">
            <a:xfrm>
              <a:off x="4192824" y="-1783661"/>
              <a:ext cx="721616" cy="507642"/>
            </a:xfrm>
            <a:custGeom>
              <a:avLst/>
              <a:gdLst>
                <a:gd name="T0" fmla="*/ 152 w 435"/>
                <a:gd name="T1" fmla="*/ 253 h 305"/>
                <a:gd name="T2" fmla="*/ 141 w 435"/>
                <a:gd name="T3" fmla="*/ 284 h 305"/>
                <a:gd name="T4" fmla="*/ 65 w 435"/>
                <a:gd name="T5" fmla="*/ 298 h 305"/>
                <a:gd name="T6" fmla="*/ 63 w 435"/>
                <a:gd name="T7" fmla="*/ 299 h 305"/>
                <a:gd name="T8" fmla="*/ 2 w 435"/>
                <a:gd name="T9" fmla="*/ 265 h 305"/>
                <a:gd name="T10" fmla="*/ 2 w 435"/>
                <a:gd name="T11" fmla="*/ 236 h 305"/>
                <a:gd name="T12" fmla="*/ 5 w 435"/>
                <a:gd name="T13" fmla="*/ 227 h 305"/>
                <a:gd name="T14" fmla="*/ 16 w 435"/>
                <a:gd name="T15" fmla="*/ 213 h 305"/>
                <a:gd name="T16" fmla="*/ 88 w 435"/>
                <a:gd name="T17" fmla="*/ 120 h 305"/>
                <a:gd name="T18" fmla="*/ 109 w 435"/>
                <a:gd name="T19" fmla="*/ 99 h 305"/>
                <a:gd name="T20" fmla="*/ 114 w 435"/>
                <a:gd name="T21" fmla="*/ 138 h 305"/>
                <a:gd name="T22" fmla="*/ 94 w 435"/>
                <a:gd name="T23" fmla="*/ 170 h 305"/>
                <a:gd name="T24" fmla="*/ 216 w 435"/>
                <a:gd name="T25" fmla="*/ 132 h 305"/>
                <a:gd name="T26" fmla="*/ 237 w 435"/>
                <a:gd name="T27" fmla="*/ 139 h 305"/>
                <a:gd name="T28" fmla="*/ 225 w 435"/>
                <a:gd name="T29" fmla="*/ 159 h 305"/>
                <a:gd name="T30" fmla="*/ 139 w 435"/>
                <a:gd name="T31" fmla="*/ 190 h 305"/>
                <a:gd name="T32" fmla="*/ 152 w 435"/>
                <a:gd name="T33" fmla="*/ 253 h 305"/>
                <a:gd name="T34" fmla="*/ 435 w 435"/>
                <a:gd name="T35" fmla="*/ 0 h 305"/>
                <a:gd name="T36" fmla="*/ 435 w 435"/>
                <a:gd name="T37" fmla="*/ 269 h 305"/>
                <a:gd name="T38" fmla="*/ 172 w 435"/>
                <a:gd name="T39" fmla="*/ 269 h 305"/>
                <a:gd name="T40" fmla="*/ 171 w 435"/>
                <a:gd name="T41" fmla="*/ 248 h 305"/>
                <a:gd name="T42" fmla="*/ 165 w 435"/>
                <a:gd name="T43" fmla="*/ 217 h 305"/>
                <a:gd name="T44" fmla="*/ 383 w 435"/>
                <a:gd name="T45" fmla="*/ 217 h 305"/>
                <a:gd name="T46" fmla="*/ 383 w 435"/>
                <a:gd name="T47" fmla="*/ 52 h 305"/>
                <a:gd name="T48" fmla="*/ 101 w 435"/>
                <a:gd name="T49" fmla="*/ 52 h 305"/>
                <a:gd name="T50" fmla="*/ 101 w 435"/>
                <a:gd name="T51" fmla="*/ 77 h 305"/>
                <a:gd name="T52" fmla="*/ 76 w 435"/>
                <a:gd name="T53" fmla="*/ 101 h 305"/>
                <a:gd name="T54" fmla="*/ 72 w 435"/>
                <a:gd name="T55" fmla="*/ 108 h 305"/>
                <a:gd name="T56" fmla="*/ 49 w 435"/>
                <a:gd name="T57" fmla="*/ 137 h 305"/>
                <a:gd name="T58" fmla="*/ 49 w 435"/>
                <a:gd name="T59" fmla="*/ 0 h 305"/>
                <a:gd name="T60" fmla="*/ 435 w 435"/>
                <a:gd name="T61" fmla="*/ 0 h 305"/>
                <a:gd name="T62" fmla="*/ 268 w 435"/>
                <a:gd name="T63" fmla="*/ 235 h 305"/>
                <a:gd name="T64" fmla="*/ 217 w 435"/>
                <a:gd name="T65" fmla="*/ 235 h 305"/>
                <a:gd name="T66" fmla="*/ 217 w 435"/>
                <a:gd name="T67" fmla="*/ 251 h 305"/>
                <a:gd name="T68" fmla="*/ 268 w 435"/>
                <a:gd name="T69" fmla="*/ 251 h 305"/>
                <a:gd name="T70" fmla="*/ 268 w 435"/>
                <a:gd name="T71" fmla="*/ 23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5" h="305">
                  <a:moveTo>
                    <a:pt x="152" y="253"/>
                  </a:moveTo>
                  <a:cubicBezTo>
                    <a:pt x="154" y="262"/>
                    <a:pt x="149" y="281"/>
                    <a:pt x="141" y="284"/>
                  </a:cubicBezTo>
                  <a:cubicBezTo>
                    <a:pt x="141" y="284"/>
                    <a:pt x="141" y="284"/>
                    <a:pt x="65" y="298"/>
                  </a:cubicBezTo>
                  <a:cubicBezTo>
                    <a:pt x="65" y="299"/>
                    <a:pt x="63" y="299"/>
                    <a:pt x="63" y="299"/>
                  </a:cubicBezTo>
                  <a:cubicBezTo>
                    <a:pt x="37" y="305"/>
                    <a:pt x="11" y="291"/>
                    <a:pt x="2" y="265"/>
                  </a:cubicBezTo>
                  <a:cubicBezTo>
                    <a:pt x="0" y="256"/>
                    <a:pt x="0" y="245"/>
                    <a:pt x="2" y="236"/>
                  </a:cubicBezTo>
                  <a:cubicBezTo>
                    <a:pt x="2" y="234"/>
                    <a:pt x="3" y="230"/>
                    <a:pt x="5" y="227"/>
                  </a:cubicBezTo>
                  <a:cubicBezTo>
                    <a:pt x="8" y="222"/>
                    <a:pt x="11" y="218"/>
                    <a:pt x="16" y="213"/>
                  </a:cubicBezTo>
                  <a:cubicBezTo>
                    <a:pt x="39" y="180"/>
                    <a:pt x="65" y="152"/>
                    <a:pt x="88" y="120"/>
                  </a:cubicBezTo>
                  <a:cubicBezTo>
                    <a:pt x="95" y="110"/>
                    <a:pt x="102" y="91"/>
                    <a:pt x="109" y="99"/>
                  </a:cubicBezTo>
                  <a:cubicBezTo>
                    <a:pt x="118" y="106"/>
                    <a:pt x="120" y="130"/>
                    <a:pt x="114" y="138"/>
                  </a:cubicBezTo>
                  <a:cubicBezTo>
                    <a:pt x="114" y="138"/>
                    <a:pt x="99" y="164"/>
                    <a:pt x="94" y="170"/>
                  </a:cubicBezTo>
                  <a:cubicBezTo>
                    <a:pt x="133" y="158"/>
                    <a:pt x="178" y="144"/>
                    <a:pt x="216" y="132"/>
                  </a:cubicBezTo>
                  <a:cubicBezTo>
                    <a:pt x="225" y="129"/>
                    <a:pt x="234" y="130"/>
                    <a:pt x="237" y="139"/>
                  </a:cubicBezTo>
                  <a:cubicBezTo>
                    <a:pt x="240" y="147"/>
                    <a:pt x="235" y="158"/>
                    <a:pt x="225" y="159"/>
                  </a:cubicBezTo>
                  <a:cubicBezTo>
                    <a:pt x="196" y="169"/>
                    <a:pt x="168" y="181"/>
                    <a:pt x="139" y="190"/>
                  </a:cubicBezTo>
                  <a:cubicBezTo>
                    <a:pt x="139" y="190"/>
                    <a:pt x="139" y="190"/>
                    <a:pt x="152" y="253"/>
                  </a:cubicBezTo>
                  <a:close/>
                  <a:moveTo>
                    <a:pt x="435" y="0"/>
                  </a:moveTo>
                  <a:cubicBezTo>
                    <a:pt x="435" y="269"/>
                    <a:pt x="435" y="269"/>
                    <a:pt x="435" y="269"/>
                  </a:cubicBezTo>
                  <a:cubicBezTo>
                    <a:pt x="172" y="269"/>
                    <a:pt x="172" y="269"/>
                    <a:pt x="172" y="269"/>
                  </a:cubicBezTo>
                  <a:cubicBezTo>
                    <a:pt x="173" y="261"/>
                    <a:pt x="173" y="254"/>
                    <a:pt x="171" y="248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383" y="217"/>
                    <a:pt x="383" y="217"/>
                    <a:pt x="383" y="217"/>
                  </a:cubicBezTo>
                  <a:cubicBezTo>
                    <a:pt x="383" y="52"/>
                    <a:pt x="383" y="52"/>
                    <a:pt x="383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77"/>
                    <a:pt x="101" y="77"/>
                    <a:pt x="101" y="77"/>
                  </a:cubicBezTo>
                  <a:cubicBezTo>
                    <a:pt x="89" y="80"/>
                    <a:pt x="81" y="92"/>
                    <a:pt x="76" y="101"/>
                  </a:cubicBezTo>
                  <a:cubicBezTo>
                    <a:pt x="75" y="104"/>
                    <a:pt x="73" y="106"/>
                    <a:pt x="72" y="108"/>
                  </a:cubicBezTo>
                  <a:cubicBezTo>
                    <a:pt x="65" y="118"/>
                    <a:pt x="57" y="128"/>
                    <a:pt x="49" y="137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35" y="0"/>
                  </a:lnTo>
                  <a:close/>
                  <a:moveTo>
                    <a:pt x="268" y="235"/>
                  </a:moveTo>
                  <a:cubicBezTo>
                    <a:pt x="217" y="235"/>
                    <a:pt x="217" y="235"/>
                    <a:pt x="217" y="235"/>
                  </a:cubicBezTo>
                  <a:cubicBezTo>
                    <a:pt x="217" y="251"/>
                    <a:pt x="217" y="251"/>
                    <a:pt x="217" y="251"/>
                  </a:cubicBezTo>
                  <a:cubicBezTo>
                    <a:pt x="268" y="251"/>
                    <a:pt x="268" y="251"/>
                    <a:pt x="268" y="251"/>
                  </a:cubicBezTo>
                  <a:lnTo>
                    <a:pt x="268" y="235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41" tIns="149154" rIns="186441" bIns="1491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45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gradFill>
                  <a:gsLst>
                    <a:gs pos="1770">
                      <a:srgbClr val="FFFFFF"/>
                    </a:gs>
                    <a:gs pos="25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4157632" y="-192584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27" name="Freeform 78"/>
          <p:cNvSpPr>
            <a:spLocks noEditPoints="1"/>
          </p:cNvSpPr>
          <p:nvPr/>
        </p:nvSpPr>
        <p:spPr bwMode="auto">
          <a:xfrm>
            <a:off x="3040806" y="1177371"/>
            <a:ext cx="792000" cy="790357"/>
          </a:xfrm>
          <a:custGeom>
            <a:avLst/>
            <a:gdLst>
              <a:gd name="T0" fmla="*/ 1448 w 2291"/>
              <a:gd name="T1" fmla="*/ 923 h 2197"/>
              <a:gd name="T2" fmla="*/ 1464 w 2291"/>
              <a:gd name="T3" fmla="*/ 1048 h 2197"/>
              <a:gd name="T4" fmla="*/ 1622 w 2291"/>
              <a:gd name="T5" fmla="*/ 1225 h 2197"/>
              <a:gd name="T6" fmla="*/ 1522 w 2291"/>
              <a:gd name="T7" fmla="*/ 1149 h 2197"/>
              <a:gd name="T8" fmla="*/ 1622 w 2291"/>
              <a:gd name="T9" fmla="*/ 1225 h 2197"/>
              <a:gd name="T10" fmla="*/ 769 w 2291"/>
              <a:gd name="T11" fmla="*/ 1149 h 2197"/>
              <a:gd name="T12" fmla="*/ 669 w 2291"/>
              <a:gd name="T13" fmla="*/ 1225 h 2197"/>
              <a:gd name="T14" fmla="*/ 828 w 2291"/>
              <a:gd name="T15" fmla="*/ 1048 h 2197"/>
              <a:gd name="T16" fmla="*/ 844 w 2291"/>
              <a:gd name="T17" fmla="*/ 923 h 2197"/>
              <a:gd name="T18" fmla="*/ 828 w 2291"/>
              <a:gd name="T19" fmla="*/ 1048 h 2197"/>
              <a:gd name="T20" fmla="*/ 1390 w 2291"/>
              <a:gd name="T21" fmla="*/ 540 h 2197"/>
              <a:gd name="T22" fmla="*/ 1493 w 2291"/>
              <a:gd name="T23" fmla="*/ 103 h 2197"/>
              <a:gd name="T24" fmla="*/ 902 w 2291"/>
              <a:gd name="T25" fmla="*/ 0 h 2197"/>
              <a:gd name="T26" fmla="*/ 799 w 2291"/>
              <a:gd name="T27" fmla="*/ 437 h 2197"/>
              <a:gd name="T28" fmla="*/ 859 w 2291"/>
              <a:gd name="T29" fmla="*/ 103 h 2197"/>
              <a:gd name="T30" fmla="*/ 1390 w 2291"/>
              <a:gd name="T31" fmla="*/ 60 h 2197"/>
              <a:gd name="T32" fmla="*/ 1433 w 2291"/>
              <a:gd name="T33" fmla="*/ 437 h 2197"/>
              <a:gd name="T34" fmla="*/ 902 w 2291"/>
              <a:gd name="T35" fmla="*/ 480 h 2197"/>
              <a:gd name="T36" fmla="*/ 859 w 2291"/>
              <a:gd name="T37" fmla="*/ 103 h 2197"/>
              <a:gd name="T38" fmla="*/ 1614 w 2291"/>
              <a:gd name="T39" fmla="*/ 824 h 2197"/>
              <a:gd name="T40" fmla="*/ 1640 w 2291"/>
              <a:gd name="T41" fmla="*/ 786 h 2197"/>
              <a:gd name="T42" fmla="*/ 1499 w 2291"/>
              <a:gd name="T43" fmla="*/ 596 h 2197"/>
              <a:gd name="T44" fmla="*/ 835 w 2291"/>
              <a:gd name="T45" fmla="*/ 576 h 2197"/>
              <a:gd name="T46" fmla="*/ 669 w 2291"/>
              <a:gd name="T47" fmla="*/ 741 h 2197"/>
              <a:gd name="T48" fmla="*/ 652 w 2291"/>
              <a:gd name="T49" fmla="*/ 798 h 2197"/>
              <a:gd name="T50" fmla="*/ 1450 w 2291"/>
              <a:gd name="T51" fmla="*/ 1476 h 2197"/>
              <a:gd name="T52" fmla="*/ 1554 w 2291"/>
              <a:gd name="T53" fmla="*/ 1913 h 2197"/>
              <a:gd name="T54" fmla="*/ 2144 w 2291"/>
              <a:gd name="T55" fmla="*/ 1810 h 2197"/>
              <a:gd name="T56" fmla="*/ 2041 w 2291"/>
              <a:gd name="T57" fmla="*/ 1373 h 2197"/>
              <a:gd name="T58" fmla="*/ 1450 w 2291"/>
              <a:gd name="T59" fmla="*/ 1476 h 2197"/>
              <a:gd name="T60" fmla="*/ 2084 w 2291"/>
              <a:gd name="T61" fmla="*/ 1810 h 2197"/>
              <a:gd name="T62" fmla="*/ 1554 w 2291"/>
              <a:gd name="T63" fmla="*/ 1853 h 2197"/>
              <a:gd name="T64" fmla="*/ 1511 w 2291"/>
              <a:gd name="T65" fmla="*/ 1476 h 2197"/>
              <a:gd name="T66" fmla="*/ 2041 w 2291"/>
              <a:gd name="T67" fmla="*/ 1433 h 2197"/>
              <a:gd name="T68" fmla="*/ 2275 w 2291"/>
              <a:gd name="T69" fmla="*/ 2114 h 2197"/>
              <a:gd name="T70" fmla="*/ 2108 w 2291"/>
              <a:gd name="T71" fmla="*/ 1949 h 2197"/>
              <a:gd name="T72" fmla="*/ 1444 w 2291"/>
              <a:gd name="T73" fmla="*/ 1969 h 2197"/>
              <a:gd name="T74" fmla="*/ 1304 w 2291"/>
              <a:gd name="T75" fmla="*/ 2159 h 2197"/>
              <a:gd name="T76" fmla="*/ 1329 w 2291"/>
              <a:gd name="T77" fmla="*/ 2197 h 2197"/>
              <a:gd name="T78" fmla="*/ 2291 w 2291"/>
              <a:gd name="T79" fmla="*/ 2171 h 2197"/>
              <a:gd name="T80" fmla="*/ 2275 w 2291"/>
              <a:gd name="T81" fmla="*/ 2114 h 2197"/>
              <a:gd name="T82" fmla="*/ 738 w 2291"/>
              <a:gd name="T83" fmla="*/ 1913 h 2197"/>
              <a:gd name="T84" fmla="*/ 841 w 2291"/>
              <a:gd name="T85" fmla="*/ 1476 h 2197"/>
              <a:gd name="T86" fmla="*/ 250 w 2291"/>
              <a:gd name="T87" fmla="*/ 1373 h 2197"/>
              <a:gd name="T88" fmla="*/ 147 w 2291"/>
              <a:gd name="T89" fmla="*/ 1810 h 2197"/>
              <a:gd name="T90" fmla="*/ 207 w 2291"/>
              <a:gd name="T91" fmla="*/ 1476 h 2197"/>
              <a:gd name="T92" fmla="*/ 738 w 2291"/>
              <a:gd name="T93" fmla="*/ 1433 h 2197"/>
              <a:gd name="T94" fmla="*/ 781 w 2291"/>
              <a:gd name="T95" fmla="*/ 1810 h 2197"/>
              <a:gd name="T96" fmla="*/ 250 w 2291"/>
              <a:gd name="T97" fmla="*/ 1853 h 2197"/>
              <a:gd name="T98" fmla="*/ 207 w 2291"/>
              <a:gd name="T99" fmla="*/ 1476 h 2197"/>
              <a:gd name="T100" fmla="*/ 805 w 2291"/>
              <a:gd name="T101" fmla="*/ 1949 h 2197"/>
              <a:gd name="T102" fmla="*/ 141 w 2291"/>
              <a:gd name="T103" fmla="*/ 1969 h 2197"/>
              <a:gd name="T104" fmla="*/ 0 w 2291"/>
              <a:gd name="T105" fmla="*/ 2159 h 2197"/>
              <a:gd name="T106" fmla="*/ 26 w 2291"/>
              <a:gd name="T107" fmla="*/ 2197 h 2197"/>
              <a:gd name="T108" fmla="*/ 988 w 2291"/>
              <a:gd name="T109" fmla="*/ 2171 h 2197"/>
              <a:gd name="T110" fmla="*/ 971 w 2291"/>
              <a:gd name="T111" fmla="*/ 2114 h 2197"/>
              <a:gd name="T112" fmla="*/ 971 w 2291"/>
              <a:gd name="T113" fmla="*/ 1659 h 2197"/>
              <a:gd name="T114" fmla="*/ 1088 w 2291"/>
              <a:gd name="T115" fmla="*/ 1610 h 2197"/>
              <a:gd name="T116" fmla="*/ 971 w 2291"/>
              <a:gd name="T117" fmla="*/ 1659 h 2197"/>
              <a:gd name="T118" fmla="*/ 1204 w 2291"/>
              <a:gd name="T119" fmla="*/ 1610 h 2197"/>
              <a:gd name="T120" fmla="*/ 1320 w 2291"/>
              <a:gd name="T121" fmla="*/ 1659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91" h="2197">
                <a:moveTo>
                  <a:pt x="1506" y="1023"/>
                </a:moveTo>
                <a:cubicBezTo>
                  <a:pt x="1448" y="923"/>
                  <a:pt x="1448" y="923"/>
                  <a:pt x="1448" y="923"/>
                </a:cubicBezTo>
                <a:cubicBezTo>
                  <a:pt x="1406" y="947"/>
                  <a:pt x="1406" y="947"/>
                  <a:pt x="1406" y="947"/>
                </a:cubicBezTo>
                <a:cubicBezTo>
                  <a:pt x="1464" y="1048"/>
                  <a:pt x="1464" y="1048"/>
                  <a:pt x="1464" y="1048"/>
                </a:cubicBezTo>
                <a:lnTo>
                  <a:pt x="1506" y="1023"/>
                </a:lnTo>
                <a:close/>
                <a:moveTo>
                  <a:pt x="1622" y="1225"/>
                </a:moveTo>
                <a:cubicBezTo>
                  <a:pt x="1564" y="1124"/>
                  <a:pt x="1564" y="1124"/>
                  <a:pt x="1564" y="1124"/>
                </a:cubicBezTo>
                <a:cubicBezTo>
                  <a:pt x="1522" y="1149"/>
                  <a:pt x="1522" y="1149"/>
                  <a:pt x="1522" y="1149"/>
                </a:cubicBezTo>
                <a:cubicBezTo>
                  <a:pt x="1580" y="1249"/>
                  <a:pt x="1580" y="1249"/>
                  <a:pt x="1580" y="1249"/>
                </a:cubicBezTo>
                <a:lnTo>
                  <a:pt x="1622" y="1225"/>
                </a:lnTo>
                <a:close/>
                <a:moveTo>
                  <a:pt x="711" y="1249"/>
                </a:moveTo>
                <a:cubicBezTo>
                  <a:pt x="769" y="1149"/>
                  <a:pt x="769" y="1149"/>
                  <a:pt x="769" y="1149"/>
                </a:cubicBezTo>
                <a:cubicBezTo>
                  <a:pt x="727" y="1124"/>
                  <a:pt x="727" y="1124"/>
                  <a:pt x="727" y="1124"/>
                </a:cubicBezTo>
                <a:cubicBezTo>
                  <a:pt x="669" y="1225"/>
                  <a:pt x="669" y="1225"/>
                  <a:pt x="669" y="1225"/>
                </a:cubicBezTo>
                <a:lnTo>
                  <a:pt x="711" y="1249"/>
                </a:lnTo>
                <a:close/>
                <a:moveTo>
                  <a:pt x="828" y="1048"/>
                </a:moveTo>
                <a:cubicBezTo>
                  <a:pt x="886" y="947"/>
                  <a:pt x="886" y="947"/>
                  <a:pt x="886" y="947"/>
                </a:cubicBezTo>
                <a:cubicBezTo>
                  <a:pt x="844" y="923"/>
                  <a:pt x="844" y="923"/>
                  <a:pt x="844" y="923"/>
                </a:cubicBezTo>
                <a:cubicBezTo>
                  <a:pt x="786" y="1023"/>
                  <a:pt x="786" y="1023"/>
                  <a:pt x="786" y="1023"/>
                </a:cubicBezTo>
                <a:lnTo>
                  <a:pt x="828" y="1048"/>
                </a:lnTo>
                <a:close/>
                <a:moveTo>
                  <a:pt x="902" y="540"/>
                </a:moveTo>
                <a:cubicBezTo>
                  <a:pt x="1390" y="540"/>
                  <a:pt x="1390" y="540"/>
                  <a:pt x="1390" y="540"/>
                </a:cubicBezTo>
                <a:cubicBezTo>
                  <a:pt x="1447" y="540"/>
                  <a:pt x="1493" y="494"/>
                  <a:pt x="1493" y="437"/>
                </a:cubicBezTo>
                <a:cubicBezTo>
                  <a:pt x="1493" y="103"/>
                  <a:pt x="1493" y="103"/>
                  <a:pt x="1493" y="103"/>
                </a:cubicBezTo>
                <a:cubicBezTo>
                  <a:pt x="1493" y="46"/>
                  <a:pt x="1447" y="0"/>
                  <a:pt x="1390" y="0"/>
                </a:cubicBezTo>
                <a:cubicBezTo>
                  <a:pt x="902" y="0"/>
                  <a:pt x="902" y="0"/>
                  <a:pt x="902" y="0"/>
                </a:cubicBezTo>
                <a:cubicBezTo>
                  <a:pt x="845" y="0"/>
                  <a:pt x="799" y="46"/>
                  <a:pt x="799" y="103"/>
                </a:cubicBezTo>
                <a:cubicBezTo>
                  <a:pt x="799" y="437"/>
                  <a:pt x="799" y="437"/>
                  <a:pt x="799" y="437"/>
                </a:cubicBezTo>
                <a:cubicBezTo>
                  <a:pt x="799" y="494"/>
                  <a:pt x="845" y="540"/>
                  <a:pt x="902" y="540"/>
                </a:cubicBezTo>
                <a:close/>
                <a:moveTo>
                  <a:pt x="859" y="103"/>
                </a:moveTo>
                <a:cubicBezTo>
                  <a:pt x="859" y="79"/>
                  <a:pt x="878" y="60"/>
                  <a:pt x="902" y="60"/>
                </a:cubicBezTo>
                <a:cubicBezTo>
                  <a:pt x="1390" y="60"/>
                  <a:pt x="1390" y="60"/>
                  <a:pt x="1390" y="60"/>
                </a:cubicBezTo>
                <a:cubicBezTo>
                  <a:pt x="1413" y="60"/>
                  <a:pt x="1433" y="79"/>
                  <a:pt x="1433" y="103"/>
                </a:cubicBezTo>
                <a:cubicBezTo>
                  <a:pt x="1433" y="437"/>
                  <a:pt x="1433" y="437"/>
                  <a:pt x="1433" y="437"/>
                </a:cubicBezTo>
                <a:cubicBezTo>
                  <a:pt x="1433" y="461"/>
                  <a:pt x="1413" y="480"/>
                  <a:pt x="1390" y="480"/>
                </a:cubicBezTo>
                <a:cubicBezTo>
                  <a:pt x="902" y="480"/>
                  <a:pt x="902" y="480"/>
                  <a:pt x="902" y="480"/>
                </a:cubicBezTo>
                <a:cubicBezTo>
                  <a:pt x="878" y="480"/>
                  <a:pt x="859" y="461"/>
                  <a:pt x="859" y="437"/>
                </a:cubicBezTo>
                <a:lnTo>
                  <a:pt x="859" y="103"/>
                </a:lnTo>
                <a:close/>
                <a:moveTo>
                  <a:pt x="678" y="824"/>
                </a:moveTo>
                <a:cubicBezTo>
                  <a:pt x="1614" y="824"/>
                  <a:pt x="1614" y="824"/>
                  <a:pt x="1614" y="824"/>
                </a:cubicBezTo>
                <a:cubicBezTo>
                  <a:pt x="1628" y="824"/>
                  <a:pt x="1640" y="812"/>
                  <a:pt x="1640" y="798"/>
                </a:cubicBezTo>
                <a:cubicBezTo>
                  <a:pt x="1640" y="786"/>
                  <a:pt x="1640" y="786"/>
                  <a:pt x="1640" y="786"/>
                </a:cubicBezTo>
                <a:cubicBezTo>
                  <a:pt x="1640" y="772"/>
                  <a:pt x="1632" y="752"/>
                  <a:pt x="1623" y="741"/>
                </a:cubicBezTo>
                <a:cubicBezTo>
                  <a:pt x="1499" y="596"/>
                  <a:pt x="1499" y="596"/>
                  <a:pt x="1499" y="596"/>
                </a:cubicBezTo>
                <a:cubicBezTo>
                  <a:pt x="1490" y="585"/>
                  <a:pt x="1471" y="576"/>
                  <a:pt x="1457" y="576"/>
                </a:cubicBezTo>
                <a:cubicBezTo>
                  <a:pt x="835" y="576"/>
                  <a:pt x="835" y="576"/>
                  <a:pt x="835" y="576"/>
                </a:cubicBezTo>
                <a:cubicBezTo>
                  <a:pt x="821" y="576"/>
                  <a:pt x="802" y="585"/>
                  <a:pt x="792" y="596"/>
                </a:cubicBezTo>
                <a:cubicBezTo>
                  <a:pt x="669" y="741"/>
                  <a:pt x="669" y="741"/>
                  <a:pt x="669" y="741"/>
                </a:cubicBezTo>
                <a:cubicBezTo>
                  <a:pt x="659" y="752"/>
                  <a:pt x="652" y="772"/>
                  <a:pt x="652" y="786"/>
                </a:cubicBezTo>
                <a:cubicBezTo>
                  <a:pt x="652" y="798"/>
                  <a:pt x="652" y="798"/>
                  <a:pt x="652" y="798"/>
                </a:cubicBezTo>
                <a:cubicBezTo>
                  <a:pt x="652" y="812"/>
                  <a:pt x="664" y="824"/>
                  <a:pt x="678" y="824"/>
                </a:cubicBezTo>
                <a:close/>
                <a:moveTo>
                  <a:pt x="1450" y="1476"/>
                </a:moveTo>
                <a:cubicBezTo>
                  <a:pt x="1450" y="1810"/>
                  <a:pt x="1450" y="1810"/>
                  <a:pt x="1450" y="1810"/>
                </a:cubicBezTo>
                <a:cubicBezTo>
                  <a:pt x="1450" y="1867"/>
                  <a:pt x="1497" y="1913"/>
                  <a:pt x="1554" y="1913"/>
                </a:cubicBezTo>
                <a:cubicBezTo>
                  <a:pt x="2041" y="1913"/>
                  <a:pt x="2041" y="1913"/>
                  <a:pt x="2041" y="1913"/>
                </a:cubicBezTo>
                <a:cubicBezTo>
                  <a:pt x="2098" y="1913"/>
                  <a:pt x="2144" y="1867"/>
                  <a:pt x="2144" y="1810"/>
                </a:cubicBezTo>
                <a:cubicBezTo>
                  <a:pt x="2144" y="1476"/>
                  <a:pt x="2144" y="1476"/>
                  <a:pt x="2144" y="1476"/>
                </a:cubicBezTo>
                <a:cubicBezTo>
                  <a:pt x="2144" y="1419"/>
                  <a:pt x="2098" y="1373"/>
                  <a:pt x="2041" y="1373"/>
                </a:cubicBezTo>
                <a:cubicBezTo>
                  <a:pt x="1554" y="1373"/>
                  <a:pt x="1554" y="1373"/>
                  <a:pt x="1554" y="1373"/>
                </a:cubicBezTo>
                <a:cubicBezTo>
                  <a:pt x="1497" y="1373"/>
                  <a:pt x="1450" y="1419"/>
                  <a:pt x="1450" y="1476"/>
                </a:cubicBezTo>
                <a:close/>
                <a:moveTo>
                  <a:pt x="2084" y="1476"/>
                </a:moveTo>
                <a:cubicBezTo>
                  <a:pt x="2084" y="1810"/>
                  <a:pt x="2084" y="1810"/>
                  <a:pt x="2084" y="1810"/>
                </a:cubicBezTo>
                <a:cubicBezTo>
                  <a:pt x="2084" y="1834"/>
                  <a:pt x="2065" y="1853"/>
                  <a:pt x="2041" y="1853"/>
                </a:cubicBezTo>
                <a:cubicBezTo>
                  <a:pt x="1554" y="1853"/>
                  <a:pt x="1554" y="1853"/>
                  <a:pt x="1554" y="1853"/>
                </a:cubicBezTo>
                <a:cubicBezTo>
                  <a:pt x="1530" y="1853"/>
                  <a:pt x="1511" y="1834"/>
                  <a:pt x="1511" y="1810"/>
                </a:cubicBezTo>
                <a:cubicBezTo>
                  <a:pt x="1511" y="1476"/>
                  <a:pt x="1511" y="1476"/>
                  <a:pt x="1511" y="1476"/>
                </a:cubicBezTo>
                <a:cubicBezTo>
                  <a:pt x="1511" y="1452"/>
                  <a:pt x="1530" y="1433"/>
                  <a:pt x="1554" y="1433"/>
                </a:cubicBezTo>
                <a:cubicBezTo>
                  <a:pt x="2041" y="1433"/>
                  <a:pt x="2041" y="1433"/>
                  <a:pt x="2041" y="1433"/>
                </a:cubicBezTo>
                <a:cubicBezTo>
                  <a:pt x="2065" y="1433"/>
                  <a:pt x="2084" y="1452"/>
                  <a:pt x="2084" y="1476"/>
                </a:cubicBezTo>
                <a:close/>
                <a:moveTo>
                  <a:pt x="2275" y="2114"/>
                </a:moveTo>
                <a:cubicBezTo>
                  <a:pt x="2151" y="1969"/>
                  <a:pt x="2151" y="1969"/>
                  <a:pt x="2151" y="1969"/>
                </a:cubicBezTo>
                <a:cubicBezTo>
                  <a:pt x="2142" y="1958"/>
                  <a:pt x="2123" y="1949"/>
                  <a:pt x="2108" y="1949"/>
                </a:cubicBezTo>
                <a:cubicBezTo>
                  <a:pt x="1486" y="1949"/>
                  <a:pt x="1486" y="1949"/>
                  <a:pt x="1486" y="1949"/>
                </a:cubicBezTo>
                <a:cubicBezTo>
                  <a:pt x="1472" y="1949"/>
                  <a:pt x="1453" y="1958"/>
                  <a:pt x="1444" y="1969"/>
                </a:cubicBezTo>
                <a:cubicBezTo>
                  <a:pt x="1320" y="2114"/>
                  <a:pt x="1320" y="2114"/>
                  <a:pt x="1320" y="2114"/>
                </a:cubicBezTo>
                <a:cubicBezTo>
                  <a:pt x="1311" y="2125"/>
                  <a:pt x="1304" y="2145"/>
                  <a:pt x="1304" y="2159"/>
                </a:cubicBezTo>
                <a:cubicBezTo>
                  <a:pt x="1304" y="2171"/>
                  <a:pt x="1304" y="2171"/>
                  <a:pt x="1304" y="2171"/>
                </a:cubicBezTo>
                <a:cubicBezTo>
                  <a:pt x="1304" y="2185"/>
                  <a:pt x="1315" y="2197"/>
                  <a:pt x="1329" y="2197"/>
                </a:cubicBezTo>
                <a:cubicBezTo>
                  <a:pt x="2265" y="2197"/>
                  <a:pt x="2265" y="2197"/>
                  <a:pt x="2265" y="2197"/>
                </a:cubicBezTo>
                <a:cubicBezTo>
                  <a:pt x="2280" y="2197"/>
                  <a:pt x="2291" y="2185"/>
                  <a:pt x="2291" y="2171"/>
                </a:cubicBezTo>
                <a:cubicBezTo>
                  <a:pt x="2291" y="2159"/>
                  <a:pt x="2291" y="2159"/>
                  <a:pt x="2291" y="2159"/>
                </a:cubicBezTo>
                <a:cubicBezTo>
                  <a:pt x="2291" y="2145"/>
                  <a:pt x="2284" y="2125"/>
                  <a:pt x="2275" y="2114"/>
                </a:cubicBezTo>
                <a:close/>
                <a:moveTo>
                  <a:pt x="250" y="1913"/>
                </a:moveTo>
                <a:cubicBezTo>
                  <a:pt x="738" y="1913"/>
                  <a:pt x="738" y="1913"/>
                  <a:pt x="738" y="1913"/>
                </a:cubicBezTo>
                <a:cubicBezTo>
                  <a:pt x="795" y="1913"/>
                  <a:pt x="841" y="1867"/>
                  <a:pt x="841" y="1810"/>
                </a:cubicBezTo>
                <a:cubicBezTo>
                  <a:pt x="841" y="1476"/>
                  <a:pt x="841" y="1476"/>
                  <a:pt x="841" y="1476"/>
                </a:cubicBezTo>
                <a:cubicBezTo>
                  <a:pt x="841" y="1419"/>
                  <a:pt x="795" y="1373"/>
                  <a:pt x="738" y="1373"/>
                </a:cubicBezTo>
                <a:cubicBezTo>
                  <a:pt x="250" y="1373"/>
                  <a:pt x="250" y="1373"/>
                  <a:pt x="250" y="1373"/>
                </a:cubicBezTo>
                <a:cubicBezTo>
                  <a:pt x="193" y="1373"/>
                  <a:pt x="147" y="1419"/>
                  <a:pt x="147" y="1476"/>
                </a:cubicBezTo>
                <a:cubicBezTo>
                  <a:pt x="147" y="1810"/>
                  <a:pt x="147" y="1810"/>
                  <a:pt x="147" y="1810"/>
                </a:cubicBezTo>
                <a:cubicBezTo>
                  <a:pt x="147" y="1867"/>
                  <a:pt x="193" y="1913"/>
                  <a:pt x="250" y="1913"/>
                </a:cubicBezTo>
                <a:close/>
                <a:moveTo>
                  <a:pt x="207" y="1476"/>
                </a:moveTo>
                <a:cubicBezTo>
                  <a:pt x="207" y="1452"/>
                  <a:pt x="227" y="1433"/>
                  <a:pt x="250" y="1433"/>
                </a:cubicBezTo>
                <a:cubicBezTo>
                  <a:pt x="738" y="1433"/>
                  <a:pt x="738" y="1433"/>
                  <a:pt x="738" y="1433"/>
                </a:cubicBezTo>
                <a:cubicBezTo>
                  <a:pt x="762" y="1433"/>
                  <a:pt x="781" y="1452"/>
                  <a:pt x="781" y="1476"/>
                </a:cubicBezTo>
                <a:cubicBezTo>
                  <a:pt x="781" y="1810"/>
                  <a:pt x="781" y="1810"/>
                  <a:pt x="781" y="1810"/>
                </a:cubicBezTo>
                <a:cubicBezTo>
                  <a:pt x="781" y="1834"/>
                  <a:pt x="762" y="1853"/>
                  <a:pt x="738" y="1853"/>
                </a:cubicBezTo>
                <a:cubicBezTo>
                  <a:pt x="250" y="1853"/>
                  <a:pt x="250" y="1853"/>
                  <a:pt x="250" y="1853"/>
                </a:cubicBezTo>
                <a:cubicBezTo>
                  <a:pt x="227" y="1853"/>
                  <a:pt x="207" y="1834"/>
                  <a:pt x="207" y="1810"/>
                </a:cubicBezTo>
                <a:lnTo>
                  <a:pt x="207" y="1476"/>
                </a:lnTo>
                <a:close/>
                <a:moveTo>
                  <a:pt x="848" y="1969"/>
                </a:moveTo>
                <a:cubicBezTo>
                  <a:pt x="838" y="1958"/>
                  <a:pt x="819" y="1949"/>
                  <a:pt x="805" y="1949"/>
                </a:cubicBezTo>
                <a:cubicBezTo>
                  <a:pt x="183" y="1949"/>
                  <a:pt x="183" y="1949"/>
                  <a:pt x="183" y="1949"/>
                </a:cubicBezTo>
                <a:cubicBezTo>
                  <a:pt x="169" y="1949"/>
                  <a:pt x="150" y="1958"/>
                  <a:pt x="141" y="1969"/>
                </a:cubicBezTo>
                <a:cubicBezTo>
                  <a:pt x="17" y="2114"/>
                  <a:pt x="17" y="2114"/>
                  <a:pt x="17" y="2114"/>
                </a:cubicBezTo>
                <a:cubicBezTo>
                  <a:pt x="8" y="2125"/>
                  <a:pt x="0" y="2145"/>
                  <a:pt x="0" y="2159"/>
                </a:cubicBezTo>
                <a:cubicBezTo>
                  <a:pt x="0" y="2171"/>
                  <a:pt x="0" y="2171"/>
                  <a:pt x="0" y="2171"/>
                </a:cubicBezTo>
                <a:cubicBezTo>
                  <a:pt x="0" y="2185"/>
                  <a:pt x="12" y="2197"/>
                  <a:pt x="26" y="2197"/>
                </a:cubicBezTo>
                <a:cubicBezTo>
                  <a:pt x="962" y="2197"/>
                  <a:pt x="962" y="2197"/>
                  <a:pt x="962" y="2197"/>
                </a:cubicBezTo>
                <a:cubicBezTo>
                  <a:pt x="977" y="2197"/>
                  <a:pt x="988" y="2185"/>
                  <a:pt x="988" y="2171"/>
                </a:cubicBezTo>
                <a:cubicBezTo>
                  <a:pt x="988" y="2159"/>
                  <a:pt x="988" y="2159"/>
                  <a:pt x="988" y="2159"/>
                </a:cubicBezTo>
                <a:cubicBezTo>
                  <a:pt x="988" y="2145"/>
                  <a:pt x="981" y="2125"/>
                  <a:pt x="971" y="2114"/>
                </a:cubicBezTo>
                <a:lnTo>
                  <a:pt x="848" y="1969"/>
                </a:lnTo>
                <a:close/>
                <a:moveTo>
                  <a:pt x="971" y="1659"/>
                </a:moveTo>
                <a:cubicBezTo>
                  <a:pt x="1088" y="1659"/>
                  <a:pt x="1088" y="1659"/>
                  <a:pt x="1088" y="1659"/>
                </a:cubicBezTo>
                <a:cubicBezTo>
                  <a:pt x="1088" y="1610"/>
                  <a:pt x="1088" y="1610"/>
                  <a:pt x="1088" y="1610"/>
                </a:cubicBezTo>
                <a:cubicBezTo>
                  <a:pt x="971" y="1610"/>
                  <a:pt x="971" y="1610"/>
                  <a:pt x="971" y="1610"/>
                </a:cubicBezTo>
                <a:lnTo>
                  <a:pt x="971" y="1659"/>
                </a:lnTo>
                <a:close/>
                <a:moveTo>
                  <a:pt x="1320" y="1610"/>
                </a:moveTo>
                <a:cubicBezTo>
                  <a:pt x="1204" y="1610"/>
                  <a:pt x="1204" y="1610"/>
                  <a:pt x="1204" y="1610"/>
                </a:cubicBezTo>
                <a:cubicBezTo>
                  <a:pt x="1204" y="1659"/>
                  <a:pt x="1204" y="1659"/>
                  <a:pt x="1204" y="1659"/>
                </a:cubicBezTo>
                <a:cubicBezTo>
                  <a:pt x="1320" y="1659"/>
                  <a:pt x="1320" y="1659"/>
                  <a:pt x="1320" y="1659"/>
                </a:cubicBezTo>
                <a:lnTo>
                  <a:pt x="1320" y="1610"/>
                </a:lnTo>
                <a:close/>
              </a:path>
            </a:pathLst>
          </a:custGeom>
          <a:solidFill>
            <a:srgbClr val="007AB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1600" dirty="0">
              <a:solidFill>
                <a:prstClr val="black"/>
              </a:solidFill>
              <a:latin typeface="NotesStyle-Regular" pitchFamily="50" charset="0"/>
            </a:endParaRPr>
          </a:p>
        </p:txBody>
      </p:sp>
      <p:grpSp>
        <p:nvGrpSpPr>
          <p:cNvPr id="228" name="Group 227"/>
          <p:cNvGrpSpPr/>
          <p:nvPr/>
        </p:nvGrpSpPr>
        <p:grpSpPr>
          <a:xfrm>
            <a:off x="3096462" y="382490"/>
            <a:ext cx="792000" cy="792000"/>
            <a:chOff x="9684568" y="-310219"/>
            <a:chExt cx="792000" cy="792000"/>
          </a:xfrm>
        </p:grpSpPr>
        <p:sp>
          <p:nvSpPr>
            <p:cNvPr id="229" name="Rounded Rectangle 6"/>
            <p:cNvSpPr/>
            <p:nvPr/>
          </p:nvSpPr>
          <p:spPr bwMode="black">
            <a:xfrm>
              <a:off x="9901072" y="-168719"/>
              <a:ext cx="358992" cy="509000"/>
            </a:xfrm>
            <a:custGeom>
              <a:avLst/>
              <a:gdLst/>
              <a:ahLst/>
              <a:cxnLst/>
              <a:rect l="l" t="t" r="r" b="b"/>
              <a:pathLst>
                <a:path w="3286897" h="4658497">
                  <a:moveTo>
                    <a:pt x="1600200" y="4382531"/>
                  </a:moveTo>
                  <a:cubicBezTo>
                    <a:pt x="1600200" y="4367744"/>
                    <a:pt x="1588213" y="4355757"/>
                    <a:pt x="1573426" y="4355757"/>
                  </a:cubicBezTo>
                  <a:lnTo>
                    <a:pt x="811428" y="4355757"/>
                  </a:lnTo>
                  <a:cubicBezTo>
                    <a:pt x="796641" y="4355757"/>
                    <a:pt x="784654" y="4367744"/>
                    <a:pt x="784654" y="4382531"/>
                  </a:cubicBezTo>
                  <a:lnTo>
                    <a:pt x="784654" y="4489621"/>
                  </a:lnTo>
                  <a:cubicBezTo>
                    <a:pt x="784654" y="4504408"/>
                    <a:pt x="796641" y="4516395"/>
                    <a:pt x="811428" y="4516395"/>
                  </a:cubicBezTo>
                  <a:lnTo>
                    <a:pt x="1573426" y="4516395"/>
                  </a:lnTo>
                  <a:cubicBezTo>
                    <a:pt x="1588213" y="4516395"/>
                    <a:pt x="1600200" y="4504408"/>
                    <a:pt x="1600200" y="4489621"/>
                  </a:cubicBezTo>
                  <a:close/>
                  <a:moveTo>
                    <a:pt x="2502243" y="4382531"/>
                  </a:moveTo>
                  <a:cubicBezTo>
                    <a:pt x="2502243" y="4367744"/>
                    <a:pt x="2490256" y="4355757"/>
                    <a:pt x="2475469" y="4355757"/>
                  </a:cubicBezTo>
                  <a:lnTo>
                    <a:pt x="1713471" y="4355757"/>
                  </a:lnTo>
                  <a:cubicBezTo>
                    <a:pt x="1698684" y="4355757"/>
                    <a:pt x="1686697" y="4367744"/>
                    <a:pt x="1686697" y="4382531"/>
                  </a:cubicBezTo>
                  <a:lnTo>
                    <a:pt x="1686697" y="4489621"/>
                  </a:lnTo>
                  <a:cubicBezTo>
                    <a:pt x="1686697" y="4504408"/>
                    <a:pt x="1698684" y="4516395"/>
                    <a:pt x="1713471" y="4516395"/>
                  </a:cubicBezTo>
                  <a:lnTo>
                    <a:pt x="2475469" y="4516395"/>
                  </a:lnTo>
                  <a:cubicBezTo>
                    <a:pt x="2490256" y="4516395"/>
                    <a:pt x="2502243" y="4504408"/>
                    <a:pt x="2502243" y="4489621"/>
                  </a:cubicBezTo>
                  <a:close/>
                  <a:moveTo>
                    <a:pt x="3021231" y="480896"/>
                  </a:moveTo>
                  <a:cubicBezTo>
                    <a:pt x="3021231" y="375524"/>
                    <a:pt x="2935811" y="290104"/>
                    <a:pt x="2830439" y="290104"/>
                  </a:cubicBezTo>
                  <a:lnTo>
                    <a:pt x="444108" y="290104"/>
                  </a:lnTo>
                  <a:cubicBezTo>
                    <a:pt x="338736" y="290104"/>
                    <a:pt x="253316" y="375524"/>
                    <a:pt x="253316" y="480896"/>
                  </a:cubicBezTo>
                  <a:lnTo>
                    <a:pt x="253316" y="4029043"/>
                  </a:lnTo>
                  <a:cubicBezTo>
                    <a:pt x="253316" y="4134415"/>
                    <a:pt x="338736" y="4219835"/>
                    <a:pt x="444108" y="4219835"/>
                  </a:cubicBezTo>
                  <a:lnTo>
                    <a:pt x="2830439" y="4219835"/>
                  </a:lnTo>
                  <a:cubicBezTo>
                    <a:pt x="2935811" y="4219835"/>
                    <a:pt x="3021231" y="4134415"/>
                    <a:pt x="3021231" y="4029043"/>
                  </a:cubicBezTo>
                  <a:close/>
                  <a:moveTo>
                    <a:pt x="3286897" y="226566"/>
                  </a:moveTo>
                  <a:lnTo>
                    <a:pt x="3286897" y="4431931"/>
                  </a:lnTo>
                  <a:cubicBezTo>
                    <a:pt x="3286897" y="4557060"/>
                    <a:pt x="3185460" y="4658497"/>
                    <a:pt x="3060331" y="4658497"/>
                  </a:cubicBezTo>
                  <a:lnTo>
                    <a:pt x="226566" y="4658497"/>
                  </a:lnTo>
                  <a:cubicBezTo>
                    <a:pt x="101437" y="4658497"/>
                    <a:pt x="0" y="4557060"/>
                    <a:pt x="0" y="4431931"/>
                  </a:cubicBezTo>
                  <a:lnTo>
                    <a:pt x="0" y="226566"/>
                  </a:lnTo>
                  <a:cubicBezTo>
                    <a:pt x="0" y="101437"/>
                    <a:pt x="101437" y="0"/>
                    <a:pt x="226566" y="0"/>
                  </a:cubicBezTo>
                  <a:lnTo>
                    <a:pt x="3060331" y="0"/>
                  </a:lnTo>
                  <a:cubicBezTo>
                    <a:pt x="3185460" y="0"/>
                    <a:pt x="3286897" y="101437"/>
                    <a:pt x="3286897" y="22656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111921" tIns="55960" rIns="111921" bIns="55960" numCol="1" rtlCol="0" anchor="ctr" anchorCtr="0" compatLnSpc="1">
              <a:prstTxWarp prst="textNoShape">
                <a:avLst/>
              </a:prstTxWarp>
            </a:bodyPr>
            <a:lstStyle/>
            <a:p>
              <a:pPr defTabSz="740536"/>
              <a:endParaRPr lang="en-US" sz="1600" spc="-122" dirty="0">
                <a:solidFill>
                  <a:prstClr val="black">
                    <a:lumMod val="50000"/>
                  </a:prstClr>
                </a:solidFill>
                <a:latin typeface="+mj-lt"/>
              </a:endParaRP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9684568" y="-31021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3808977" y="402966"/>
            <a:ext cx="792000" cy="792000"/>
            <a:chOff x="9563690" y="725399"/>
            <a:chExt cx="792000" cy="792000"/>
          </a:xfrm>
        </p:grpSpPr>
        <p:sp>
          <p:nvSpPr>
            <p:cNvPr id="232" name="Freeform 89"/>
            <p:cNvSpPr>
              <a:spLocks noEditPoints="1"/>
            </p:cNvSpPr>
            <p:nvPr/>
          </p:nvSpPr>
          <p:spPr bwMode="black">
            <a:xfrm>
              <a:off x="9627031" y="889757"/>
              <a:ext cx="665317" cy="463284"/>
            </a:xfrm>
            <a:custGeom>
              <a:avLst/>
              <a:gdLst>
                <a:gd name="T0" fmla="*/ 350 w 3153"/>
                <a:gd name="T1" fmla="*/ 935 h 2031"/>
                <a:gd name="T2" fmla="*/ 788 w 3153"/>
                <a:gd name="T3" fmla="*/ 0 h 2031"/>
                <a:gd name="T4" fmla="*/ 2918 w 3153"/>
                <a:gd name="T5" fmla="*/ 1882 h 2031"/>
                <a:gd name="T6" fmla="*/ 2403 w 3153"/>
                <a:gd name="T7" fmla="*/ 1493 h 2031"/>
                <a:gd name="T8" fmla="*/ 2244 w 3153"/>
                <a:gd name="T9" fmla="*/ 1424 h 2031"/>
                <a:gd name="T10" fmla="*/ 2391 w 3153"/>
                <a:gd name="T11" fmla="*/ 1458 h 2031"/>
                <a:gd name="T12" fmla="*/ 1437 w 3153"/>
                <a:gd name="T13" fmla="*/ 1486 h 2031"/>
                <a:gd name="T14" fmla="*/ 1460 w 3153"/>
                <a:gd name="T15" fmla="*/ 1427 h 2031"/>
                <a:gd name="T16" fmla="*/ 1588 w 3153"/>
                <a:gd name="T17" fmla="*/ 1440 h 2031"/>
                <a:gd name="T18" fmla="*/ 1563 w 3153"/>
                <a:gd name="T19" fmla="*/ 1636 h 2031"/>
                <a:gd name="T20" fmla="*/ 1421 w 3153"/>
                <a:gd name="T21" fmla="*/ 1612 h 2031"/>
                <a:gd name="T22" fmla="*/ 1170 w 3153"/>
                <a:gd name="T23" fmla="*/ 1604 h 2031"/>
                <a:gd name="T24" fmla="*/ 1340 w 3153"/>
                <a:gd name="T25" fmla="*/ 1589 h 2031"/>
                <a:gd name="T26" fmla="*/ 1175 w 3153"/>
                <a:gd name="T27" fmla="*/ 1631 h 2031"/>
                <a:gd name="T28" fmla="*/ 1228 w 3153"/>
                <a:gd name="T29" fmla="*/ 1433 h 2031"/>
                <a:gd name="T30" fmla="*/ 1366 w 3153"/>
                <a:gd name="T31" fmla="*/ 1441 h 2031"/>
                <a:gd name="T32" fmla="*/ 916 w 3153"/>
                <a:gd name="T33" fmla="*/ 1607 h 2031"/>
                <a:gd name="T34" fmla="*/ 1099 w 3153"/>
                <a:gd name="T35" fmla="*/ 1564 h 2031"/>
                <a:gd name="T36" fmla="*/ 911 w 3153"/>
                <a:gd name="T37" fmla="*/ 1624 h 2031"/>
                <a:gd name="T38" fmla="*/ 832 w 3153"/>
                <a:gd name="T39" fmla="*/ 1503 h 2031"/>
                <a:gd name="T40" fmla="*/ 922 w 3153"/>
                <a:gd name="T41" fmla="*/ 1437 h 2031"/>
                <a:gd name="T42" fmla="*/ 999 w 3153"/>
                <a:gd name="T43" fmla="*/ 1440 h 2031"/>
                <a:gd name="T44" fmla="*/ 1143 w 3153"/>
                <a:gd name="T45" fmla="*/ 1436 h 2031"/>
                <a:gd name="T46" fmla="*/ 1113 w 3153"/>
                <a:gd name="T47" fmla="*/ 1496 h 2031"/>
                <a:gd name="T48" fmla="*/ 692 w 3153"/>
                <a:gd name="T49" fmla="*/ 1804 h 2031"/>
                <a:gd name="T50" fmla="*/ 574 w 3153"/>
                <a:gd name="T51" fmla="*/ 1739 h 2031"/>
                <a:gd name="T52" fmla="*/ 656 w 3153"/>
                <a:gd name="T53" fmla="*/ 1687 h 2031"/>
                <a:gd name="T54" fmla="*/ 823 w 3153"/>
                <a:gd name="T55" fmla="*/ 1619 h 2031"/>
                <a:gd name="T56" fmla="*/ 669 w 3153"/>
                <a:gd name="T57" fmla="*/ 1638 h 2031"/>
                <a:gd name="T58" fmla="*/ 713 w 3153"/>
                <a:gd name="T59" fmla="*/ 1551 h 2031"/>
                <a:gd name="T60" fmla="*/ 828 w 3153"/>
                <a:gd name="T61" fmla="*/ 1613 h 2031"/>
                <a:gd name="T62" fmla="*/ 1570 w 3153"/>
                <a:gd name="T63" fmla="*/ 1798 h 2031"/>
                <a:gd name="T64" fmla="*/ 850 w 3153"/>
                <a:gd name="T65" fmla="*/ 1803 h 2031"/>
                <a:gd name="T66" fmla="*/ 882 w 3153"/>
                <a:gd name="T67" fmla="*/ 1698 h 2031"/>
                <a:gd name="T68" fmla="*/ 1563 w 3153"/>
                <a:gd name="T69" fmla="*/ 1687 h 2031"/>
                <a:gd name="T70" fmla="*/ 1670 w 3153"/>
                <a:gd name="T71" fmla="*/ 1489 h 2031"/>
                <a:gd name="T72" fmla="*/ 1693 w 3153"/>
                <a:gd name="T73" fmla="*/ 1424 h 2031"/>
                <a:gd name="T74" fmla="*/ 1793 w 3153"/>
                <a:gd name="T75" fmla="*/ 1500 h 2031"/>
                <a:gd name="T76" fmla="*/ 1675 w 3153"/>
                <a:gd name="T77" fmla="*/ 1612 h 2031"/>
                <a:gd name="T78" fmla="*/ 1843 w 3153"/>
                <a:gd name="T79" fmla="*/ 1621 h 2031"/>
                <a:gd name="T80" fmla="*/ 1804 w 3153"/>
                <a:gd name="T81" fmla="*/ 1637 h 2031"/>
                <a:gd name="T82" fmla="*/ 1866 w 3153"/>
                <a:gd name="T83" fmla="*/ 1793 h 2031"/>
                <a:gd name="T84" fmla="*/ 1690 w 3153"/>
                <a:gd name="T85" fmla="*/ 1778 h 2031"/>
                <a:gd name="T86" fmla="*/ 1686 w 3153"/>
                <a:gd name="T87" fmla="*/ 1702 h 2031"/>
                <a:gd name="T88" fmla="*/ 1724 w 3153"/>
                <a:gd name="T89" fmla="*/ 1685 h 2031"/>
                <a:gd name="T90" fmla="*/ 1843 w 3153"/>
                <a:gd name="T91" fmla="*/ 1691 h 2031"/>
                <a:gd name="T92" fmla="*/ 2009 w 3153"/>
                <a:gd name="T93" fmla="*/ 1439 h 2031"/>
                <a:gd name="T94" fmla="*/ 2140 w 3153"/>
                <a:gd name="T95" fmla="*/ 1428 h 2031"/>
                <a:gd name="T96" fmla="*/ 2161 w 3153"/>
                <a:gd name="T97" fmla="*/ 1499 h 2031"/>
                <a:gd name="T98" fmla="*/ 2064 w 3153"/>
                <a:gd name="T99" fmla="*/ 1588 h 2031"/>
                <a:gd name="T100" fmla="*/ 2218 w 3153"/>
                <a:gd name="T101" fmla="*/ 1565 h 2031"/>
                <a:gd name="T102" fmla="*/ 2225 w 3153"/>
                <a:gd name="T103" fmla="*/ 1634 h 2031"/>
                <a:gd name="T104" fmla="*/ 2319 w 3153"/>
                <a:gd name="T105" fmla="*/ 1790 h 2031"/>
                <a:gd name="T106" fmla="*/ 2131 w 3153"/>
                <a:gd name="T107" fmla="*/ 1770 h 2031"/>
                <a:gd name="T108" fmla="*/ 2145 w 3153"/>
                <a:gd name="T109" fmla="*/ 1683 h 2031"/>
                <a:gd name="T110" fmla="*/ 2340 w 3153"/>
                <a:gd name="T111" fmla="*/ 1624 h 2031"/>
                <a:gd name="T112" fmla="*/ 2463 w 3153"/>
                <a:gd name="T113" fmla="*/ 1564 h 2031"/>
                <a:gd name="T114" fmla="*/ 2434 w 3153"/>
                <a:gd name="T115" fmla="*/ 1636 h 2031"/>
                <a:gd name="T116" fmla="*/ 2415 w 3153"/>
                <a:gd name="T117" fmla="*/ 1769 h 2031"/>
                <a:gd name="T118" fmla="*/ 2500 w 3153"/>
                <a:gd name="T119" fmla="*/ 1683 h 2031"/>
                <a:gd name="T120" fmla="*/ 2605 w 3153"/>
                <a:gd name="T121" fmla="*/ 1791 h 2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53" h="2031">
                  <a:moveTo>
                    <a:pt x="448" y="830"/>
                  </a:moveTo>
                  <a:cubicBezTo>
                    <a:pt x="368" y="755"/>
                    <a:pt x="368" y="615"/>
                    <a:pt x="448" y="539"/>
                  </a:cubicBezTo>
                  <a:cubicBezTo>
                    <a:pt x="393" y="549"/>
                    <a:pt x="339" y="610"/>
                    <a:pt x="339" y="685"/>
                  </a:cubicBezTo>
                  <a:cubicBezTo>
                    <a:pt x="339" y="759"/>
                    <a:pt x="393" y="820"/>
                    <a:pt x="448" y="830"/>
                  </a:cubicBezTo>
                  <a:close/>
                  <a:moveTo>
                    <a:pt x="2814" y="685"/>
                  </a:moveTo>
                  <a:cubicBezTo>
                    <a:pt x="2815" y="610"/>
                    <a:pt x="2761" y="549"/>
                    <a:pt x="2706" y="539"/>
                  </a:cubicBezTo>
                  <a:cubicBezTo>
                    <a:pt x="2786" y="615"/>
                    <a:pt x="2786" y="755"/>
                    <a:pt x="2706" y="830"/>
                  </a:cubicBezTo>
                  <a:cubicBezTo>
                    <a:pt x="2761" y="820"/>
                    <a:pt x="2815" y="759"/>
                    <a:pt x="2814" y="685"/>
                  </a:cubicBezTo>
                  <a:close/>
                  <a:moveTo>
                    <a:pt x="2804" y="935"/>
                  </a:moveTo>
                  <a:cubicBezTo>
                    <a:pt x="2886" y="904"/>
                    <a:pt x="2970" y="808"/>
                    <a:pt x="2969" y="685"/>
                  </a:cubicBezTo>
                  <a:cubicBezTo>
                    <a:pt x="2970" y="561"/>
                    <a:pt x="2886" y="465"/>
                    <a:pt x="2804" y="434"/>
                  </a:cubicBezTo>
                  <a:cubicBezTo>
                    <a:pt x="2871" y="501"/>
                    <a:pt x="2915" y="591"/>
                    <a:pt x="2914" y="685"/>
                  </a:cubicBezTo>
                  <a:cubicBezTo>
                    <a:pt x="2915" y="778"/>
                    <a:pt x="2871" y="868"/>
                    <a:pt x="2804" y="935"/>
                  </a:cubicBezTo>
                  <a:close/>
                  <a:moveTo>
                    <a:pt x="350" y="935"/>
                  </a:moveTo>
                  <a:cubicBezTo>
                    <a:pt x="282" y="868"/>
                    <a:pt x="239" y="778"/>
                    <a:pt x="239" y="685"/>
                  </a:cubicBezTo>
                  <a:cubicBezTo>
                    <a:pt x="239" y="591"/>
                    <a:pt x="282" y="501"/>
                    <a:pt x="350" y="434"/>
                  </a:cubicBezTo>
                  <a:cubicBezTo>
                    <a:pt x="267" y="465"/>
                    <a:pt x="183" y="561"/>
                    <a:pt x="184" y="685"/>
                  </a:cubicBezTo>
                  <a:cubicBezTo>
                    <a:pt x="183" y="808"/>
                    <a:pt x="267" y="904"/>
                    <a:pt x="350" y="935"/>
                  </a:cubicBezTo>
                  <a:close/>
                  <a:moveTo>
                    <a:pt x="2877" y="1804"/>
                  </a:moveTo>
                  <a:cubicBezTo>
                    <a:pt x="2844" y="1765"/>
                    <a:pt x="2811" y="1726"/>
                    <a:pt x="2778" y="1687"/>
                  </a:cubicBezTo>
                  <a:cubicBezTo>
                    <a:pt x="2705" y="1601"/>
                    <a:pt x="2633" y="1516"/>
                    <a:pt x="2560" y="1430"/>
                  </a:cubicBezTo>
                  <a:cubicBezTo>
                    <a:pt x="2557" y="1426"/>
                    <a:pt x="2553" y="1421"/>
                    <a:pt x="2549" y="1417"/>
                  </a:cubicBezTo>
                  <a:cubicBezTo>
                    <a:pt x="2534" y="1399"/>
                    <a:pt x="2511" y="1389"/>
                    <a:pt x="2489" y="1381"/>
                  </a:cubicBezTo>
                  <a:cubicBezTo>
                    <a:pt x="2466" y="1373"/>
                    <a:pt x="2441" y="1368"/>
                    <a:pt x="2416" y="1367"/>
                  </a:cubicBezTo>
                  <a:cubicBezTo>
                    <a:pt x="2503" y="1344"/>
                    <a:pt x="2567" y="1266"/>
                    <a:pt x="2567" y="1172"/>
                  </a:cubicBezTo>
                  <a:cubicBezTo>
                    <a:pt x="2567" y="202"/>
                    <a:pt x="2567" y="202"/>
                    <a:pt x="2567" y="202"/>
                  </a:cubicBezTo>
                  <a:cubicBezTo>
                    <a:pt x="2567" y="90"/>
                    <a:pt x="2476" y="0"/>
                    <a:pt x="2365" y="0"/>
                  </a:cubicBezTo>
                  <a:cubicBezTo>
                    <a:pt x="788" y="0"/>
                    <a:pt x="788" y="0"/>
                    <a:pt x="788" y="0"/>
                  </a:cubicBezTo>
                  <a:cubicBezTo>
                    <a:pt x="677" y="0"/>
                    <a:pt x="586" y="90"/>
                    <a:pt x="586" y="202"/>
                  </a:cubicBezTo>
                  <a:cubicBezTo>
                    <a:pt x="586" y="1172"/>
                    <a:pt x="586" y="1172"/>
                    <a:pt x="586" y="1172"/>
                  </a:cubicBezTo>
                  <a:cubicBezTo>
                    <a:pt x="586" y="1266"/>
                    <a:pt x="651" y="1345"/>
                    <a:pt x="738" y="1368"/>
                  </a:cubicBezTo>
                  <a:cubicBezTo>
                    <a:pt x="689" y="1370"/>
                    <a:pt x="633" y="1388"/>
                    <a:pt x="600" y="1426"/>
                  </a:cubicBezTo>
                  <a:cubicBezTo>
                    <a:pt x="575" y="1457"/>
                    <a:pt x="549" y="1487"/>
                    <a:pt x="524" y="1518"/>
                  </a:cubicBezTo>
                  <a:cubicBezTo>
                    <a:pt x="446" y="1610"/>
                    <a:pt x="368" y="1703"/>
                    <a:pt x="290" y="1796"/>
                  </a:cubicBezTo>
                  <a:cubicBezTo>
                    <a:pt x="271" y="1819"/>
                    <a:pt x="235" y="1852"/>
                    <a:pt x="235" y="1884"/>
                  </a:cubicBezTo>
                  <a:cubicBezTo>
                    <a:pt x="235" y="1971"/>
                    <a:pt x="235" y="1971"/>
                    <a:pt x="235" y="1971"/>
                  </a:cubicBezTo>
                  <a:cubicBezTo>
                    <a:pt x="236" y="1982"/>
                    <a:pt x="238" y="1993"/>
                    <a:pt x="244" y="2002"/>
                  </a:cubicBezTo>
                  <a:cubicBezTo>
                    <a:pt x="264" y="2030"/>
                    <a:pt x="304" y="2031"/>
                    <a:pt x="336" y="2031"/>
                  </a:cubicBezTo>
                  <a:cubicBezTo>
                    <a:pt x="380" y="2031"/>
                    <a:pt x="2688" y="2031"/>
                    <a:pt x="2758" y="2031"/>
                  </a:cubicBezTo>
                  <a:cubicBezTo>
                    <a:pt x="2792" y="2031"/>
                    <a:pt x="2831" y="2027"/>
                    <a:pt x="2865" y="2020"/>
                  </a:cubicBezTo>
                  <a:cubicBezTo>
                    <a:pt x="2888" y="2016"/>
                    <a:pt x="2915" y="2003"/>
                    <a:pt x="2918" y="1976"/>
                  </a:cubicBezTo>
                  <a:cubicBezTo>
                    <a:pt x="2918" y="1882"/>
                    <a:pt x="2918" y="1882"/>
                    <a:pt x="2918" y="1882"/>
                  </a:cubicBezTo>
                  <a:cubicBezTo>
                    <a:pt x="2921" y="1861"/>
                    <a:pt x="2909" y="1841"/>
                    <a:pt x="2896" y="1826"/>
                  </a:cubicBezTo>
                  <a:cubicBezTo>
                    <a:pt x="2889" y="1818"/>
                    <a:pt x="2883" y="1811"/>
                    <a:pt x="2877" y="1804"/>
                  </a:cubicBezTo>
                  <a:close/>
                  <a:moveTo>
                    <a:pt x="705" y="1159"/>
                  </a:moveTo>
                  <a:cubicBezTo>
                    <a:pt x="705" y="215"/>
                    <a:pt x="705" y="215"/>
                    <a:pt x="705" y="215"/>
                  </a:cubicBezTo>
                  <a:cubicBezTo>
                    <a:pt x="705" y="157"/>
                    <a:pt x="752" y="111"/>
                    <a:pt x="809" y="111"/>
                  </a:cubicBezTo>
                  <a:cubicBezTo>
                    <a:pt x="2344" y="111"/>
                    <a:pt x="2344" y="111"/>
                    <a:pt x="2344" y="111"/>
                  </a:cubicBezTo>
                  <a:cubicBezTo>
                    <a:pt x="2401" y="111"/>
                    <a:pt x="2448" y="157"/>
                    <a:pt x="2448" y="215"/>
                  </a:cubicBezTo>
                  <a:cubicBezTo>
                    <a:pt x="2448" y="1159"/>
                    <a:pt x="2448" y="1159"/>
                    <a:pt x="2448" y="1159"/>
                  </a:cubicBezTo>
                  <a:cubicBezTo>
                    <a:pt x="2448" y="1216"/>
                    <a:pt x="2401" y="1263"/>
                    <a:pt x="2344" y="1263"/>
                  </a:cubicBezTo>
                  <a:cubicBezTo>
                    <a:pt x="809" y="1263"/>
                    <a:pt x="809" y="1263"/>
                    <a:pt x="809" y="1263"/>
                  </a:cubicBezTo>
                  <a:cubicBezTo>
                    <a:pt x="752" y="1263"/>
                    <a:pt x="705" y="1216"/>
                    <a:pt x="705" y="1159"/>
                  </a:cubicBezTo>
                  <a:close/>
                  <a:moveTo>
                    <a:pt x="2407" y="1487"/>
                  </a:moveTo>
                  <a:cubicBezTo>
                    <a:pt x="2407" y="1489"/>
                    <a:pt x="2406" y="1491"/>
                    <a:pt x="2404" y="1493"/>
                  </a:cubicBezTo>
                  <a:cubicBezTo>
                    <a:pt x="2404" y="1493"/>
                    <a:pt x="2403" y="1493"/>
                    <a:pt x="2403" y="1493"/>
                  </a:cubicBezTo>
                  <a:cubicBezTo>
                    <a:pt x="2403" y="1493"/>
                    <a:pt x="2403" y="1493"/>
                    <a:pt x="2403" y="1493"/>
                  </a:cubicBezTo>
                  <a:cubicBezTo>
                    <a:pt x="2403" y="1494"/>
                    <a:pt x="2403" y="1494"/>
                    <a:pt x="2402" y="1494"/>
                  </a:cubicBezTo>
                  <a:cubicBezTo>
                    <a:pt x="2402" y="1494"/>
                    <a:pt x="2402" y="1494"/>
                    <a:pt x="2401" y="1495"/>
                  </a:cubicBezTo>
                  <a:cubicBezTo>
                    <a:pt x="2401" y="1495"/>
                    <a:pt x="2400" y="1495"/>
                    <a:pt x="2400" y="1496"/>
                  </a:cubicBezTo>
                  <a:cubicBezTo>
                    <a:pt x="2399" y="1496"/>
                    <a:pt x="2399" y="1496"/>
                    <a:pt x="2398" y="1496"/>
                  </a:cubicBezTo>
                  <a:cubicBezTo>
                    <a:pt x="2388" y="1501"/>
                    <a:pt x="2374" y="1500"/>
                    <a:pt x="2362" y="1500"/>
                  </a:cubicBezTo>
                  <a:cubicBezTo>
                    <a:pt x="2304" y="1500"/>
                    <a:pt x="2304" y="1500"/>
                    <a:pt x="2304" y="1500"/>
                  </a:cubicBezTo>
                  <a:cubicBezTo>
                    <a:pt x="2293" y="1500"/>
                    <a:pt x="2281" y="1498"/>
                    <a:pt x="2271" y="1493"/>
                  </a:cubicBezTo>
                  <a:cubicBezTo>
                    <a:pt x="2267" y="1491"/>
                    <a:pt x="2263" y="1489"/>
                    <a:pt x="2260" y="1487"/>
                  </a:cubicBezTo>
                  <a:cubicBezTo>
                    <a:pt x="2257" y="1484"/>
                    <a:pt x="2254" y="1482"/>
                    <a:pt x="2252" y="1479"/>
                  </a:cubicBezTo>
                  <a:cubicBezTo>
                    <a:pt x="2250" y="1474"/>
                    <a:pt x="2250" y="1474"/>
                    <a:pt x="2250" y="1474"/>
                  </a:cubicBezTo>
                  <a:cubicBezTo>
                    <a:pt x="2244" y="1463"/>
                    <a:pt x="2236" y="1453"/>
                    <a:pt x="2231" y="1441"/>
                  </a:cubicBezTo>
                  <a:cubicBezTo>
                    <a:pt x="2227" y="1433"/>
                    <a:pt x="2231" y="1429"/>
                    <a:pt x="2238" y="1426"/>
                  </a:cubicBezTo>
                  <a:cubicBezTo>
                    <a:pt x="2240" y="1425"/>
                    <a:pt x="2242" y="1424"/>
                    <a:pt x="2244" y="1424"/>
                  </a:cubicBezTo>
                  <a:cubicBezTo>
                    <a:pt x="2248" y="1423"/>
                    <a:pt x="2253" y="1422"/>
                    <a:pt x="2258" y="1422"/>
                  </a:cubicBezTo>
                  <a:cubicBezTo>
                    <a:pt x="2266" y="1422"/>
                    <a:pt x="2266" y="1422"/>
                    <a:pt x="2266" y="1422"/>
                  </a:cubicBezTo>
                  <a:cubicBezTo>
                    <a:pt x="2266" y="1422"/>
                    <a:pt x="2266" y="1422"/>
                    <a:pt x="2266" y="1422"/>
                  </a:cubicBezTo>
                  <a:cubicBezTo>
                    <a:pt x="2282" y="1422"/>
                    <a:pt x="2297" y="1422"/>
                    <a:pt x="2312" y="1422"/>
                  </a:cubicBezTo>
                  <a:cubicBezTo>
                    <a:pt x="2313" y="1422"/>
                    <a:pt x="2313" y="1422"/>
                    <a:pt x="2313" y="1422"/>
                  </a:cubicBezTo>
                  <a:cubicBezTo>
                    <a:pt x="2328" y="1422"/>
                    <a:pt x="2328" y="1422"/>
                    <a:pt x="2328" y="1422"/>
                  </a:cubicBezTo>
                  <a:cubicBezTo>
                    <a:pt x="2333" y="1422"/>
                    <a:pt x="2339" y="1422"/>
                    <a:pt x="2344" y="1423"/>
                  </a:cubicBezTo>
                  <a:cubicBezTo>
                    <a:pt x="2347" y="1424"/>
                    <a:pt x="2351" y="1425"/>
                    <a:pt x="2354" y="1426"/>
                  </a:cubicBezTo>
                  <a:cubicBezTo>
                    <a:pt x="2355" y="1426"/>
                    <a:pt x="2355" y="1426"/>
                    <a:pt x="2356" y="1426"/>
                  </a:cubicBezTo>
                  <a:cubicBezTo>
                    <a:pt x="2356" y="1427"/>
                    <a:pt x="2356" y="1427"/>
                    <a:pt x="2357" y="1427"/>
                  </a:cubicBezTo>
                  <a:cubicBezTo>
                    <a:pt x="2357" y="1427"/>
                    <a:pt x="2358" y="1427"/>
                    <a:pt x="2358" y="1427"/>
                  </a:cubicBezTo>
                  <a:cubicBezTo>
                    <a:pt x="2363" y="1429"/>
                    <a:pt x="2367" y="1431"/>
                    <a:pt x="2371" y="1433"/>
                  </a:cubicBezTo>
                  <a:cubicBezTo>
                    <a:pt x="2374" y="1436"/>
                    <a:pt x="2377" y="1438"/>
                    <a:pt x="2379" y="1441"/>
                  </a:cubicBezTo>
                  <a:cubicBezTo>
                    <a:pt x="2391" y="1458"/>
                    <a:pt x="2391" y="1458"/>
                    <a:pt x="2391" y="1458"/>
                  </a:cubicBezTo>
                  <a:cubicBezTo>
                    <a:pt x="2394" y="1463"/>
                    <a:pt x="2401" y="1471"/>
                    <a:pt x="2404" y="1478"/>
                  </a:cubicBezTo>
                  <a:cubicBezTo>
                    <a:pt x="2404" y="1478"/>
                    <a:pt x="2404" y="1478"/>
                    <a:pt x="2404" y="1478"/>
                  </a:cubicBezTo>
                  <a:cubicBezTo>
                    <a:pt x="2406" y="1481"/>
                    <a:pt x="2407" y="1484"/>
                    <a:pt x="2407" y="1487"/>
                  </a:cubicBezTo>
                  <a:close/>
                  <a:moveTo>
                    <a:pt x="1589" y="1480"/>
                  </a:moveTo>
                  <a:cubicBezTo>
                    <a:pt x="1589" y="1483"/>
                    <a:pt x="1588" y="1485"/>
                    <a:pt x="1587" y="1487"/>
                  </a:cubicBezTo>
                  <a:cubicBezTo>
                    <a:pt x="1576" y="1507"/>
                    <a:pt x="1525" y="1502"/>
                    <a:pt x="1507" y="1502"/>
                  </a:cubicBezTo>
                  <a:cubicBezTo>
                    <a:pt x="1496" y="1502"/>
                    <a:pt x="1485" y="1502"/>
                    <a:pt x="1474" y="1502"/>
                  </a:cubicBezTo>
                  <a:cubicBezTo>
                    <a:pt x="1464" y="1502"/>
                    <a:pt x="1451" y="1500"/>
                    <a:pt x="1442" y="1493"/>
                  </a:cubicBezTo>
                  <a:cubicBezTo>
                    <a:pt x="1442" y="1493"/>
                    <a:pt x="1441" y="1492"/>
                    <a:pt x="1441" y="1492"/>
                  </a:cubicBezTo>
                  <a:cubicBezTo>
                    <a:pt x="1441" y="1492"/>
                    <a:pt x="1440" y="1491"/>
                    <a:pt x="1440" y="1491"/>
                  </a:cubicBezTo>
                  <a:cubicBezTo>
                    <a:pt x="1439" y="1490"/>
                    <a:pt x="1439" y="1490"/>
                    <a:pt x="1439" y="1489"/>
                  </a:cubicBezTo>
                  <a:cubicBezTo>
                    <a:pt x="1439" y="1489"/>
                    <a:pt x="1439" y="1489"/>
                    <a:pt x="1438" y="1489"/>
                  </a:cubicBezTo>
                  <a:cubicBezTo>
                    <a:pt x="1438" y="1489"/>
                    <a:pt x="1438" y="1489"/>
                    <a:pt x="1438" y="1489"/>
                  </a:cubicBezTo>
                  <a:cubicBezTo>
                    <a:pt x="1438" y="1488"/>
                    <a:pt x="1437" y="1487"/>
                    <a:pt x="1437" y="1486"/>
                  </a:cubicBezTo>
                  <a:cubicBezTo>
                    <a:pt x="1436" y="1484"/>
                    <a:pt x="1436" y="1483"/>
                    <a:pt x="1436" y="1481"/>
                  </a:cubicBezTo>
                  <a:cubicBezTo>
                    <a:pt x="1436" y="1479"/>
                    <a:pt x="1436" y="1479"/>
                    <a:pt x="1436" y="1479"/>
                  </a:cubicBezTo>
                  <a:cubicBezTo>
                    <a:pt x="1437" y="1477"/>
                    <a:pt x="1437" y="1474"/>
                    <a:pt x="1437" y="1472"/>
                  </a:cubicBezTo>
                  <a:cubicBezTo>
                    <a:pt x="1437" y="1471"/>
                    <a:pt x="1437" y="1471"/>
                    <a:pt x="1437" y="1471"/>
                  </a:cubicBezTo>
                  <a:cubicBezTo>
                    <a:pt x="1438" y="1463"/>
                    <a:pt x="1438" y="1454"/>
                    <a:pt x="1440" y="1446"/>
                  </a:cubicBezTo>
                  <a:cubicBezTo>
                    <a:pt x="1440" y="1443"/>
                    <a:pt x="1440" y="1443"/>
                    <a:pt x="1440" y="1443"/>
                  </a:cubicBezTo>
                  <a:cubicBezTo>
                    <a:pt x="1441" y="1441"/>
                    <a:pt x="1442" y="1438"/>
                    <a:pt x="1444" y="1436"/>
                  </a:cubicBezTo>
                  <a:cubicBezTo>
                    <a:pt x="1446" y="1434"/>
                    <a:pt x="1448" y="1433"/>
                    <a:pt x="1450" y="1431"/>
                  </a:cubicBezTo>
                  <a:cubicBezTo>
                    <a:pt x="1450" y="1431"/>
                    <a:pt x="1450" y="1431"/>
                    <a:pt x="1450" y="1431"/>
                  </a:cubicBezTo>
                  <a:cubicBezTo>
                    <a:pt x="1451" y="1431"/>
                    <a:pt x="1451" y="1430"/>
                    <a:pt x="1452" y="1430"/>
                  </a:cubicBezTo>
                  <a:cubicBezTo>
                    <a:pt x="1452" y="1430"/>
                    <a:pt x="1453" y="1430"/>
                    <a:pt x="1453" y="1429"/>
                  </a:cubicBezTo>
                  <a:cubicBezTo>
                    <a:pt x="1453" y="1429"/>
                    <a:pt x="1454" y="1429"/>
                    <a:pt x="1454" y="1429"/>
                  </a:cubicBezTo>
                  <a:cubicBezTo>
                    <a:pt x="1455" y="1428"/>
                    <a:pt x="1457" y="1428"/>
                    <a:pt x="1458" y="1427"/>
                  </a:cubicBezTo>
                  <a:cubicBezTo>
                    <a:pt x="1459" y="1427"/>
                    <a:pt x="1459" y="1427"/>
                    <a:pt x="1460" y="1427"/>
                  </a:cubicBezTo>
                  <a:cubicBezTo>
                    <a:pt x="1461" y="1426"/>
                    <a:pt x="1463" y="1426"/>
                    <a:pt x="1464" y="1426"/>
                  </a:cubicBezTo>
                  <a:cubicBezTo>
                    <a:pt x="1465" y="1426"/>
                    <a:pt x="1465" y="1425"/>
                    <a:pt x="1466" y="1425"/>
                  </a:cubicBezTo>
                  <a:cubicBezTo>
                    <a:pt x="1466" y="1425"/>
                    <a:pt x="1466" y="1425"/>
                    <a:pt x="1466" y="1425"/>
                  </a:cubicBezTo>
                  <a:cubicBezTo>
                    <a:pt x="1467" y="1425"/>
                    <a:pt x="1468" y="1425"/>
                    <a:pt x="1468" y="1425"/>
                  </a:cubicBezTo>
                  <a:cubicBezTo>
                    <a:pt x="1472" y="1424"/>
                    <a:pt x="1476" y="1424"/>
                    <a:pt x="1480" y="1424"/>
                  </a:cubicBezTo>
                  <a:cubicBezTo>
                    <a:pt x="1483" y="1424"/>
                    <a:pt x="1483" y="1424"/>
                    <a:pt x="1483" y="1424"/>
                  </a:cubicBezTo>
                  <a:cubicBezTo>
                    <a:pt x="1487" y="1424"/>
                    <a:pt x="1492" y="1424"/>
                    <a:pt x="1496" y="1424"/>
                  </a:cubicBezTo>
                  <a:cubicBezTo>
                    <a:pt x="1550" y="1424"/>
                    <a:pt x="1550" y="1424"/>
                    <a:pt x="1550" y="1424"/>
                  </a:cubicBezTo>
                  <a:cubicBezTo>
                    <a:pt x="1551" y="1424"/>
                    <a:pt x="1552" y="1424"/>
                    <a:pt x="1554" y="1424"/>
                  </a:cubicBezTo>
                  <a:cubicBezTo>
                    <a:pt x="1554" y="1424"/>
                    <a:pt x="1555" y="1424"/>
                    <a:pt x="1555" y="1424"/>
                  </a:cubicBezTo>
                  <a:cubicBezTo>
                    <a:pt x="1556" y="1424"/>
                    <a:pt x="1558" y="1424"/>
                    <a:pt x="1559" y="1424"/>
                  </a:cubicBezTo>
                  <a:cubicBezTo>
                    <a:pt x="1570" y="1425"/>
                    <a:pt x="1582" y="1428"/>
                    <a:pt x="1586" y="1438"/>
                  </a:cubicBezTo>
                  <a:cubicBezTo>
                    <a:pt x="1587" y="1438"/>
                    <a:pt x="1587" y="1439"/>
                    <a:pt x="1587" y="1440"/>
                  </a:cubicBezTo>
                  <a:cubicBezTo>
                    <a:pt x="1588" y="1440"/>
                    <a:pt x="1588" y="1440"/>
                    <a:pt x="1588" y="1440"/>
                  </a:cubicBezTo>
                  <a:cubicBezTo>
                    <a:pt x="1591" y="1452"/>
                    <a:pt x="1588" y="1466"/>
                    <a:pt x="1589" y="1478"/>
                  </a:cubicBezTo>
                  <a:lnTo>
                    <a:pt x="1589" y="1480"/>
                  </a:lnTo>
                  <a:close/>
                  <a:moveTo>
                    <a:pt x="1511" y="1543"/>
                  </a:moveTo>
                  <a:cubicBezTo>
                    <a:pt x="1531" y="1543"/>
                    <a:pt x="1577" y="1537"/>
                    <a:pt x="1588" y="1559"/>
                  </a:cubicBezTo>
                  <a:cubicBezTo>
                    <a:pt x="1589" y="1561"/>
                    <a:pt x="1590" y="1563"/>
                    <a:pt x="1590" y="1566"/>
                  </a:cubicBezTo>
                  <a:cubicBezTo>
                    <a:pt x="1590" y="1589"/>
                    <a:pt x="1590" y="1589"/>
                    <a:pt x="1590" y="1589"/>
                  </a:cubicBezTo>
                  <a:cubicBezTo>
                    <a:pt x="1590" y="1595"/>
                    <a:pt x="1590" y="1602"/>
                    <a:pt x="1590" y="1609"/>
                  </a:cubicBezTo>
                  <a:cubicBezTo>
                    <a:pt x="1590" y="1609"/>
                    <a:pt x="1590" y="1609"/>
                    <a:pt x="1590" y="1609"/>
                  </a:cubicBezTo>
                  <a:cubicBezTo>
                    <a:pt x="1590" y="1612"/>
                    <a:pt x="1590" y="1612"/>
                    <a:pt x="1590" y="1612"/>
                  </a:cubicBezTo>
                  <a:cubicBezTo>
                    <a:pt x="1590" y="1615"/>
                    <a:pt x="1589" y="1619"/>
                    <a:pt x="1587" y="1622"/>
                  </a:cubicBezTo>
                  <a:cubicBezTo>
                    <a:pt x="1587" y="1622"/>
                    <a:pt x="1586" y="1623"/>
                    <a:pt x="1586" y="1623"/>
                  </a:cubicBezTo>
                  <a:cubicBezTo>
                    <a:pt x="1585" y="1624"/>
                    <a:pt x="1584" y="1625"/>
                    <a:pt x="1583" y="1626"/>
                  </a:cubicBezTo>
                  <a:cubicBezTo>
                    <a:pt x="1583" y="1626"/>
                    <a:pt x="1583" y="1626"/>
                    <a:pt x="1583" y="1626"/>
                  </a:cubicBezTo>
                  <a:cubicBezTo>
                    <a:pt x="1578" y="1631"/>
                    <a:pt x="1571" y="1634"/>
                    <a:pt x="1563" y="1636"/>
                  </a:cubicBezTo>
                  <a:cubicBezTo>
                    <a:pt x="1563" y="1636"/>
                    <a:pt x="1563" y="1636"/>
                    <a:pt x="1563" y="1636"/>
                  </a:cubicBezTo>
                  <a:cubicBezTo>
                    <a:pt x="1563" y="1636"/>
                    <a:pt x="1563" y="1636"/>
                    <a:pt x="1563" y="1636"/>
                  </a:cubicBezTo>
                  <a:cubicBezTo>
                    <a:pt x="1560" y="1637"/>
                    <a:pt x="1558" y="1637"/>
                    <a:pt x="1556" y="1637"/>
                  </a:cubicBezTo>
                  <a:cubicBezTo>
                    <a:pt x="1555" y="1637"/>
                    <a:pt x="1554" y="1637"/>
                    <a:pt x="1554" y="1638"/>
                  </a:cubicBezTo>
                  <a:cubicBezTo>
                    <a:pt x="1551" y="1638"/>
                    <a:pt x="1548" y="1638"/>
                    <a:pt x="1546" y="1638"/>
                  </a:cubicBezTo>
                  <a:cubicBezTo>
                    <a:pt x="1546" y="1638"/>
                    <a:pt x="1546" y="1638"/>
                    <a:pt x="1546" y="1638"/>
                  </a:cubicBezTo>
                  <a:cubicBezTo>
                    <a:pt x="1463" y="1638"/>
                    <a:pt x="1463" y="1638"/>
                    <a:pt x="1463" y="1638"/>
                  </a:cubicBezTo>
                  <a:cubicBezTo>
                    <a:pt x="1453" y="1638"/>
                    <a:pt x="1441" y="1636"/>
                    <a:pt x="1432" y="1631"/>
                  </a:cubicBezTo>
                  <a:cubicBezTo>
                    <a:pt x="1432" y="1631"/>
                    <a:pt x="1432" y="1631"/>
                    <a:pt x="1432" y="1631"/>
                  </a:cubicBezTo>
                  <a:cubicBezTo>
                    <a:pt x="1432" y="1631"/>
                    <a:pt x="1432" y="1630"/>
                    <a:pt x="1432" y="1630"/>
                  </a:cubicBezTo>
                  <a:cubicBezTo>
                    <a:pt x="1431" y="1629"/>
                    <a:pt x="1429" y="1628"/>
                    <a:pt x="1427" y="1627"/>
                  </a:cubicBezTo>
                  <a:cubicBezTo>
                    <a:pt x="1426" y="1626"/>
                    <a:pt x="1425" y="1624"/>
                    <a:pt x="1424" y="1623"/>
                  </a:cubicBezTo>
                  <a:cubicBezTo>
                    <a:pt x="1424" y="1623"/>
                    <a:pt x="1424" y="1623"/>
                    <a:pt x="1424" y="1622"/>
                  </a:cubicBezTo>
                  <a:cubicBezTo>
                    <a:pt x="1422" y="1619"/>
                    <a:pt x="1421" y="1616"/>
                    <a:pt x="1421" y="1612"/>
                  </a:cubicBezTo>
                  <a:cubicBezTo>
                    <a:pt x="1422" y="1606"/>
                    <a:pt x="1422" y="1606"/>
                    <a:pt x="1422" y="1606"/>
                  </a:cubicBezTo>
                  <a:cubicBezTo>
                    <a:pt x="1422" y="1606"/>
                    <a:pt x="1422" y="1606"/>
                    <a:pt x="1422" y="1606"/>
                  </a:cubicBezTo>
                  <a:cubicBezTo>
                    <a:pt x="1424" y="1593"/>
                    <a:pt x="1425" y="1580"/>
                    <a:pt x="1427" y="1567"/>
                  </a:cubicBezTo>
                  <a:cubicBezTo>
                    <a:pt x="1427" y="1566"/>
                    <a:pt x="1427" y="1566"/>
                    <a:pt x="1427" y="1566"/>
                  </a:cubicBezTo>
                  <a:cubicBezTo>
                    <a:pt x="1427" y="1566"/>
                    <a:pt x="1427" y="1566"/>
                    <a:pt x="1427" y="1565"/>
                  </a:cubicBezTo>
                  <a:cubicBezTo>
                    <a:pt x="1432" y="1536"/>
                    <a:pt x="1490" y="1543"/>
                    <a:pt x="1511" y="1543"/>
                  </a:cubicBezTo>
                  <a:close/>
                  <a:moveTo>
                    <a:pt x="1175" y="1631"/>
                  </a:moveTo>
                  <a:cubicBezTo>
                    <a:pt x="1173" y="1630"/>
                    <a:pt x="1172" y="1629"/>
                    <a:pt x="1170" y="1627"/>
                  </a:cubicBezTo>
                  <a:cubicBezTo>
                    <a:pt x="1169" y="1626"/>
                    <a:pt x="1169" y="1625"/>
                    <a:pt x="1168" y="1624"/>
                  </a:cubicBezTo>
                  <a:cubicBezTo>
                    <a:pt x="1168" y="1623"/>
                    <a:pt x="1168" y="1623"/>
                    <a:pt x="1168" y="1623"/>
                  </a:cubicBezTo>
                  <a:cubicBezTo>
                    <a:pt x="1166" y="1620"/>
                    <a:pt x="1166" y="1616"/>
                    <a:pt x="1167" y="1613"/>
                  </a:cubicBezTo>
                  <a:cubicBezTo>
                    <a:pt x="1169" y="1607"/>
                    <a:pt x="1169" y="1607"/>
                    <a:pt x="1169" y="1607"/>
                  </a:cubicBezTo>
                  <a:cubicBezTo>
                    <a:pt x="1169" y="1607"/>
                    <a:pt x="1169" y="1607"/>
                    <a:pt x="1169" y="1607"/>
                  </a:cubicBezTo>
                  <a:cubicBezTo>
                    <a:pt x="1169" y="1606"/>
                    <a:pt x="1169" y="1605"/>
                    <a:pt x="1170" y="1604"/>
                  </a:cubicBezTo>
                  <a:cubicBezTo>
                    <a:pt x="1181" y="1567"/>
                    <a:pt x="1181" y="1567"/>
                    <a:pt x="1181" y="1567"/>
                  </a:cubicBezTo>
                  <a:cubicBezTo>
                    <a:pt x="1181" y="1566"/>
                    <a:pt x="1181" y="1566"/>
                    <a:pt x="1182" y="1565"/>
                  </a:cubicBezTo>
                  <a:cubicBezTo>
                    <a:pt x="1193" y="1537"/>
                    <a:pt x="1244" y="1543"/>
                    <a:pt x="1268" y="1543"/>
                  </a:cubicBezTo>
                  <a:cubicBezTo>
                    <a:pt x="1278" y="1543"/>
                    <a:pt x="1297" y="1542"/>
                    <a:pt x="1314" y="1543"/>
                  </a:cubicBezTo>
                  <a:cubicBezTo>
                    <a:pt x="1317" y="1544"/>
                    <a:pt x="1320" y="1544"/>
                    <a:pt x="1323" y="1545"/>
                  </a:cubicBezTo>
                  <a:cubicBezTo>
                    <a:pt x="1323" y="1545"/>
                    <a:pt x="1323" y="1545"/>
                    <a:pt x="1324" y="1545"/>
                  </a:cubicBezTo>
                  <a:cubicBezTo>
                    <a:pt x="1332" y="1547"/>
                    <a:pt x="1339" y="1551"/>
                    <a:pt x="1342" y="1556"/>
                  </a:cubicBezTo>
                  <a:cubicBezTo>
                    <a:pt x="1342" y="1557"/>
                    <a:pt x="1342" y="1557"/>
                    <a:pt x="1343" y="1557"/>
                  </a:cubicBezTo>
                  <a:cubicBezTo>
                    <a:pt x="1343" y="1558"/>
                    <a:pt x="1343" y="1558"/>
                    <a:pt x="1343" y="1558"/>
                  </a:cubicBezTo>
                  <a:cubicBezTo>
                    <a:pt x="1343" y="1558"/>
                    <a:pt x="1343" y="1559"/>
                    <a:pt x="1343" y="1559"/>
                  </a:cubicBezTo>
                  <a:cubicBezTo>
                    <a:pt x="1344" y="1561"/>
                    <a:pt x="1345" y="1564"/>
                    <a:pt x="1344" y="1567"/>
                  </a:cubicBezTo>
                  <a:cubicBezTo>
                    <a:pt x="1344" y="1569"/>
                    <a:pt x="1344" y="1569"/>
                    <a:pt x="1344" y="1569"/>
                  </a:cubicBezTo>
                  <a:cubicBezTo>
                    <a:pt x="1344" y="1569"/>
                    <a:pt x="1344" y="1569"/>
                    <a:pt x="1344" y="1569"/>
                  </a:cubicBezTo>
                  <a:cubicBezTo>
                    <a:pt x="1343" y="1576"/>
                    <a:pt x="1341" y="1583"/>
                    <a:pt x="1340" y="1589"/>
                  </a:cubicBezTo>
                  <a:cubicBezTo>
                    <a:pt x="1336" y="1612"/>
                    <a:pt x="1336" y="1612"/>
                    <a:pt x="1336" y="1612"/>
                  </a:cubicBezTo>
                  <a:cubicBezTo>
                    <a:pt x="1336" y="1616"/>
                    <a:pt x="1334" y="1619"/>
                    <a:pt x="1331" y="1622"/>
                  </a:cubicBezTo>
                  <a:cubicBezTo>
                    <a:pt x="1331" y="1623"/>
                    <a:pt x="1330" y="1623"/>
                    <a:pt x="1330" y="1623"/>
                  </a:cubicBezTo>
                  <a:cubicBezTo>
                    <a:pt x="1330" y="1624"/>
                    <a:pt x="1329" y="1624"/>
                    <a:pt x="1329" y="1624"/>
                  </a:cubicBezTo>
                  <a:cubicBezTo>
                    <a:pt x="1328" y="1625"/>
                    <a:pt x="1327" y="1626"/>
                    <a:pt x="1326" y="1627"/>
                  </a:cubicBezTo>
                  <a:cubicBezTo>
                    <a:pt x="1320" y="1632"/>
                    <a:pt x="1312" y="1635"/>
                    <a:pt x="1305" y="1636"/>
                  </a:cubicBezTo>
                  <a:cubicBezTo>
                    <a:pt x="1305" y="1637"/>
                    <a:pt x="1305" y="1637"/>
                    <a:pt x="1305" y="1637"/>
                  </a:cubicBezTo>
                  <a:cubicBezTo>
                    <a:pt x="1304" y="1637"/>
                    <a:pt x="1304" y="1637"/>
                    <a:pt x="1304" y="1637"/>
                  </a:cubicBezTo>
                  <a:cubicBezTo>
                    <a:pt x="1302" y="1637"/>
                    <a:pt x="1300" y="1638"/>
                    <a:pt x="1297" y="1638"/>
                  </a:cubicBezTo>
                  <a:cubicBezTo>
                    <a:pt x="1297" y="1638"/>
                    <a:pt x="1296" y="1638"/>
                    <a:pt x="1295" y="1638"/>
                  </a:cubicBezTo>
                  <a:cubicBezTo>
                    <a:pt x="1292" y="1638"/>
                    <a:pt x="1290" y="1639"/>
                    <a:pt x="1287" y="1639"/>
                  </a:cubicBezTo>
                  <a:cubicBezTo>
                    <a:pt x="1287" y="1639"/>
                    <a:pt x="1287" y="1639"/>
                    <a:pt x="1287" y="1639"/>
                  </a:cubicBezTo>
                  <a:cubicBezTo>
                    <a:pt x="1204" y="1639"/>
                    <a:pt x="1204" y="1639"/>
                    <a:pt x="1204" y="1639"/>
                  </a:cubicBezTo>
                  <a:cubicBezTo>
                    <a:pt x="1194" y="1639"/>
                    <a:pt x="1183" y="1637"/>
                    <a:pt x="1175" y="1631"/>
                  </a:cubicBezTo>
                  <a:cubicBezTo>
                    <a:pt x="1175" y="1631"/>
                    <a:pt x="1175" y="1631"/>
                    <a:pt x="1175" y="1631"/>
                  </a:cubicBezTo>
                  <a:close/>
                  <a:moveTo>
                    <a:pt x="1278" y="1502"/>
                  </a:moveTo>
                  <a:cubicBezTo>
                    <a:pt x="1266" y="1502"/>
                    <a:pt x="1253" y="1502"/>
                    <a:pt x="1241" y="1502"/>
                  </a:cubicBezTo>
                  <a:cubicBezTo>
                    <a:pt x="1230" y="1502"/>
                    <a:pt x="1213" y="1500"/>
                    <a:pt x="1207" y="1489"/>
                  </a:cubicBezTo>
                  <a:cubicBezTo>
                    <a:pt x="1207" y="1488"/>
                    <a:pt x="1207" y="1487"/>
                    <a:pt x="1207" y="1486"/>
                  </a:cubicBezTo>
                  <a:cubicBezTo>
                    <a:pt x="1206" y="1486"/>
                    <a:pt x="1206" y="1485"/>
                    <a:pt x="1206" y="1484"/>
                  </a:cubicBezTo>
                  <a:cubicBezTo>
                    <a:pt x="1206" y="1483"/>
                    <a:pt x="1207" y="1482"/>
                    <a:pt x="1207" y="1481"/>
                  </a:cubicBezTo>
                  <a:cubicBezTo>
                    <a:pt x="1207" y="1481"/>
                    <a:pt x="1207" y="1481"/>
                    <a:pt x="1207" y="1481"/>
                  </a:cubicBezTo>
                  <a:cubicBezTo>
                    <a:pt x="1207" y="1481"/>
                    <a:pt x="1207" y="1481"/>
                    <a:pt x="1207" y="1481"/>
                  </a:cubicBezTo>
                  <a:cubicBezTo>
                    <a:pt x="1207" y="1478"/>
                    <a:pt x="1209" y="1474"/>
                    <a:pt x="1210" y="1472"/>
                  </a:cubicBezTo>
                  <a:cubicBezTo>
                    <a:pt x="1212" y="1463"/>
                    <a:pt x="1214" y="1453"/>
                    <a:pt x="1218" y="1445"/>
                  </a:cubicBezTo>
                  <a:cubicBezTo>
                    <a:pt x="1218" y="1444"/>
                    <a:pt x="1218" y="1444"/>
                    <a:pt x="1218" y="1444"/>
                  </a:cubicBezTo>
                  <a:cubicBezTo>
                    <a:pt x="1219" y="1441"/>
                    <a:pt x="1221" y="1438"/>
                    <a:pt x="1223" y="1436"/>
                  </a:cubicBezTo>
                  <a:cubicBezTo>
                    <a:pt x="1225" y="1435"/>
                    <a:pt x="1226" y="1434"/>
                    <a:pt x="1228" y="1433"/>
                  </a:cubicBezTo>
                  <a:cubicBezTo>
                    <a:pt x="1233" y="1429"/>
                    <a:pt x="1239" y="1427"/>
                    <a:pt x="1245" y="1426"/>
                  </a:cubicBezTo>
                  <a:cubicBezTo>
                    <a:pt x="1246" y="1426"/>
                    <a:pt x="1246" y="1426"/>
                    <a:pt x="1247" y="1426"/>
                  </a:cubicBezTo>
                  <a:cubicBezTo>
                    <a:pt x="1251" y="1425"/>
                    <a:pt x="1257" y="1424"/>
                    <a:pt x="1262" y="1424"/>
                  </a:cubicBezTo>
                  <a:cubicBezTo>
                    <a:pt x="1269" y="1424"/>
                    <a:pt x="1269" y="1424"/>
                    <a:pt x="1269" y="1424"/>
                  </a:cubicBezTo>
                  <a:cubicBezTo>
                    <a:pt x="1271" y="1424"/>
                    <a:pt x="1274" y="1424"/>
                    <a:pt x="1276" y="1424"/>
                  </a:cubicBezTo>
                  <a:cubicBezTo>
                    <a:pt x="1291" y="1424"/>
                    <a:pt x="1307" y="1424"/>
                    <a:pt x="1322" y="1424"/>
                  </a:cubicBezTo>
                  <a:cubicBezTo>
                    <a:pt x="1324" y="1424"/>
                    <a:pt x="1326" y="1424"/>
                    <a:pt x="1329" y="1424"/>
                  </a:cubicBezTo>
                  <a:cubicBezTo>
                    <a:pt x="1331" y="1424"/>
                    <a:pt x="1331" y="1424"/>
                    <a:pt x="1331" y="1424"/>
                  </a:cubicBezTo>
                  <a:cubicBezTo>
                    <a:pt x="1332" y="1424"/>
                    <a:pt x="1332" y="1424"/>
                    <a:pt x="1333" y="1424"/>
                  </a:cubicBezTo>
                  <a:cubicBezTo>
                    <a:pt x="1335" y="1424"/>
                    <a:pt x="1337" y="1424"/>
                    <a:pt x="1339" y="1425"/>
                  </a:cubicBezTo>
                  <a:cubicBezTo>
                    <a:pt x="1339" y="1425"/>
                    <a:pt x="1339" y="1425"/>
                    <a:pt x="1339" y="1425"/>
                  </a:cubicBezTo>
                  <a:cubicBezTo>
                    <a:pt x="1351" y="1426"/>
                    <a:pt x="1364" y="1429"/>
                    <a:pt x="1366" y="1439"/>
                  </a:cubicBezTo>
                  <a:cubicBezTo>
                    <a:pt x="1366" y="1439"/>
                    <a:pt x="1366" y="1440"/>
                    <a:pt x="1366" y="1440"/>
                  </a:cubicBezTo>
                  <a:cubicBezTo>
                    <a:pt x="1366" y="1440"/>
                    <a:pt x="1366" y="1440"/>
                    <a:pt x="1366" y="1441"/>
                  </a:cubicBezTo>
                  <a:cubicBezTo>
                    <a:pt x="1367" y="1452"/>
                    <a:pt x="1362" y="1467"/>
                    <a:pt x="1360" y="1478"/>
                  </a:cubicBezTo>
                  <a:cubicBezTo>
                    <a:pt x="1360" y="1478"/>
                    <a:pt x="1360" y="1478"/>
                    <a:pt x="1360" y="1478"/>
                  </a:cubicBezTo>
                  <a:cubicBezTo>
                    <a:pt x="1359" y="1481"/>
                    <a:pt x="1359" y="1481"/>
                    <a:pt x="1359" y="1481"/>
                  </a:cubicBezTo>
                  <a:cubicBezTo>
                    <a:pt x="1359" y="1483"/>
                    <a:pt x="1358" y="1485"/>
                    <a:pt x="1356" y="1487"/>
                  </a:cubicBezTo>
                  <a:cubicBezTo>
                    <a:pt x="1356" y="1488"/>
                    <a:pt x="1355" y="1488"/>
                    <a:pt x="1355" y="1489"/>
                  </a:cubicBezTo>
                  <a:cubicBezTo>
                    <a:pt x="1355" y="1489"/>
                    <a:pt x="1355" y="1489"/>
                    <a:pt x="1355" y="1489"/>
                  </a:cubicBezTo>
                  <a:cubicBezTo>
                    <a:pt x="1355" y="1489"/>
                    <a:pt x="1355" y="1489"/>
                    <a:pt x="1354" y="1489"/>
                  </a:cubicBezTo>
                  <a:cubicBezTo>
                    <a:pt x="1339" y="1507"/>
                    <a:pt x="1298" y="1502"/>
                    <a:pt x="1278" y="1502"/>
                  </a:cubicBezTo>
                  <a:close/>
                  <a:moveTo>
                    <a:pt x="911" y="1620"/>
                  </a:moveTo>
                  <a:cubicBezTo>
                    <a:pt x="911" y="1619"/>
                    <a:pt x="911" y="1618"/>
                    <a:pt x="911" y="1618"/>
                  </a:cubicBezTo>
                  <a:cubicBezTo>
                    <a:pt x="912" y="1616"/>
                    <a:pt x="912" y="1615"/>
                    <a:pt x="913" y="1614"/>
                  </a:cubicBezTo>
                  <a:cubicBezTo>
                    <a:pt x="913" y="1614"/>
                    <a:pt x="913" y="1614"/>
                    <a:pt x="913" y="1613"/>
                  </a:cubicBezTo>
                  <a:cubicBezTo>
                    <a:pt x="913" y="1612"/>
                    <a:pt x="913" y="1612"/>
                    <a:pt x="913" y="1612"/>
                  </a:cubicBezTo>
                  <a:cubicBezTo>
                    <a:pt x="914" y="1611"/>
                    <a:pt x="915" y="1609"/>
                    <a:pt x="916" y="1607"/>
                  </a:cubicBezTo>
                  <a:cubicBezTo>
                    <a:pt x="922" y="1594"/>
                    <a:pt x="928" y="1582"/>
                    <a:pt x="935" y="1569"/>
                  </a:cubicBezTo>
                  <a:cubicBezTo>
                    <a:pt x="935" y="1569"/>
                    <a:pt x="935" y="1569"/>
                    <a:pt x="935" y="1569"/>
                  </a:cubicBezTo>
                  <a:cubicBezTo>
                    <a:pt x="935" y="1568"/>
                    <a:pt x="935" y="1568"/>
                    <a:pt x="935" y="1568"/>
                  </a:cubicBezTo>
                  <a:cubicBezTo>
                    <a:pt x="936" y="1567"/>
                    <a:pt x="936" y="1566"/>
                    <a:pt x="937" y="1566"/>
                  </a:cubicBezTo>
                  <a:cubicBezTo>
                    <a:pt x="937" y="1565"/>
                    <a:pt x="938" y="1564"/>
                    <a:pt x="938" y="1563"/>
                  </a:cubicBezTo>
                  <a:cubicBezTo>
                    <a:pt x="938" y="1563"/>
                    <a:pt x="938" y="1563"/>
                    <a:pt x="939" y="1563"/>
                  </a:cubicBezTo>
                  <a:cubicBezTo>
                    <a:pt x="956" y="1539"/>
                    <a:pt x="997" y="1544"/>
                    <a:pt x="1023" y="1544"/>
                  </a:cubicBezTo>
                  <a:cubicBezTo>
                    <a:pt x="1023" y="1544"/>
                    <a:pt x="1023" y="1544"/>
                    <a:pt x="1023" y="1544"/>
                  </a:cubicBezTo>
                  <a:cubicBezTo>
                    <a:pt x="1030" y="1544"/>
                    <a:pt x="1049" y="1542"/>
                    <a:pt x="1066" y="1544"/>
                  </a:cubicBezTo>
                  <a:cubicBezTo>
                    <a:pt x="1071" y="1544"/>
                    <a:pt x="1077" y="1544"/>
                    <a:pt x="1081" y="1545"/>
                  </a:cubicBezTo>
                  <a:cubicBezTo>
                    <a:pt x="1084" y="1546"/>
                    <a:pt x="1087" y="1547"/>
                    <a:pt x="1089" y="1548"/>
                  </a:cubicBezTo>
                  <a:cubicBezTo>
                    <a:pt x="1095" y="1551"/>
                    <a:pt x="1099" y="1556"/>
                    <a:pt x="1099" y="1562"/>
                  </a:cubicBezTo>
                  <a:cubicBezTo>
                    <a:pt x="1099" y="1562"/>
                    <a:pt x="1099" y="1562"/>
                    <a:pt x="1099" y="1562"/>
                  </a:cubicBezTo>
                  <a:cubicBezTo>
                    <a:pt x="1099" y="1563"/>
                    <a:pt x="1099" y="1563"/>
                    <a:pt x="1099" y="1564"/>
                  </a:cubicBezTo>
                  <a:cubicBezTo>
                    <a:pt x="1099" y="1565"/>
                    <a:pt x="1099" y="1566"/>
                    <a:pt x="1099" y="1567"/>
                  </a:cubicBezTo>
                  <a:cubicBezTo>
                    <a:pt x="1082" y="1613"/>
                    <a:pt x="1082" y="1613"/>
                    <a:pt x="1082" y="1613"/>
                  </a:cubicBezTo>
                  <a:cubicBezTo>
                    <a:pt x="1081" y="1617"/>
                    <a:pt x="1078" y="1620"/>
                    <a:pt x="1075" y="1623"/>
                  </a:cubicBezTo>
                  <a:cubicBezTo>
                    <a:pt x="1071" y="1626"/>
                    <a:pt x="1067" y="1629"/>
                    <a:pt x="1062" y="1631"/>
                  </a:cubicBezTo>
                  <a:cubicBezTo>
                    <a:pt x="1062" y="1632"/>
                    <a:pt x="1061" y="1632"/>
                    <a:pt x="1061" y="1632"/>
                  </a:cubicBezTo>
                  <a:cubicBezTo>
                    <a:pt x="1054" y="1635"/>
                    <a:pt x="1047" y="1637"/>
                    <a:pt x="1039" y="1639"/>
                  </a:cubicBezTo>
                  <a:cubicBezTo>
                    <a:pt x="1038" y="1639"/>
                    <a:pt x="1038" y="1639"/>
                    <a:pt x="1038" y="1639"/>
                  </a:cubicBezTo>
                  <a:cubicBezTo>
                    <a:pt x="1036" y="1639"/>
                    <a:pt x="1035" y="1639"/>
                    <a:pt x="1034" y="1639"/>
                  </a:cubicBezTo>
                  <a:cubicBezTo>
                    <a:pt x="1020" y="1640"/>
                    <a:pt x="1005" y="1639"/>
                    <a:pt x="990" y="1639"/>
                  </a:cubicBezTo>
                  <a:cubicBezTo>
                    <a:pt x="975" y="1639"/>
                    <a:pt x="960" y="1640"/>
                    <a:pt x="945" y="1640"/>
                  </a:cubicBezTo>
                  <a:cubicBezTo>
                    <a:pt x="935" y="1640"/>
                    <a:pt x="920" y="1638"/>
                    <a:pt x="914" y="1628"/>
                  </a:cubicBezTo>
                  <a:cubicBezTo>
                    <a:pt x="913" y="1628"/>
                    <a:pt x="913" y="1628"/>
                    <a:pt x="913" y="1627"/>
                  </a:cubicBezTo>
                  <a:cubicBezTo>
                    <a:pt x="913" y="1627"/>
                    <a:pt x="912" y="1626"/>
                    <a:pt x="912" y="1626"/>
                  </a:cubicBezTo>
                  <a:cubicBezTo>
                    <a:pt x="912" y="1625"/>
                    <a:pt x="912" y="1624"/>
                    <a:pt x="911" y="1624"/>
                  </a:cubicBezTo>
                  <a:cubicBezTo>
                    <a:pt x="911" y="1624"/>
                    <a:pt x="911" y="1624"/>
                    <a:pt x="911" y="1624"/>
                  </a:cubicBezTo>
                  <a:cubicBezTo>
                    <a:pt x="911" y="1623"/>
                    <a:pt x="911" y="1623"/>
                    <a:pt x="911" y="1623"/>
                  </a:cubicBezTo>
                  <a:cubicBezTo>
                    <a:pt x="911" y="1622"/>
                    <a:pt x="911" y="1621"/>
                    <a:pt x="911" y="1620"/>
                  </a:cubicBezTo>
                  <a:close/>
                  <a:moveTo>
                    <a:pt x="910" y="1465"/>
                  </a:moveTo>
                  <a:cubicBezTo>
                    <a:pt x="910" y="1465"/>
                    <a:pt x="910" y="1465"/>
                    <a:pt x="910" y="1465"/>
                  </a:cubicBezTo>
                  <a:cubicBezTo>
                    <a:pt x="900" y="1482"/>
                    <a:pt x="900" y="1482"/>
                    <a:pt x="900" y="1482"/>
                  </a:cubicBezTo>
                  <a:cubicBezTo>
                    <a:pt x="899" y="1485"/>
                    <a:pt x="896" y="1488"/>
                    <a:pt x="893" y="1490"/>
                  </a:cubicBezTo>
                  <a:cubicBezTo>
                    <a:pt x="889" y="1493"/>
                    <a:pt x="885" y="1495"/>
                    <a:pt x="880" y="1497"/>
                  </a:cubicBezTo>
                  <a:cubicBezTo>
                    <a:pt x="879" y="1497"/>
                    <a:pt x="878" y="1498"/>
                    <a:pt x="876" y="1498"/>
                  </a:cubicBezTo>
                  <a:cubicBezTo>
                    <a:pt x="876" y="1499"/>
                    <a:pt x="875" y="1499"/>
                    <a:pt x="874" y="1499"/>
                  </a:cubicBezTo>
                  <a:cubicBezTo>
                    <a:pt x="874" y="1499"/>
                    <a:pt x="874" y="1499"/>
                    <a:pt x="874" y="1499"/>
                  </a:cubicBezTo>
                  <a:cubicBezTo>
                    <a:pt x="871" y="1500"/>
                    <a:pt x="868" y="1501"/>
                    <a:pt x="865" y="1502"/>
                  </a:cubicBezTo>
                  <a:cubicBezTo>
                    <a:pt x="859" y="1503"/>
                    <a:pt x="854" y="1503"/>
                    <a:pt x="848" y="1503"/>
                  </a:cubicBezTo>
                  <a:cubicBezTo>
                    <a:pt x="832" y="1503"/>
                    <a:pt x="832" y="1503"/>
                    <a:pt x="832" y="1503"/>
                  </a:cubicBezTo>
                  <a:cubicBezTo>
                    <a:pt x="832" y="1503"/>
                    <a:pt x="832" y="1503"/>
                    <a:pt x="832" y="1503"/>
                  </a:cubicBezTo>
                  <a:cubicBezTo>
                    <a:pt x="812" y="1503"/>
                    <a:pt x="793" y="1504"/>
                    <a:pt x="774" y="1504"/>
                  </a:cubicBezTo>
                  <a:cubicBezTo>
                    <a:pt x="765" y="1504"/>
                    <a:pt x="747" y="1502"/>
                    <a:pt x="745" y="1491"/>
                  </a:cubicBezTo>
                  <a:cubicBezTo>
                    <a:pt x="745" y="1489"/>
                    <a:pt x="745" y="1488"/>
                    <a:pt x="746" y="1486"/>
                  </a:cubicBezTo>
                  <a:cubicBezTo>
                    <a:pt x="747" y="1482"/>
                    <a:pt x="751" y="1478"/>
                    <a:pt x="753" y="1475"/>
                  </a:cubicBezTo>
                  <a:cubicBezTo>
                    <a:pt x="760" y="1464"/>
                    <a:pt x="766" y="1452"/>
                    <a:pt x="775" y="1443"/>
                  </a:cubicBezTo>
                  <a:cubicBezTo>
                    <a:pt x="775" y="1442"/>
                    <a:pt x="776" y="1442"/>
                    <a:pt x="776" y="1441"/>
                  </a:cubicBezTo>
                  <a:cubicBezTo>
                    <a:pt x="776" y="1441"/>
                    <a:pt x="777" y="1441"/>
                    <a:pt x="777" y="1441"/>
                  </a:cubicBezTo>
                  <a:cubicBezTo>
                    <a:pt x="799" y="1419"/>
                    <a:pt x="845" y="1425"/>
                    <a:pt x="873" y="1425"/>
                  </a:cubicBezTo>
                  <a:cubicBezTo>
                    <a:pt x="886" y="1425"/>
                    <a:pt x="901" y="1423"/>
                    <a:pt x="913" y="1428"/>
                  </a:cubicBezTo>
                  <a:cubicBezTo>
                    <a:pt x="913" y="1428"/>
                    <a:pt x="913" y="1428"/>
                    <a:pt x="913" y="1428"/>
                  </a:cubicBezTo>
                  <a:cubicBezTo>
                    <a:pt x="915" y="1429"/>
                    <a:pt x="916" y="1430"/>
                    <a:pt x="917" y="1430"/>
                  </a:cubicBezTo>
                  <a:cubicBezTo>
                    <a:pt x="917" y="1430"/>
                    <a:pt x="917" y="1431"/>
                    <a:pt x="918" y="1431"/>
                  </a:cubicBezTo>
                  <a:cubicBezTo>
                    <a:pt x="920" y="1432"/>
                    <a:pt x="922" y="1435"/>
                    <a:pt x="922" y="1437"/>
                  </a:cubicBezTo>
                  <a:cubicBezTo>
                    <a:pt x="923" y="1439"/>
                    <a:pt x="923" y="1442"/>
                    <a:pt x="921" y="1444"/>
                  </a:cubicBezTo>
                  <a:cubicBezTo>
                    <a:pt x="920" y="1446"/>
                    <a:pt x="920" y="1446"/>
                    <a:pt x="920" y="1446"/>
                  </a:cubicBezTo>
                  <a:cubicBezTo>
                    <a:pt x="918" y="1452"/>
                    <a:pt x="913" y="1460"/>
                    <a:pt x="910" y="1465"/>
                  </a:cubicBezTo>
                  <a:close/>
                  <a:moveTo>
                    <a:pt x="1095" y="1502"/>
                  </a:moveTo>
                  <a:cubicBezTo>
                    <a:pt x="1093" y="1502"/>
                    <a:pt x="1091" y="1502"/>
                    <a:pt x="1089" y="1502"/>
                  </a:cubicBezTo>
                  <a:cubicBezTo>
                    <a:pt x="1089" y="1502"/>
                    <a:pt x="1089" y="1503"/>
                    <a:pt x="1088" y="1503"/>
                  </a:cubicBezTo>
                  <a:cubicBezTo>
                    <a:pt x="1077" y="1504"/>
                    <a:pt x="1066" y="1503"/>
                    <a:pt x="1054" y="1503"/>
                  </a:cubicBezTo>
                  <a:cubicBezTo>
                    <a:pt x="1007" y="1503"/>
                    <a:pt x="1007" y="1503"/>
                    <a:pt x="1007" y="1503"/>
                  </a:cubicBezTo>
                  <a:cubicBezTo>
                    <a:pt x="997" y="1503"/>
                    <a:pt x="980" y="1501"/>
                    <a:pt x="976" y="1490"/>
                  </a:cubicBezTo>
                  <a:cubicBezTo>
                    <a:pt x="976" y="1489"/>
                    <a:pt x="976" y="1488"/>
                    <a:pt x="976" y="1487"/>
                  </a:cubicBezTo>
                  <a:cubicBezTo>
                    <a:pt x="976" y="1486"/>
                    <a:pt x="976" y="1486"/>
                    <a:pt x="976" y="1485"/>
                  </a:cubicBezTo>
                  <a:cubicBezTo>
                    <a:pt x="977" y="1481"/>
                    <a:pt x="980" y="1477"/>
                    <a:pt x="982" y="1473"/>
                  </a:cubicBezTo>
                  <a:cubicBezTo>
                    <a:pt x="986" y="1463"/>
                    <a:pt x="990" y="1449"/>
                    <a:pt x="998" y="1441"/>
                  </a:cubicBezTo>
                  <a:cubicBezTo>
                    <a:pt x="998" y="1440"/>
                    <a:pt x="999" y="1440"/>
                    <a:pt x="999" y="1440"/>
                  </a:cubicBezTo>
                  <a:cubicBezTo>
                    <a:pt x="1000" y="1439"/>
                    <a:pt x="1000" y="1439"/>
                    <a:pt x="1000" y="1438"/>
                  </a:cubicBezTo>
                  <a:cubicBezTo>
                    <a:pt x="1001" y="1438"/>
                    <a:pt x="1001" y="1438"/>
                    <a:pt x="1001" y="1438"/>
                  </a:cubicBezTo>
                  <a:cubicBezTo>
                    <a:pt x="1002" y="1437"/>
                    <a:pt x="1002" y="1437"/>
                    <a:pt x="1002" y="1437"/>
                  </a:cubicBezTo>
                  <a:cubicBezTo>
                    <a:pt x="1003" y="1436"/>
                    <a:pt x="1003" y="1436"/>
                    <a:pt x="1003" y="1436"/>
                  </a:cubicBezTo>
                  <a:cubicBezTo>
                    <a:pt x="1010" y="1431"/>
                    <a:pt x="1018" y="1428"/>
                    <a:pt x="1027" y="1427"/>
                  </a:cubicBezTo>
                  <a:cubicBezTo>
                    <a:pt x="1027" y="1427"/>
                    <a:pt x="1027" y="1426"/>
                    <a:pt x="1028" y="1426"/>
                  </a:cubicBezTo>
                  <a:cubicBezTo>
                    <a:pt x="1033" y="1425"/>
                    <a:pt x="1038" y="1425"/>
                    <a:pt x="1043" y="1425"/>
                  </a:cubicBezTo>
                  <a:cubicBezTo>
                    <a:pt x="1072" y="1425"/>
                    <a:pt x="1072" y="1425"/>
                    <a:pt x="1072" y="1425"/>
                  </a:cubicBezTo>
                  <a:cubicBezTo>
                    <a:pt x="1081" y="1425"/>
                    <a:pt x="1090" y="1425"/>
                    <a:pt x="1099" y="1425"/>
                  </a:cubicBezTo>
                  <a:cubicBezTo>
                    <a:pt x="1112" y="1425"/>
                    <a:pt x="1130" y="1423"/>
                    <a:pt x="1140" y="1432"/>
                  </a:cubicBezTo>
                  <a:cubicBezTo>
                    <a:pt x="1140" y="1433"/>
                    <a:pt x="1141" y="1433"/>
                    <a:pt x="1141" y="1434"/>
                  </a:cubicBezTo>
                  <a:cubicBezTo>
                    <a:pt x="1142" y="1434"/>
                    <a:pt x="1142" y="1434"/>
                    <a:pt x="1142" y="1434"/>
                  </a:cubicBezTo>
                  <a:cubicBezTo>
                    <a:pt x="1142" y="1434"/>
                    <a:pt x="1142" y="1435"/>
                    <a:pt x="1142" y="1435"/>
                  </a:cubicBezTo>
                  <a:cubicBezTo>
                    <a:pt x="1143" y="1435"/>
                    <a:pt x="1143" y="1436"/>
                    <a:pt x="1143" y="1436"/>
                  </a:cubicBezTo>
                  <a:cubicBezTo>
                    <a:pt x="1144" y="1438"/>
                    <a:pt x="1144" y="1440"/>
                    <a:pt x="1144" y="1442"/>
                  </a:cubicBezTo>
                  <a:cubicBezTo>
                    <a:pt x="1143" y="1452"/>
                    <a:pt x="1135" y="1467"/>
                    <a:pt x="1133" y="1473"/>
                  </a:cubicBezTo>
                  <a:cubicBezTo>
                    <a:pt x="1133" y="1474"/>
                    <a:pt x="1133" y="1474"/>
                    <a:pt x="1133" y="1474"/>
                  </a:cubicBezTo>
                  <a:cubicBezTo>
                    <a:pt x="1132" y="1476"/>
                    <a:pt x="1131" y="1478"/>
                    <a:pt x="1130" y="1480"/>
                  </a:cubicBezTo>
                  <a:cubicBezTo>
                    <a:pt x="1130" y="1481"/>
                    <a:pt x="1130" y="1481"/>
                    <a:pt x="1130" y="1481"/>
                  </a:cubicBezTo>
                  <a:cubicBezTo>
                    <a:pt x="1130" y="1482"/>
                    <a:pt x="1129" y="1483"/>
                    <a:pt x="1129" y="1483"/>
                  </a:cubicBezTo>
                  <a:cubicBezTo>
                    <a:pt x="1129" y="1484"/>
                    <a:pt x="1128" y="1484"/>
                    <a:pt x="1128" y="1485"/>
                  </a:cubicBezTo>
                  <a:cubicBezTo>
                    <a:pt x="1128" y="1485"/>
                    <a:pt x="1127" y="1486"/>
                    <a:pt x="1127" y="1487"/>
                  </a:cubicBezTo>
                  <a:cubicBezTo>
                    <a:pt x="1126" y="1487"/>
                    <a:pt x="1126" y="1487"/>
                    <a:pt x="1126" y="1488"/>
                  </a:cubicBezTo>
                  <a:cubicBezTo>
                    <a:pt x="1125" y="1488"/>
                    <a:pt x="1125" y="1488"/>
                    <a:pt x="1125" y="1488"/>
                  </a:cubicBezTo>
                  <a:cubicBezTo>
                    <a:pt x="1124" y="1489"/>
                    <a:pt x="1124" y="1489"/>
                    <a:pt x="1124" y="1490"/>
                  </a:cubicBezTo>
                  <a:cubicBezTo>
                    <a:pt x="1122" y="1491"/>
                    <a:pt x="1121" y="1492"/>
                    <a:pt x="1119" y="1493"/>
                  </a:cubicBezTo>
                  <a:cubicBezTo>
                    <a:pt x="1117" y="1494"/>
                    <a:pt x="1115" y="1495"/>
                    <a:pt x="1114" y="1496"/>
                  </a:cubicBezTo>
                  <a:cubicBezTo>
                    <a:pt x="1113" y="1496"/>
                    <a:pt x="1113" y="1496"/>
                    <a:pt x="1113" y="1496"/>
                  </a:cubicBezTo>
                  <a:cubicBezTo>
                    <a:pt x="1112" y="1497"/>
                    <a:pt x="1112" y="1497"/>
                    <a:pt x="1112" y="1497"/>
                  </a:cubicBezTo>
                  <a:cubicBezTo>
                    <a:pt x="1106" y="1499"/>
                    <a:pt x="1100" y="1501"/>
                    <a:pt x="1095" y="1502"/>
                  </a:cubicBezTo>
                  <a:close/>
                  <a:moveTo>
                    <a:pt x="773" y="1710"/>
                  </a:moveTo>
                  <a:cubicBezTo>
                    <a:pt x="773" y="1710"/>
                    <a:pt x="773" y="1710"/>
                    <a:pt x="773" y="1710"/>
                  </a:cubicBezTo>
                  <a:cubicBezTo>
                    <a:pt x="771" y="1721"/>
                    <a:pt x="762" y="1732"/>
                    <a:pt x="756" y="1742"/>
                  </a:cubicBezTo>
                  <a:cubicBezTo>
                    <a:pt x="756" y="1742"/>
                    <a:pt x="756" y="1742"/>
                    <a:pt x="756" y="1742"/>
                  </a:cubicBezTo>
                  <a:cubicBezTo>
                    <a:pt x="750" y="1753"/>
                    <a:pt x="744" y="1767"/>
                    <a:pt x="736" y="1777"/>
                  </a:cubicBezTo>
                  <a:cubicBezTo>
                    <a:pt x="735" y="1778"/>
                    <a:pt x="735" y="1779"/>
                    <a:pt x="734" y="1781"/>
                  </a:cubicBezTo>
                  <a:cubicBezTo>
                    <a:pt x="734" y="1781"/>
                    <a:pt x="733" y="1781"/>
                    <a:pt x="733" y="1781"/>
                  </a:cubicBezTo>
                  <a:cubicBezTo>
                    <a:pt x="732" y="1782"/>
                    <a:pt x="731" y="1783"/>
                    <a:pt x="730" y="1784"/>
                  </a:cubicBezTo>
                  <a:cubicBezTo>
                    <a:pt x="729" y="1785"/>
                    <a:pt x="729" y="1785"/>
                    <a:pt x="728" y="1786"/>
                  </a:cubicBezTo>
                  <a:cubicBezTo>
                    <a:pt x="728" y="1786"/>
                    <a:pt x="728" y="1786"/>
                    <a:pt x="728" y="1786"/>
                  </a:cubicBezTo>
                  <a:cubicBezTo>
                    <a:pt x="719" y="1794"/>
                    <a:pt x="708" y="1799"/>
                    <a:pt x="696" y="1802"/>
                  </a:cubicBezTo>
                  <a:cubicBezTo>
                    <a:pt x="695" y="1803"/>
                    <a:pt x="693" y="1803"/>
                    <a:pt x="692" y="1804"/>
                  </a:cubicBezTo>
                  <a:cubicBezTo>
                    <a:pt x="685" y="1805"/>
                    <a:pt x="678" y="1806"/>
                    <a:pt x="671" y="1806"/>
                  </a:cubicBezTo>
                  <a:cubicBezTo>
                    <a:pt x="665" y="1806"/>
                    <a:pt x="665" y="1806"/>
                    <a:pt x="665" y="1806"/>
                  </a:cubicBezTo>
                  <a:cubicBezTo>
                    <a:pt x="665" y="1806"/>
                    <a:pt x="665" y="1806"/>
                    <a:pt x="665" y="1806"/>
                  </a:cubicBezTo>
                  <a:cubicBezTo>
                    <a:pt x="636" y="1806"/>
                    <a:pt x="607" y="1807"/>
                    <a:pt x="578" y="1807"/>
                  </a:cubicBezTo>
                  <a:cubicBezTo>
                    <a:pt x="575" y="1807"/>
                    <a:pt x="573" y="1806"/>
                    <a:pt x="571" y="1806"/>
                  </a:cubicBezTo>
                  <a:cubicBezTo>
                    <a:pt x="567" y="1806"/>
                    <a:pt x="563" y="1805"/>
                    <a:pt x="560" y="1804"/>
                  </a:cubicBezTo>
                  <a:cubicBezTo>
                    <a:pt x="555" y="1802"/>
                    <a:pt x="551" y="1800"/>
                    <a:pt x="549" y="1797"/>
                  </a:cubicBezTo>
                  <a:cubicBezTo>
                    <a:pt x="546" y="1794"/>
                    <a:pt x="545" y="1790"/>
                    <a:pt x="545" y="1786"/>
                  </a:cubicBezTo>
                  <a:cubicBezTo>
                    <a:pt x="545" y="1783"/>
                    <a:pt x="546" y="1780"/>
                    <a:pt x="548" y="1777"/>
                  </a:cubicBezTo>
                  <a:cubicBezTo>
                    <a:pt x="548" y="1776"/>
                    <a:pt x="549" y="1776"/>
                    <a:pt x="549" y="1776"/>
                  </a:cubicBezTo>
                  <a:cubicBezTo>
                    <a:pt x="549" y="1775"/>
                    <a:pt x="549" y="1774"/>
                    <a:pt x="550" y="1774"/>
                  </a:cubicBezTo>
                  <a:cubicBezTo>
                    <a:pt x="551" y="1772"/>
                    <a:pt x="551" y="1772"/>
                    <a:pt x="551" y="1772"/>
                  </a:cubicBezTo>
                  <a:cubicBezTo>
                    <a:pt x="551" y="1772"/>
                    <a:pt x="551" y="1772"/>
                    <a:pt x="551" y="1772"/>
                  </a:cubicBezTo>
                  <a:cubicBezTo>
                    <a:pt x="558" y="1761"/>
                    <a:pt x="566" y="1750"/>
                    <a:pt x="574" y="1739"/>
                  </a:cubicBezTo>
                  <a:cubicBezTo>
                    <a:pt x="579" y="1730"/>
                    <a:pt x="585" y="1720"/>
                    <a:pt x="592" y="1713"/>
                  </a:cubicBezTo>
                  <a:cubicBezTo>
                    <a:pt x="593" y="1712"/>
                    <a:pt x="593" y="1711"/>
                    <a:pt x="594" y="1710"/>
                  </a:cubicBezTo>
                  <a:cubicBezTo>
                    <a:pt x="594" y="1710"/>
                    <a:pt x="595" y="1710"/>
                    <a:pt x="595" y="1710"/>
                  </a:cubicBezTo>
                  <a:cubicBezTo>
                    <a:pt x="596" y="1708"/>
                    <a:pt x="598" y="1707"/>
                    <a:pt x="600" y="1705"/>
                  </a:cubicBezTo>
                  <a:cubicBezTo>
                    <a:pt x="600" y="1705"/>
                    <a:pt x="600" y="1705"/>
                    <a:pt x="600" y="1705"/>
                  </a:cubicBezTo>
                  <a:cubicBezTo>
                    <a:pt x="600" y="1705"/>
                    <a:pt x="600" y="1705"/>
                    <a:pt x="600" y="1705"/>
                  </a:cubicBezTo>
                  <a:cubicBezTo>
                    <a:pt x="610" y="1697"/>
                    <a:pt x="622" y="1692"/>
                    <a:pt x="635" y="1690"/>
                  </a:cubicBezTo>
                  <a:cubicBezTo>
                    <a:pt x="635" y="1690"/>
                    <a:pt x="635" y="1690"/>
                    <a:pt x="635" y="1690"/>
                  </a:cubicBezTo>
                  <a:cubicBezTo>
                    <a:pt x="636" y="1690"/>
                    <a:pt x="636" y="1690"/>
                    <a:pt x="636" y="1690"/>
                  </a:cubicBezTo>
                  <a:cubicBezTo>
                    <a:pt x="638" y="1689"/>
                    <a:pt x="640" y="1689"/>
                    <a:pt x="643" y="1688"/>
                  </a:cubicBezTo>
                  <a:cubicBezTo>
                    <a:pt x="644" y="1688"/>
                    <a:pt x="646" y="1688"/>
                    <a:pt x="647" y="1688"/>
                  </a:cubicBezTo>
                  <a:cubicBezTo>
                    <a:pt x="649" y="1688"/>
                    <a:pt x="650" y="1688"/>
                    <a:pt x="652" y="1688"/>
                  </a:cubicBezTo>
                  <a:cubicBezTo>
                    <a:pt x="653" y="1687"/>
                    <a:pt x="654" y="1687"/>
                    <a:pt x="655" y="1687"/>
                  </a:cubicBezTo>
                  <a:cubicBezTo>
                    <a:pt x="656" y="1687"/>
                    <a:pt x="656" y="1687"/>
                    <a:pt x="656" y="1687"/>
                  </a:cubicBezTo>
                  <a:cubicBezTo>
                    <a:pt x="656" y="1687"/>
                    <a:pt x="656" y="1687"/>
                    <a:pt x="656" y="1687"/>
                  </a:cubicBezTo>
                  <a:cubicBezTo>
                    <a:pt x="683" y="1687"/>
                    <a:pt x="709" y="1687"/>
                    <a:pt x="736" y="1687"/>
                  </a:cubicBezTo>
                  <a:cubicBezTo>
                    <a:pt x="736" y="1687"/>
                    <a:pt x="736" y="1687"/>
                    <a:pt x="736" y="1687"/>
                  </a:cubicBezTo>
                  <a:cubicBezTo>
                    <a:pt x="740" y="1687"/>
                    <a:pt x="740" y="1687"/>
                    <a:pt x="740" y="1687"/>
                  </a:cubicBezTo>
                  <a:cubicBezTo>
                    <a:pt x="747" y="1687"/>
                    <a:pt x="753" y="1688"/>
                    <a:pt x="757" y="1689"/>
                  </a:cubicBezTo>
                  <a:cubicBezTo>
                    <a:pt x="759" y="1690"/>
                    <a:pt x="760" y="1690"/>
                    <a:pt x="761" y="1691"/>
                  </a:cubicBezTo>
                  <a:cubicBezTo>
                    <a:pt x="761" y="1691"/>
                    <a:pt x="762" y="1691"/>
                    <a:pt x="763" y="1691"/>
                  </a:cubicBezTo>
                  <a:cubicBezTo>
                    <a:pt x="763" y="1692"/>
                    <a:pt x="763" y="1692"/>
                    <a:pt x="764" y="1692"/>
                  </a:cubicBezTo>
                  <a:cubicBezTo>
                    <a:pt x="771" y="1695"/>
                    <a:pt x="775" y="1701"/>
                    <a:pt x="773" y="1710"/>
                  </a:cubicBezTo>
                  <a:close/>
                  <a:moveTo>
                    <a:pt x="828" y="1613"/>
                  </a:moveTo>
                  <a:cubicBezTo>
                    <a:pt x="827" y="1614"/>
                    <a:pt x="827" y="1614"/>
                    <a:pt x="827" y="1614"/>
                  </a:cubicBezTo>
                  <a:cubicBezTo>
                    <a:pt x="827" y="1614"/>
                    <a:pt x="827" y="1614"/>
                    <a:pt x="827" y="1614"/>
                  </a:cubicBezTo>
                  <a:cubicBezTo>
                    <a:pt x="826" y="1616"/>
                    <a:pt x="825" y="1617"/>
                    <a:pt x="824" y="1619"/>
                  </a:cubicBezTo>
                  <a:cubicBezTo>
                    <a:pt x="824" y="1619"/>
                    <a:pt x="824" y="1619"/>
                    <a:pt x="823" y="1619"/>
                  </a:cubicBezTo>
                  <a:cubicBezTo>
                    <a:pt x="817" y="1627"/>
                    <a:pt x="807" y="1632"/>
                    <a:pt x="797" y="1635"/>
                  </a:cubicBezTo>
                  <a:cubicBezTo>
                    <a:pt x="797" y="1635"/>
                    <a:pt x="797" y="1635"/>
                    <a:pt x="797" y="1635"/>
                  </a:cubicBezTo>
                  <a:cubicBezTo>
                    <a:pt x="795" y="1636"/>
                    <a:pt x="794" y="1636"/>
                    <a:pt x="792" y="1636"/>
                  </a:cubicBezTo>
                  <a:cubicBezTo>
                    <a:pt x="791" y="1637"/>
                    <a:pt x="790" y="1637"/>
                    <a:pt x="789" y="1637"/>
                  </a:cubicBezTo>
                  <a:cubicBezTo>
                    <a:pt x="788" y="1637"/>
                    <a:pt x="788" y="1638"/>
                    <a:pt x="787" y="1638"/>
                  </a:cubicBezTo>
                  <a:cubicBezTo>
                    <a:pt x="781" y="1639"/>
                    <a:pt x="774" y="1640"/>
                    <a:pt x="768" y="1640"/>
                  </a:cubicBezTo>
                  <a:cubicBezTo>
                    <a:pt x="767" y="1640"/>
                    <a:pt x="767" y="1640"/>
                    <a:pt x="767" y="1640"/>
                  </a:cubicBezTo>
                  <a:cubicBezTo>
                    <a:pt x="756" y="1641"/>
                    <a:pt x="745" y="1640"/>
                    <a:pt x="735" y="1640"/>
                  </a:cubicBezTo>
                  <a:cubicBezTo>
                    <a:pt x="718" y="1640"/>
                    <a:pt x="702" y="1640"/>
                    <a:pt x="685" y="1640"/>
                  </a:cubicBezTo>
                  <a:cubicBezTo>
                    <a:pt x="683" y="1640"/>
                    <a:pt x="680" y="1640"/>
                    <a:pt x="677" y="1640"/>
                  </a:cubicBezTo>
                  <a:cubicBezTo>
                    <a:pt x="677" y="1640"/>
                    <a:pt x="677" y="1640"/>
                    <a:pt x="676" y="1640"/>
                  </a:cubicBezTo>
                  <a:cubicBezTo>
                    <a:pt x="674" y="1639"/>
                    <a:pt x="672" y="1639"/>
                    <a:pt x="669" y="1638"/>
                  </a:cubicBezTo>
                  <a:cubicBezTo>
                    <a:pt x="669" y="1638"/>
                    <a:pt x="669" y="1638"/>
                    <a:pt x="669" y="1638"/>
                  </a:cubicBezTo>
                  <a:cubicBezTo>
                    <a:pt x="669" y="1638"/>
                    <a:pt x="669" y="1638"/>
                    <a:pt x="669" y="1638"/>
                  </a:cubicBezTo>
                  <a:cubicBezTo>
                    <a:pt x="662" y="1636"/>
                    <a:pt x="655" y="1632"/>
                    <a:pt x="655" y="1624"/>
                  </a:cubicBezTo>
                  <a:cubicBezTo>
                    <a:pt x="655" y="1623"/>
                    <a:pt x="655" y="1621"/>
                    <a:pt x="656" y="1620"/>
                  </a:cubicBezTo>
                  <a:cubicBezTo>
                    <a:pt x="656" y="1619"/>
                    <a:pt x="656" y="1619"/>
                    <a:pt x="656" y="1618"/>
                  </a:cubicBezTo>
                  <a:cubicBezTo>
                    <a:pt x="657" y="1617"/>
                    <a:pt x="657" y="1616"/>
                    <a:pt x="658" y="1614"/>
                  </a:cubicBezTo>
                  <a:cubicBezTo>
                    <a:pt x="658" y="1614"/>
                    <a:pt x="658" y="1614"/>
                    <a:pt x="658" y="1614"/>
                  </a:cubicBezTo>
                  <a:cubicBezTo>
                    <a:pt x="659" y="1613"/>
                    <a:pt x="659" y="1613"/>
                    <a:pt x="659" y="1613"/>
                  </a:cubicBezTo>
                  <a:cubicBezTo>
                    <a:pt x="660" y="1612"/>
                    <a:pt x="661" y="1610"/>
                    <a:pt x="662" y="1609"/>
                  </a:cubicBezTo>
                  <a:cubicBezTo>
                    <a:pt x="670" y="1597"/>
                    <a:pt x="678" y="1585"/>
                    <a:pt x="686" y="1572"/>
                  </a:cubicBezTo>
                  <a:cubicBezTo>
                    <a:pt x="687" y="1572"/>
                    <a:pt x="687" y="1572"/>
                    <a:pt x="687" y="1572"/>
                  </a:cubicBezTo>
                  <a:cubicBezTo>
                    <a:pt x="689" y="1568"/>
                    <a:pt x="689" y="1568"/>
                    <a:pt x="689" y="1568"/>
                  </a:cubicBezTo>
                  <a:cubicBezTo>
                    <a:pt x="692" y="1565"/>
                    <a:pt x="695" y="1562"/>
                    <a:pt x="699" y="1559"/>
                  </a:cubicBezTo>
                  <a:cubicBezTo>
                    <a:pt x="702" y="1557"/>
                    <a:pt x="705" y="1555"/>
                    <a:pt x="708" y="1554"/>
                  </a:cubicBezTo>
                  <a:cubicBezTo>
                    <a:pt x="709" y="1553"/>
                    <a:pt x="710" y="1553"/>
                    <a:pt x="711" y="1552"/>
                  </a:cubicBezTo>
                  <a:cubicBezTo>
                    <a:pt x="712" y="1552"/>
                    <a:pt x="712" y="1552"/>
                    <a:pt x="713" y="1551"/>
                  </a:cubicBezTo>
                  <a:cubicBezTo>
                    <a:pt x="713" y="1551"/>
                    <a:pt x="714" y="1551"/>
                    <a:pt x="714" y="1551"/>
                  </a:cubicBezTo>
                  <a:cubicBezTo>
                    <a:pt x="715" y="1551"/>
                    <a:pt x="715" y="1551"/>
                    <a:pt x="716" y="1550"/>
                  </a:cubicBezTo>
                  <a:cubicBezTo>
                    <a:pt x="720" y="1549"/>
                    <a:pt x="725" y="1547"/>
                    <a:pt x="730" y="1546"/>
                  </a:cubicBezTo>
                  <a:cubicBezTo>
                    <a:pt x="735" y="1545"/>
                    <a:pt x="741" y="1544"/>
                    <a:pt x="747" y="1544"/>
                  </a:cubicBezTo>
                  <a:cubicBezTo>
                    <a:pt x="763" y="1544"/>
                    <a:pt x="763" y="1544"/>
                    <a:pt x="763" y="1544"/>
                  </a:cubicBezTo>
                  <a:cubicBezTo>
                    <a:pt x="767" y="1544"/>
                    <a:pt x="770" y="1544"/>
                    <a:pt x="774" y="1544"/>
                  </a:cubicBezTo>
                  <a:cubicBezTo>
                    <a:pt x="789" y="1544"/>
                    <a:pt x="803" y="1544"/>
                    <a:pt x="818" y="1544"/>
                  </a:cubicBezTo>
                  <a:cubicBezTo>
                    <a:pt x="818" y="1544"/>
                    <a:pt x="818" y="1544"/>
                    <a:pt x="818" y="1544"/>
                  </a:cubicBezTo>
                  <a:cubicBezTo>
                    <a:pt x="824" y="1544"/>
                    <a:pt x="824" y="1544"/>
                    <a:pt x="824" y="1544"/>
                  </a:cubicBezTo>
                  <a:cubicBezTo>
                    <a:pt x="830" y="1544"/>
                    <a:pt x="835" y="1545"/>
                    <a:pt x="839" y="1546"/>
                  </a:cubicBezTo>
                  <a:cubicBezTo>
                    <a:pt x="843" y="1547"/>
                    <a:pt x="845" y="1548"/>
                    <a:pt x="847" y="1549"/>
                  </a:cubicBezTo>
                  <a:cubicBezTo>
                    <a:pt x="854" y="1553"/>
                    <a:pt x="858" y="1559"/>
                    <a:pt x="853" y="1568"/>
                  </a:cubicBezTo>
                  <a:cubicBezTo>
                    <a:pt x="848" y="1579"/>
                    <a:pt x="841" y="1590"/>
                    <a:pt x="835" y="1600"/>
                  </a:cubicBezTo>
                  <a:cubicBezTo>
                    <a:pt x="828" y="1613"/>
                    <a:pt x="828" y="1613"/>
                    <a:pt x="828" y="1613"/>
                  </a:cubicBezTo>
                  <a:cubicBezTo>
                    <a:pt x="828" y="1613"/>
                    <a:pt x="828" y="1613"/>
                    <a:pt x="828" y="1613"/>
                  </a:cubicBezTo>
                  <a:close/>
                  <a:moveTo>
                    <a:pt x="1592" y="1771"/>
                  </a:moveTo>
                  <a:cubicBezTo>
                    <a:pt x="1592" y="1773"/>
                    <a:pt x="1592" y="1775"/>
                    <a:pt x="1591" y="1777"/>
                  </a:cubicBezTo>
                  <a:cubicBezTo>
                    <a:pt x="1591" y="1778"/>
                    <a:pt x="1591" y="1778"/>
                    <a:pt x="1591" y="1778"/>
                  </a:cubicBezTo>
                  <a:cubicBezTo>
                    <a:pt x="1590" y="1780"/>
                    <a:pt x="1590" y="1782"/>
                    <a:pt x="1589" y="1783"/>
                  </a:cubicBezTo>
                  <a:cubicBezTo>
                    <a:pt x="1589" y="1783"/>
                    <a:pt x="1589" y="1783"/>
                    <a:pt x="1589" y="1784"/>
                  </a:cubicBezTo>
                  <a:cubicBezTo>
                    <a:pt x="1588" y="1784"/>
                    <a:pt x="1588" y="1784"/>
                    <a:pt x="1588" y="1784"/>
                  </a:cubicBezTo>
                  <a:cubicBezTo>
                    <a:pt x="1587" y="1786"/>
                    <a:pt x="1586" y="1788"/>
                    <a:pt x="1584" y="1789"/>
                  </a:cubicBezTo>
                  <a:cubicBezTo>
                    <a:pt x="1584" y="1789"/>
                    <a:pt x="1584" y="1789"/>
                    <a:pt x="1584" y="1789"/>
                  </a:cubicBezTo>
                  <a:cubicBezTo>
                    <a:pt x="1582" y="1791"/>
                    <a:pt x="1581" y="1792"/>
                    <a:pt x="1579" y="1794"/>
                  </a:cubicBezTo>
                  <a:cubicBezTo>
                    <a:pt x="1578" y="1794"/>
                    <a:pt x="1578" y="1794"/>
                    <a:pt x="1578" y="1794"/>
                  </a:cubicBezTo>
                  <a:cubicBezTo>
                    <a:pt x="1578" y="1794"/>
                    <a:pt x="1577" y="1795"/>
                    <a:pt x="1577" y="1795"/>
                  </a:cubicBezTo>
                  <a:cubicBezTo>
                    <a:pt x="1575" y="1796"/>
                    <a:pt x="1573" y="1797"/>
                    <a:pt x="1571" y="1798"/>
                  </a:cubicBezTo>
                  <a:cubicBezTo>
                    <a:pt x="1571" y="1798"/>
                    <a:pt x="1571" y="1798"/>
                    <a:pt x="1570" y="1798"/>
                  </a:cubicBezTo>
                  <a:cubicBezTo>
                    <a:pt x="1569" y="1799"/>
                    <a:pt x="1567" y="1800"/>
                    <a:pt x="1566" y="1800"/>
                  </a:cubicBezTo>
                  <a:cubicBezTo>
                    <a:pt x="1565" y="1800"/>
                    <a:pt x="1564" y="1801"/>
                    <a:pt x="1563" y="1801"/>
                  </a:cubicBezTo>
                  <a:cubicBezTo>
                    <a:pt x="1563" y="1801"/>
                    <a:pt x="1563" y="1801"/>
                    <a:pt x="1562" y="1801"/>
                  </a:cubicBezTo>
                  <a:cubicBezTo>
                    <a:pt x="1562" y="1801"/>
                    <a:pt x="1561" y="1801"/>
                    <a:pt x="1561" y="1802"/>
                  </a:cubicBezTo>
                  <a:cubicBezTo>
                    <a:pt x="1559" y="1802"/>
                    <a:pt x="1557" y="1802"/>
                    <a:pt x="1555" y="1803"/>
                  </a:cubicBezTo>
                  <a:cubicBezTo>
                    <a:pt x="1553" y="1803"/>
                    <a:pt x="1551" y="1803"/>
                    <a:pt x="1550" y="1803"/>
                  </a:cubicBezTo>
                  <a:cubicBezTo>
                    <a:pt x="1548" y="1804"/>
                    <a:pt x="1546" y="1804"/>
                    <a:pt x="1544" y="1804"/>
                  </a:cubicBezTo>
                  <a:cubicBezTo>
                    <a:pt x="1544" y="1804"/>
                    <a:pt x="1543" y="1804"/>
                    <a:pt x="1542" y="1804"/>
                  </a:cubicBezTo>
                  <a:cubicBezTo>
                    <a:pt x="1540" y="1804"/>
                    <a:pt x="1540" y="1804"/>
                    <a:pt x="1540" y="1804"/>
                  </a:cubicBezTo>
                  <a:cubicBezTo>
                    <a:pt x="1540" y="1804"/>
                    <a:pt x="1540" y="1804"/>
                    <a:pt x="1540" y="1804"/>
                  </a:cubicBezTo>
                  <a:cubicBezTo>
                    <a:pt x="1530" y="1804"/>
                    <a:pt x="1519" y="1804"/>
                    <a:pt x="1509" y="1804"/>
                  </a:cubicBezTo>
                  <a:cubicBezTo>
                    <a:pt x="1461" y="1804"/>
                    <a:pt x="908" y="1806"/>
                    <a:pt x="869" y="1806"/>
                  </a:cubicBezTo>
                  <a:cubicBezTo>
                    <a:pt x="866" y="1806"/>
                    <a:pt x="863" y="1806"/>
                    <a:pt x="861" y="1805"/>
                  </a:cubicBezTo>
                  <a:cubicBezTo>
                    <a:pt x="857" y="1805"/>
                    <a:pt x="853" y="1804"/>
                    <a:pt x="850" y="1803"/>
                  </a:cubicBezTo>
                  <a:cubicBezTo>
                    <a:pt x="845" y="1802"/>
                    <a:pt x="841" y="1799"/>
                    <a:pt x="838" y="1796"/>
                  </a:cubicBezTo>
                  <a:cubicBezTo>
                    <a:pt x="835" y="1793"/>
                    <a:pt x="833" y="1790"/>
                    <a:pt x="832" y="1786"/>
                  </a:cubicBezTo>
                  <a:cubicBezTo>
                    <a:pt x="832" y="1782"/>
                    <a:pt x="832" y="1778"/>
                    <a:pt x="834" y="1773"/>
                  </a:cubicBezTo>
                  <a:cubicBezTo>
                    <a:pt x="836" y="1771"/>
                    <a:pt x="836" y="1771"/>
                    <a:pt x="836" y="1771"/>
                  </a:cubicBezTo>
                  <a:cubicBezTo>
                    <a:pt x="836" y="1771"/>
                    <a:pt x="836" y="1771"/>
                    <a:pt x="836" y="1771"/>
                  </a:cubicBezTo>
                  <a:cubicBezTo>
                    <a:pt x="842" y="1758"/>
                    <a:pt x="848" y="1745"/>
                    <a:pt x="854" y="1732"/>
                  </a:cubicBezTo>
                  <a:cubicBezTo>
                    <a:pt x="856" y="1730"/>
                    <a:pt x="857" y="1728"/>
                    <a:pt x="858" y="1726"/>
                  </a:cubicBezTo>
                  <a:cubicBezTo>
                    <a:pt x="862" y="1716"/>
                    <a:pt x="862" y="1716"/>
                    <a:pt x="862" y="1716"/>
                  </a:cubicBezTo>
                  <a:cubicBezTo>
                    <a:pt x="864" y="1712"/>
                    <a:pt x="868" y="1708"/>
                    <a:pt x="872" y="1704"/>
                  </a:cubicBezTo>
                  <a:cubicBezTo>
                    <a:pt x="873" y="1704"/>
                    <a:pt x="874" y="1703"/>
                    <a:pt x="875" y="1702"/>
                  </a:cubicBezTo>
                  <a:cubicBezTo>
                    <a:pt x="875" y="1702"/>
                    <a:pt x="876" y="1701"/>
                    <a:pt x="877" y="1701"/>
                  </a:cubicBezTo>
                  <a:cubicBezTo>
                    <a:pt x="878" y="1700"/>
                    <a:pt x="878" y="1700"/>
                    <a:pt x="879" y="1699"/>
                  </a:cubicBezTo>
                  <a:cubicBezTo>
                    <a:pt x="880" y="1699"/>
                    <a:pt x="880" y="1699"/>
                    <a:pt x="880" y="1699"/>
                  </a:cubicBezTo>
                  <a:cubicBezTo>
                    <a:pt x="881" y="1698"/>
                    <a:pt x="881" y="1698"/>
                    <a:pt x="882" y="1698"/>
                  </a:cubicBezTo>
                  <a:cubicBezTo>
                    <a:pt x="883" y="1697"/>
                    <a:pt x="885" y="1696"/>
                    <a:pt x="886" y="1695"/>
                  </a:cubicBezTo>
                  <a:cubicBezTo>
                    <a:pt x="887" y="1695"/>
                    <a:pt x="888" y="1695"/>
                    <a:pt x="889" y="1694"/>
                  </a:cubicBezTo>
                  <a:cubicBezTo>
                    <a:pt x="890" y="1694"/>
                    <a:pt x="891" y="1693"/>
                    <a:pt x="893" y="1693"/>
                  </a:cubicBezTo>
                  <a:cubicBezTo>
                    <a:pt x="895" y="1692"/>
                    <a:pt x="897" y="1691"/>
                    <a:pt x="899" y="1690"/>
                  </a:cubicBezTo>
                  <a:cubicBezTo>
                    <a:pt x="900" y="1690"/>
                    <a:pt x="901" y="1690"/>
                    <a:pt x="903" y="1689"/>
                  </a:cubicBezTo>
                  <a:cubicBezTo>
                    <a:pt x="903" y="1689"/>
                    <a:pt x="904" y="1689"/>
                    <a:pt x="904" y="1689"/>
                  </a:cubicBezTo>
                  <a:cubicBezTo>
                    <a:pt x="910" y="1687"/>
                    <a:pt x="917" y="1687"/>
                    <a:pt x="923" y="1687"/>
                  </a:cubicBezTo>
                  <a:cubicBezTo>
                    <a:pt x="923" y="1687"/>
                    <a:pt x="1503" y="1685"/>
                    <a:pt x="1525" y="1685"/>
                  </a:cubicBezTo>
                  <a:cubicBezTo>
                    <a:pt x="1531" y="1685"/>
                    <a:pt x="1538" y="1685"/>
                    <a:pt x="1545" y="1685"/>
                  </a:cubicBezTo>
                  <a:cubicBezTo>
                    <a:pt x="1548" y="1685"/>
                    <a:pt x="1551" y="1685"/>
                    <a:pt x="1554" y="1686"/>
                  </a:cubicBezTo>
                  <a:cubicBezTo>
                    <a:pt x="1554" y="1686"/>
                    <a:pt x="1555" y="1686"/>
                    <a:pt x="1555" y="1686"/>
                  </a:cubicBezTo>
                  <a:cubicBezTo>
                    <a:pt x="1557" y="1686"/>
                    <a:pt x="1560" y="1686"/>
                    <a:pt x="1562" y="1687"/>
                  </a:cubicBezTo>
                  <a:cubicBezTo>
                    <a:pt x="1562" y="1687"/>
                    <a:pt x="1563" y="1687"/>
                    <a:pt x="1563" y="1687"/>
                  </a:cubicBezTo>
                  <a:cubicBezTo>
                    <a:pt x="1563" y="1687"/>
                    <a:pt x="1563" y="1687"/>
                    <a:pt x="1563" y="1687"/>
                  </a:cubicBezTo>
                  <a:cubicBezTo>
                    <a:pt x="1566" y="1688"/>
                    <a:pt x="1568" y="1689"/>
                    <a:pt x="1570" y="1690"/>
                  </a:cubicBezTo>
                  <a:cubicBezTo>
                    <a:pt x="1570" y="1690"/>
                    <a:pt x="1571" y="1690"/>
                    <a:pt x="1571" y="1690"/>
                  </a:cubicBezTo>
                  <a:cubicBezTo>
                    <a:pt x="1573" y="1691"/>
                    <a:pt x="1575" y="1692"/>
                    <a:pt x="1577" y="1693"/>
                  </a:cubicBezTo>
                  <a:cubicBezTo>
                    <a:pt x="1577" y="1693"/>
                    <a:pt x="1577" y="1693"/>
                    <a:pt x="1578" y="1693"/>
                  </a:cubicBezTo>
                  <a:cubicBezTo>
                    <a:pt x="1578" y="1694"/>
                    <a:pt x="1578" y="1694"/>
                    <a:pt x="1578" y="1694"/>
                  </a:cubicBezTo>
                  <a:cubicBezTo>
                    <a:pt x="1580" y="1695"/>
                    <a:pt x="1581" y="1696"/>
                    <a:pt x="1582" y="1697"/>
                  </a:cubicBezTo>
                  <a:cubicBezTo>
                    <a:pt x="1584" y="1698"/>
                    <a:pt x="1586" y="1700"/>
                    <a:pt x="1588" y="1703"/>
                  </a:cubicBezTo>
                  <a:cubicBezTo>
                    <a:pt x="1590" y="1706"/>
                    <a:pt x="1592" y="1710"/>
                    <a:pt x="1592" y="1714"/>
                  </a:cubicBezTo>
                  <a:cubicBezTo>
                    <a:pt x="1592" y="1717"/>
                    <a:pt x="1592" y="1717"/>
                    <a:pt x="1592" y="1717"/>
                  </a:cubicBezTo>
                  <a:cubicBezTo>
                    <a:pt x="1592" y="1717"/>
                    <a:pt x="1592" y="1717"/>
                    <a:pt x="1592" y="1717"/>
                  </a:cubicBezTo>
                  <a:cubicBezTo>
                    <a:pt x="1592" y="1731"/>
                    <a:pt x="1592" y="1746"/>
                    <a:pt x="1592" y="1760"/>
                  </a:cubicBezTo>
                  <a:cubicBezTo>
                    <a:pt x="1592" y="1764"/>
                    <a:pt x="1593" y="1767"/>
                    <a:pt x="1592" y="1771"/>
                  </a:cubicBezTo>
                  <a:close/>
                  <a:moveTo>
                    <a:pt x="1671" y="1490"/>
                  </a:moveTo>
                  <a:cubicBezTo>
                    <a:pt x="1671" y="1490"/>
                    <a:pt x="1670" y="1489"/>
                    <a:pt x="1670" y="1489"/>
                  </a:cubicBezTo>
                  <a:cubicBezTo>
                    <a:pt x="1670" y="1489"/>
                    <a:pt x="1669" y="1489"/>
                    <a:pt x="1669" y="1488"/>
                  </a:cubicBezTo>
                  <a:cubicBezTo>
                    <a:pt x="1667" y="1486"/>
                    <a:pt x="1666" y="1483"/>
                    <a:pt x="1665" y="1480"/>
                  </a:cubicBezTo>
                  <a:cubicBezTo>
                    <a:pt x="1665" y="1477"/>
                    <a:pt x="1665" y="1477"/>
                    <a:pt x="1665" y="1477"/>
                  </a:cubicBezTo>
                  <a:cubicBezTo>
                    <a:pt x="1665" y="1475"/>
                    <a:pt x="1665" y="1473"/>
                    <a:pt x="1665" y="1471"/>
                  </a:cubicBezTo>
                  <a:cubicBezTo>
                    <a:pt x="1665" y="1471"/>
                    <a:pt x="1665" y="1471"/>
                    <a:pt x="1665" y="1471"/>
                  </a:cubicBezTo>
                  <a:cubicBezTo>
                    <a:pt x="1664" y="1463"/>
                    <a:pt x="1662" y="1454"/>
                    <a:pt x="1663" y="1445"/>
                  </a:cubicBezTo>
                  <a:cubicBezTo>
                    <a:pt x="1663" y="1443"/>
                    <a:pt x="1663" y="1443"/>
                    <a:pt x="1663" y="1443"/>
                  </a:cubicBezTo>
                  <a:cubicBezTo>
                    <a:pt x="1662" y="1440"/>
                    <a:pt x="1663" y="1437"/>
                    <a:pt x="1665" y="1435"/>
                  </a:cubicBezTo>
                  <a:cubicBezTo>
                    <a:pt x="1667" y="1433"/>
                    <a:pt x="1669" y="1431"/>
                    <a:pt x="1673" y="1429"/>
                  </a:cubicBezTo>
                  <a:cubicBezTo>
                    <a:pt x="1676" y="1427"/>
                    <a:pt x="1680" y="1426"/>
                    <a:pt x="1684" y="1425"/>
                  </a:cubicBezTo>
                  <a:cubicBezTo>
                    <a:pt x="1684" y="1425"/>
                    <a:pt x="1684" y="1425"/>
                    <a:pt x="1684" y="1425"/>
                  </a:cubicBezTo>
                  <a:cubicBezTo>
                    <a:pt x="1685" y="1425"/>
                    <a:pt x="1685" y="1425"/>
                    <a:pt x="1685" y="1425"/>
                  </a:cubicBezTo>
                  <a:cubicBezTo>
                    <a:pt x="1687" y="1424"/>
                    <a:pt x="1689" y="1424"/>
                    <a:pt x="1690" y="1424"/>
                  </a:cubicBezTo>
                  <a:cubicBezTo>
                    <a:pt x="1691" y="1424"/>
                    <a:pt x="1692" y="1424"/>
                    <a:pt x="1693" y="1424"/>
                  </a:cubicBezTo>
                  <a:cubicBezTo>
                    <a:pt x="1700" y="1423"/>
                    <a:pt x="1708" y="1423"/>
                    <a:pt x="1716" y="1423"/>
                  </a:cubicBezTo>
                  <a:cubicBezTo>
                    <a:pt x="1769" y="1423"/>
                    <a:pt x="1769" y="1423"/>
                    <a:pt x="1769" y="1423"/>
                  </a:cubicBezTo>
                  <a:cubicBezTo>
                    <a:pt x="1772" y="1423"/>
                    <a:pt x="1775" y="1423"/>
                    <a:pt x="1778" y="1424"/>
                  </a:cubicBezTo>
                  <a:cubicBezTo>
                    <a:pt x="1792" y="1425"/>
                    <a:pt x="1808" y="1429"/>
                    <a:pt x="1810" y="1442"/>
                  </a:cubicBezTo>
                  <a:cubicBezTo>
                    <a:pt x="1814" y="1454"/>
                    <a:pt x="1815" y="1466"/>
                    <a:pt x="1817" y="1478"/>
                  </a:cubicBezTo>
                  <a:cubicBezTo>
                    <a:pt x="1818" y="1480"/>
                    <a:pt x="1818" y="1480"/>
                    <a:pt x="1818" y="1480"/>
                  </a:cubicBezTo>
                  <a:cubicBezTo>
                    <a:pt x="1818" y="1482"/>
                    <a:pt x="1818" y="1485"/>
                    <a:pt x="1817" y="1487"/>
                  </a:cubicBezTo>
                  <a:cubicBezTo>
                    <a:pt x="1817" y="1487"/>
                    <a:pt x="1817" y="1488"/>
                    <a:pt x="1816" y="1488"/>
                  </a:cubicBezTo>
                  <a:cubicBezTo>
                    <a:pt x="1816" y="1488"/>
                    <a:pt x="1816" y="1488"/>
                    <a:pt x="1816" y="1488"/>
                  </a:cubicBezTo>
                  <a:cubicBezTo>
                    <a:pt x="1816" y="1488"/>
                    <a:pt x="1816" y="1488"/>
                    <a:pt x="1816" y="1488"/>
                  </a:cubicBezTo>
                  <a:cubicBezTo>
                    <a:pt x="1813" y="1494"/>
                    <a:pt x="1807" y="1497"/>
                    <a:pt x="1799" y="1499"/>
                  </a:cubicBezTo>
                  <a:cubicBezTo>
                    <a:pt x="1798" y="1499"/>
                    <a:pt x="1798" y="1499"/>
                    <a:pt x="1797" y="1499"/>
                  </a:cubicBezTo>
                  <a:cubicBezTo>
                    <a:pt x="1796" y="1500"/>
                    <a:pt x="1796" y="1500"/>
                    <a:pt x="1795" y="1500"/>
                  </a:cubicBezTo>
                  <a:cubicBezTo>
                    <a:pt x="1794" y="1500"/>
                    <a:pt x="1794" y="1500"/>
                    <a:pt x="1793" y="1500"/>
                  </a:cubicBezTo>
                  <a:cubicBezTo>
                    <a:pt x="1792" y="1500"/>
                    <a:pt x="1790" y="1501"/>
                    <a:pt x="1789" y="1501"/>
                  </a:cubicBezTo>
                  <a:cubicBezTo>
                    <a:pt x="1771" y="1503"/>
                    <a:pt x="1750" y="1501"/>
                    <a:pt x="1741" y="1501"/>
                  </a:cubicBezTo>
                  <a:cubicBezTo>
                    <a:pt x="1707" y="1501"/>
                    <a:pt x="1707" y="1501"/>
                    <a:pt x="1707" y="1501"/>
                  </a:cubicBezTo>
                  <a:cubicBezTo>
                    <a:pt x="1704" y="1501"/>
                    <a:pt x="1702" y="1501"/>
                    <a:pt x="1699" y="1501"/>
                  </a:cubicBezTo>
                  <a:cubicBezTo>
                    <a:pt x="1697" y="1501"/>
                    <a:pt x="1695" y="1500"/>
                    <a:pt x="1693" y="1500"/>
                  </a:cubicBezTo>
                  <a:cubicBezTo>
                    <a:pt x="1693" y="1500"/>
                    <a:pt x="1692" y="1500"/>
                    <a:pt x="1692" y="1500"/>
                  </a:cubicBezTo>
                  <a:cubicBezTo>
                    <a:pt x="1691" y="1500"/>
                    <a:pt x="1691" y="1500"/>
                    <a:pt x="1691" y="1500"/>
                  </a:cubicBezTo>
                  <a:cubicBezTo>
                    <a:pt x="1689" y="1499"/>
                    <a:pt x="1687" y="1499"/>
                    <a:pt x="1685" y="1498"/>
                  </a:cubicBezTo>
                  <a:cubicBezTo>
                    <a:pt x="1684" y="1498"/>
                    <a:pt x="1684" y="1497"/>
                    <a:pt x="1683" y="1497"/>
                  </a:cubicBezTo>
                  <a:cubicBezTo>
                    <a:pt x="1681" y="1496"/>
                    <a:pt x="1680" y="1496"/>
                    <a:pt x="1678" y="1495"/>
                  </a:cubicBezTo>
                  <a:cubicBezTo>
                    <a:pt x="1676" y="1494"/>
                    <a:pt x="1674" y="1492"/>
                    <a:pt x="1672" y="1491"/>
                  </a:cubicBezTo>
                  <a:cubicBezTo>
                    <a:pt x="1672" y="1491"/>
                    <a:pt x="1671" y="1490"/>
                    <a:pt x="1671" y="1490"/>
                  </a:cubicBezTo>
                  <a:close/>
                  <a:moveTo>
                    <a:pt x="1680" y="1622"/>
                  </a:moveTo>
                  <a:cubicBezTo>
                    <a:pt x="1677" y="1618"/>
                    <a:pt x="1676" y="1615"/>
                    <a:pt x="1675" y="1612"/>
                  </a:cubicBezTo>
                  <a:cubicBezTo>
                    <a:pt x="1675" y="1607"/>
                    <a:pt x="1675" y="1607"/>
                    <a:pt x="1675" y="1607"/>
                  </a:cubicBezTo>
                  <a:cubicBezTo>
                    <a:pt x="1675" y="1607"/>
                    <a:pt x="1675" y="1607"/>
                    <a:pt x="1675" y="1607"/>
                  </a:cubicBezTo>
                  <a:cubicBezTo>
                    <a:pt x="1674" y="1593"/>
                    <a:pt x="1673" y="1580"/>
                    <a:pt x="1672" y="1567"/>
                  </a:cubicBezTo>
                  <a:cubicBezTo>
                    <a:pt x="1672" y="1567"/>
                    <a:pt x="1672" y="1567"/>
                    <a:pt x="1672" y="1567"/>
                  </a:cubicBezTo>
                  <a:cubicBezTo>
                    <a:pt x="1672" y="1566"/>
                    <a:pt x="1672" y="1566"/>
                    <a:pt x="1672" y="1566"/>
                  </a:cubicBezTo>
                  <a:cubicBezTo>
                    <a:pt x="1672" y="1565"/>
                    <a:pt x="1672" y="1564"/>
                    <a:pt x="1672" y="1563"/>
                  </a:cubicBezTo>
                  <a:cubicBezTo>
                    <a:pt x="1675" y="1535"/>
                    <a:pt x="1735" y="1542"/>
                    <a:pt x="1754" y="1542"/>
                  </a:cubicBezTo>
                  <a:cubicBezTo>
                    <a:pt x="1776" y="1542"/>
                    <a:pt x="1819" y="1537"/>
                    <a:pt x="1832" y="1559"/>
                  </a:cubicBezTo>
                  <a:cubicBezTo>
                    <a:pt x="1833" y="1561"/>
                    <a:pt x="1835" y="1563"/>
                    <a:pt x="1835" y="1565"/>
                  </a:cubicBezTo>
                  <a:cubicBezTo>
                    <a:pt x="1836" y="1568"/>
                    <a:pt x="1836" y="1568"/>
                    <a:pt x="1836" y="1568"/>
                  </a:cubicBezTo>
                  <a:cubicBezTo>
                    <a:pt x="1836" y="1568"/>
                    <a:pt x="1836" y="1568"/>
                    <a:pt x="1836" y="1568"/>
                  </a:cubicBezTo>
                  <a:cubicBezTo>
                    <a:pt x="1837" y="1575"/>
                    <a:pt x="1838" y="1581"/>
                    <a:pt x="1840" y="1588"/>
                  </a:cubicBezTo>
                  <a:cubicBezTo>
                    <a:pt x="1844" y="1611"/>
                    <a:pt x="1844" y="1611"/>
                    <a:pt x="1844" y="1611"/>
                  </a:cubicBezTo>
                  <a:cubicBezTo>
                    <a:pt x="1845" y="1615"/>
                    <a:pt x="1844" y="1618"/>
                    <a:pt x="1843" y="1621"/>
                  </a:cubicBezTo>
                  <a:cubicBezTo>
                    <a:pt x="1842" y="1623"/>
                    <a:pt x="1840" y="1625"/>
                    <a:pt x="1838" y="1627"/>
                  </a:cubicBezTo>
                  <a:cubicBezTo>
                    <a:pt x="1838" y="1627"/>
                    <a:pt x="1837" y="1628"/>
                    <a:pt x="1836" y="1629"/>
                  </a:cubicBezTo>
                  <a:cubicBezTo>
                    <a:pt x="1836" y="1629"/>
                    <a:pt x="1835" y="1629"/>
                    <a:pt x="1835" y="1630"/>
                  </a:cubicBezTo>
                  <a:cubicBezTo>
                    <a:pt x="1835" y="1630"/>
                    <a:pt x="1834" y="1630"/>
                    <a:pt x="1834" y="1630"/>
                  </a:cubicBezTo>
                  <a:cubicBezTo>
                    <a:pt x="1833" y="1631"/>
                    <a:pt x="1832" y="1631"/>
                    <a:pt x="1830" y="1632"/>
                  </a:cubicBezTo>
                  <a:cubicBezTo>
                    <a:pt x="1829" y="1633"/>
                    <a:pt x="1828" y="1633"/>
                    <a:pt x="1827" y="1634"/>
                  </a:cubicBezTo>
                  <a:cubicBezTo>
                    <a:pt x="1826" y="1634"/>
                    <a:pt x="1825" y="1634"/>
                    <a:pt x="1825" y="1634"/>
                  </a:cubicBezTo>
                  <a:cubicBezTo>
                    <a:pt x="1824" y="1635"/>
                    <a:pt x="1823" y="1635"/>
                    <a:pt x="1822" y="1635"/>
                  </a:cubicBezTo>
                  <a:cubicBezTo>
                    <a:pt x="1821" y="1635"/>
                    <a:pt x="1820" y="1636"/>
                    <a:pt x="1819" y="1636"/>
                  </a:cubicBezTo>
                  <a:cubicBezTo>
                    <a:pt x="1818" y="1636"/>
                    <a:pt x="1818" y="1636"/>
                    <a:pt x="1818" y="1636"/>
                  </a:cubicBezTo>
                  <a:cubicBezTo>
                    <a:pt x="1816" y="1636"/>
                    <a:pt x="1814" y="1637"/>
                    <a:pt x="1812" y="1637"/>
                  </a:cubicBezTo>
                  <a:cubicBezTo>
                    <a:pt x="1809" y="1637"/>
                    <a:pt x="1807" y="1637"/>
                    <a:pt x="1805" y="1637"/>
                  </a:cubicBezTo>
                  <a:cubicBezTo>
                    <a:pt x="1805" y="1637"/>
                    <a:pt x="1805" y="1637"/>
                    <a:pt x="1805" y="1637"/>
                  </a:cubicBezTo>
                  <a:cubicBezTo>
                    <a:pt x="1804" y="1637"/>
                    <a:pt x="1804" y="1637"/>
                    <a:pt x="1804" y="1637"/>
                  </a:cubicBezTo>
                  <a:cubicBezTo>
                    <a:pt x="1804" y="1637"/>
                    <a:pt x="1804" y="1637"/>
                    <a:pt x="1804" y="1637"/>
                  </a:cubicBezTo>
                  <a:cubicBezTo>
                    <a:pt x="1777" y="1637"/>
                    <a:pt x="1750" y="1637"/>
                    <a:pt x="1722" y="1638"/>
                  </a:cubicBezTo>
                  <a:cubicBezTo>
                    <a:pt x="1719" y="1638"/>
                    <a:pt x="1716" y="1637"/>
                    <a:pt x="1714" y="1637"/>
                  </a:cubicBezTo>
                  <a:cubicBezTo>
                    <a:pt x="1713" y="1637"/>
                    <a:pt x="1712" y="1637"/>
                    <a:pt x="1712" y="1637"/>
                  </a:cubicBezTo>
                  <a:cubicBezTo>
                    <a:pt x="1709" y="1636"/>
                    <a:pt x="1707" y="1636"/>
                    <a:pt x="1705" y="1636"/>
                  </a:cubicBezTo>
                  <a:cubicBezTo>
                    <a:pt x="1705" y="1636"/>
                    <a:pt x="1705" y="1636"/>
                    <a:pt x="1705" y="1636"/>
                  </a:cubicBezTo>
                  <a:cubicBezTo>
                    <a:pt x="1704" y="1635"/>
                    <a:pt x="1704" y="1635"/>
                    <a:pt x="1704" y="1635"/>
                  </a:cubicBezTo>
                  <a:cubicBezTo>
                    <a:pt x="1701" y="1635"/>
                    <a:pt x="1699" y="1634"/>
                    <a:pt x="1697" y="1633"/>
                  </a:cubicBezTo>
                  <a:cubicBezTo>
                    <a:pt x="1696" y="1633"/>
                    <a:pt x="1695" y="1632"/>
                    <a:pt x="1695" y="1632"/>
                  </a:cubicBezTo>
                  <a:cubicBezTo>
                    <a:pt x="1693" y="1632"/>
                    <a:pt x="1692" y="1631"/>
                    <a:pt x="1691" y="1630"/>
                  </a:cubicBezTo>
                  <a:cubicBezTo>
                    <a:pt x="1691" y="1630"/>
                    <a:pt x="1690" y="1630"/>
                    <a:pt x="1690" y="1630"/>
                  </a:cubicBezTo>
                  <a:cubicBezTo>
                    <a:pt x="1686" y="1628"/>
                    <a:pt x="1682" y="1625"/>
                    <a:pt x="1680" y="1622"/>
                  </a:cubicBezTo>
                  <a:close/>
                  <a:moveTo>
                    <a:pt x="1875" y="1783"/>
                  </a:moveTo>
                  <a:cubicBezTo>
                    <a:pt x="1873" y="1787"/>
                    <a:pt x="1870" y="1790"/>
                    <a:pt x="1866" y="1793"/>
                  </a:cubicBezTo>
                  <a:cubicBezTo>
                    <a:pt x="1862" y="1796"/>
                    <a:pt x="1858" y="1799"/>
                    <a:pt x="1852" y="1800"/>
                  </a:cubicBezTo>
                  <a:cubicBezTo>
                    <a:pt x="1846" y="1802"/>
                    <a:pt x="1840" y="1803"/>
                    <a:pt x="1833" y="1803"/>
                  </a:cubicBezTo>
                  <a:cubicBezTo>
                    <a:pt x="1815" y="1803"/>
                    <a:pt x="1815" y="1803"/>
                    <a:pt x="1815" y="1803"/>
                  </a:cubicBezTo>
                  <a:cubicBezTo>
                    <a:pt x="1814" y="1803"/>
                    <a:pt x="1814" y="1803"/>
                    <a:pt x="1814" y="1803"/>
                  </a:cubicBezTo>
                  <a:cubicBezTo>
                    <a:pt x="1789" y="1803"/>
                    <a:pt x="1765" y="1803"/>
                    <a:pt x="1740" y="1803"/>
                  </a:cubicBezTo>
                  <a:cubicBezTo>
                    <a:pt x="1737" y="1803"/>
                    <a:pt x="1734" y="1803"/>
                    <a:pt x="1731" y="1803"/>
                  </a:cubicBezTo>
                  <a:cubicBezTo>
                    <a:pt x="1730" y="1803"/>
                    <a:pt x="1730" y="1803"/>
                    <a:pt x="1729" y="1803"/>
                  </a:cubicBezTo>
                  <a:cubicBezTo>
                    <a:pt x="1726" y="1802"/>
                    <a:pt x="1724" y="1802"/>
                    <a:pt x="1721" y="1801"/>
                  </a:cubicBezTo>
                  <a:cubicBezTo>
                    <a:pt x="1721" y="1801"/>
                    <a:pt x="1721" y="1801"/>
                    <a:pt x="1720" y="1801"/>
                  </a:cubicBezTo>
                  <a:cubicBezTo>
                    <a:pt x="1720" y="1801"/>
                    <a:pt x="1720" y="1801"/>
                    <a:pt x="1720" y="1801"/>
                  </a:cubicBezTo>
                  <a:cubicBezTo>
                    <a:pt x="1709" y="1798"/>
                    <a:pt x="1698" y="1792"/>
                    <a:pt x="1692" y="1783"/>
                  </a:cubicBezTo>
                  <a:cubicBezTo>
                    <a:pt x="1692" y="1783"/>
                    <a:pt x="1692" y="1783"/>
                    <a:pt x="1692" y="1783"/>
                  </a:cubicBezTo>
                  <a:cubicBezTo>
                    <a:pt x="1692" y="1783"/>
                    <a:pt x="1692" y="1783"/>
                    <a:pt x="1692" y="1783"/>
                  </a:cubicBezTo>
                  <a:cubicBezTo>
                    <a:pt x="1691" y="1782"/>
                    <a:pt x="1690" y="1780"/>
                    <a:pt x="1690" y="1778"/>
                  </a:cubicBezTo>
                  <a:cubicBezTo>
                    <a:pt x="1689" y="1777"/>
                    <a:pt x="1689" y="1776"/>
                    <a:pt x="1689" y="1775"/>
                  </a:cubicBezTo>
                  <a:cubicBezTo>
                    <a:pt x="1688" y="1774"/>
                    <a:pt x="1688" y="1773"/>
                    <a:pt x="1688" y="1772"/>
                  </a:cubicBezTo>
                  <a:cubicBezTo>
                    <a:pt x="1688" y="1772"/>
                    <a:pt x="1688" y="1771"/>
                    <a:pt x="1688" y="1771"/>
                  </a:cubicBezTo>
                  <a:cubicBezTo>
                    <a:pt x="1687" y="1769"/>
                    <a:pt x="1687" y="1769"/>
                    <a:pt x="1687" y="1769"/>
                  </a:cubicBezTo>
                  <a:cubicBezTo>
                    <a:pt x="1687" y="1769"/>
                    <a:pt x="1687" y="1769"/>
                    <a:pt x="1687" y="1769"/>
                  </a:cubicBezTo>
                  <a:cubicBezTo>
                    <a:pt x="1686" y="1756"/>
                    <a:pt x="1685" y="1742"/>
                    <a:pt x="1684" y="1728"/>
                  </a:cubicBezTo>
                  <a:cubicBezTo>
                    <a:pt x="1684" y="1725"/>
                    <a:pt x="1684" y="1723"/>
                    <a:pt x="1684" y="1721"/>
                  </a:cubicBezTo>
                  <a:cubicBezTo>
                    <a:pt x="1683" y="1714"/>
                    <a:pt x="1683" y="1714"/>
                    <a:pt x="1683" y="1714"/>
                  </a:cubicBezTo>
                  <a:cubicBezTo>
                    <a:pt x="1683" y="1713"/>
                    <a:pt x="1683" y="1713"/>
                    <a:pt x="1683" y="1713"/>
                  </a:cubicBezTo>
                  <a:cubicBezTo>
                    <a:pt x="1683" y="1711"/>
                    <a:pt x="1683" y="1710"/>
                    <a:pt x="1684" y="1709"/>
                  </a:cubicBezTo>
                  <a:cubicBezTo>
                    <a:pt x="1684" y="1708"/>
                    <a:pt x="1684" y="1707"/>
                    <a:pt x="1684" y="1707"/>
                  </a:cubicBezTo>
                  <a:cubicBezTo>
                    <a:pt x="1685" y="1706"/>
                    <a:pt x="1685" y="1705"/>
                    <a:pt x="1685" y="1704"/>
                  </a:cubicBezTo>
                  <a:cubicBezTo>
                    <a:pt x="1686" y="1703"/>
                    <a:pt x="1686" y="1703"/>
                    <a:pt x="1686" y="1702"/>
                  </a:cubicBezTo>
                  <a:cubicBezTo>
                    <a:pt x="1686" y="1702"/>
                    <a:pt x="1686" y="1702"/>
                    <a:pt x="1686" y="1702"/>
                  </a:cubicBezTo>
                  <a:cubicBezTo>
                    <a:pt x="1687" y="1700"/>
                    <a:pt x="1688" y="1699"/>
                    <a:pt x="1689" y="1698"/>
                  </a:cubicBezTo>
                  <a:cubicBezTo>
                    <a:pt x="1690" y="1697"/>
                    <a:pt x="1691" y="1697"/>
                    <a:pt x="1691" y="1696"/>
                  </a:cubicBezTo>
                  <a:cubicBezTo>
                    <a:pt x="1692" y="1695"/>
                    <a:pt x="1693" y="1695"/>
                    <a:pt x="1694" y="1694"/>
                  </a:cubicBezTo>
                  <a:cubicBezTo>
                    <a:pt x="1695" y="1694"/>
                    <a:pt x="1695" y="1693"/>
                    <a:pt x="1695" y="1693"/>
                  </a:cubicBezTo>
                  <a:cubicBezTo>
                    <a:pt x="1695" y="1693"/>
                    <a:pt x="1696" y="1693"/>
                    <a:pt x="1696" y="1693"/>
                  </a:cubicBezTo>
                  <a:cubicBezTo>
                    <a:pt x="1698" y="1692"/>
                    <a:pt x="1699" y="1691"/>
                    <a:pt x="1701" y="1690"/>
                  </a:cubicBezTo>
                  <a:cubicBezTo>
                    <a:pt x="1702" y="1690"/>
                    <a:pt x="1702" y="1689"/>
                    <a:pt x="1702" y="1689"/>
                  </a:cubicBezTo>
                  <a:cubicBezTo>
                    <a:pt x="1703" y="1689"/>
                    <a:pt x="1703" y="1689"/>
                    <a:pt x="1703" y="1689"/>
                  </a:cubicBezTo>
                  <a:cubicBezTo>
                    <a:pt x="1704" y="1689"/>
                    <a:pt x="1704" y="1689"/>
                    <a:pt x="1705" y="1688"/>
                  </a:cubicBezTo>
                  <a:cubicBezTo>
                    <a:pt x="1706" y="1688"/>
                    <a:pt x="1708" y="1687"/>
                    <a:pt x="1709" y="1687"/>
                  </a:cubicBezTo>
                  <a:cubicBezTo>
                    <a:pt x="1710" y="1687"/>
                    <a:pt x="1711" y="1686"/>
                    <a:pt x="1712" y="1686"/>
                  </a:cubicBezTo>
                  <a:cubicBezTo>
                    <a:pt x="1713" y="1686"/>
                    <a:pt x="1714" y="1686"/>
                    <a:pt x="1714" y="1686"/>
                  </a:cubicBezTo>
                  <a:cubicBezTo>
                    <a:pt x="1717" y="1685"/>
                    <a:pt x="1720" y="1685"/>
                    <a:pt x="1723" y="1685"/>
                  </a:cubicBezTo>
                  <a:cubicBezTo>
                    <a:pt x="1723" y="1685"/>
                    <a:pt x="1724" y="1685"/>
                    <a:pt x="1724" y="1685"/>
                  </a:cubicBezTo>
                  <a:cubicBezTo>
                    <a:pt x="1725" y="1685"/>
                    <a:pt x="1726" y="1685"/>
                    <a:pt x="1727" y="1685"/>
                  </a:cubicBezTo>
                  <a:cubicBezTo>
                    <a:pt x="1731" y="1685"/>
                    <a:pt x="1731" y="1685"/>
                    <a:pt x="1731" y="1685"/>
                  </a:cubicBezTo>
                  <a:cubicBezTo>
                    <a:pt x="1736" y="1684"/>
                    <a:pt x="1740" y="1684"/>
                    <a:pt x="1744" y="1684"/>
                  </a:cubicBezTo>
                  <a:cubicBezTo>
                    <a:pt x="1748" y="1684"/>
                    <a:pt x="1752" y="1684"/>
                    <a:pt x="1755" y="1684"/>
                  </a:cubicBezTo>
                  <a:cubicBezTo>
                    <a:pt x="1791" y="1684"/>
                    <a:pt x="1791" y="1684"/>
                    <a:pt x="1791" y="1684"/>
                  </a:cubicBezTo>
                  <a:cubicBezTo>
                    <a:pt x="1801" y="1684"/>
                    <a:pt x="1811" y="1684"/>
                    <a:pt x="1820" y="1685"/>
                  </a:cubicBezTo>
                  <a:cubicBezTo>
                    <a:pt x="1822" y="1685"/>
                    <a:pt x="1823" y="1685"/>
                    <a:pt x="1825" y="1685"/>
                  </a:cubicBezTo>
                  <a:cubicBezTo>
                    <a:pt x="1826" y="1686"/>
                    <a:pt x="1827" y="1686"/>
                    <a:pt x="1828" y="1686"/>
                  </a:cubicBezTo>
                  <a:cubicBezTo>
                    <a:pt x="1828" y="1686"/>
                    <a:pt x="1829" y="1686"/>
                    <a:pt x="1830" y="1686"/>
                  </a:cubicBezTo>
                  <a:cubicBezTo>
                    <a:pt x="1830" y="1686"/>
                    <a:pt x="1831" y="1686"/>
                    <a:pt x="1831" y="1687"/>
                  </a:cubicBezTo>
                  <a:cubicBezTo>
                    <a:pt x="1832" y="1687"/>
                    <a:pt x="1832" y="1687"/>
                    <a:pt x="1833" y="1687"/>
                  </a:cubicBezTo>
                  <a:cubicBezTo>
                    <a:pt x="1834" y="1687"/>
                    <a:pt x="1836" y="1688"/>
                    <a:pt x="1838" y="1689"/>
                  </a:cubicBezTo>
                  <a:cubicBezTo>
                    <a:pt x="1839" y="1689"/>
                    <a:pt x="1840" y="1689"/>
                    <a:pt x="1841" y="1690"/>
                  </a:cubicBezTo>
                  <a:cubicBezTo>
                    <a:pt x="1842" y="1690"/>
                    <a:pt x="1842" y="1690"/>
                    <a:pt x="1843" y="1691"/>
                  </a:cubicBezTo>
                  <a:cubicBezTo>
                    <a:pt x="1845" y="1691"/>
                    <a:pt x="1846" y="1692"/>
                    <a:pt x="1847" y="1693"/>
                  </a:cubicBezTo>
                  <a:cubicBezTo>
                    <a:pt x="1852" y="1695"/>
                    <a:pt x="1856" y="1698"/>
                    <a:pt x="1859" y="1702"/>
                  </a:cubicBezTo>
                  <a:cubicBezTo>
                    <a:pt x="1862" y="1705"/>
                    <a:pt x="1864" y="1709"/>
                    <a:pt x="1865" y="1713"/>
                  </a:cubicBezTo>
                  <a:cubicBezTo>
                    <a:pt x="1870" y="1736"/>
                    <a:pt x="1870" y="1736"/>
                    <a:pt x="1870" y="1736"/>
                  </a:cubicBezTo>
                  <a:cubicBezTo>
                    <a:pt x="1871" y="1746"/>
                    <a:pt x="1873" y="1755"/>
                    <a:pt x="1875" y="1764"/>
                  </a:cubicBezTo>
                  <a:cubicBezTo>
                    <a:pt x="1875" y="1764"/>
                    <a:pt x="1875" y="1764"/>
                    <a:pt x="1875" y="1764"/>
                  </a:cubicBezTo>
                  <a:cubicBezTo>
                    <a:pt x="1876" y="1770"/>
                    <a:pt x="1876" y="1770"/>
                    <a:pt x="1876" y="1770"/>
                  </a:cubicBezTo>
                  <a:cubicBezTo>
                    <a:pt x="1877" y="1775"/>
                    <a:pt x="1877" y="1779"/>
                    <a:pt x="1875" y="1783"/>
                  </a:cubicBezTo>
                  <a:close/>
                  <a:moveTo>
                    <a:pt x="2041" y="1494"/>
                  </a:moveTo>
                  <a:cubicBezTo>
                    <a:pt x="2036" y="1492"/>
                    <a:pt x="2032" y="1490"/>
                    <a:pt x="2030" y="1487"/>
                  </a:cubicBezTo>
                  <a:cubicBezTo>
                    <a:pt x="2027" y="1485"/>
                    <a:pt x="2024" y="1482"/>
                    <a:pt x="2023" y="1479"/>
                  </a:cubicBezTo>
                  <a:cubicBezTo>
                    <a:pt x="2021" y="1474"/>
                    <a:pt x="2021" y="1474"/>
                    <a:pt x="2021" y="1474"/>
                  </a:cubicBezTo>
                  <a:cubicBezTo>
                    <a:pt x="2019" y="1467"/>
                    <a:pt x="2016" y="1460"/>
                    <a:pt x="2014" y="1453"/>
                  </a:cubicBezTo>
                  <a:cubicBezTo>
                    <a:pt x="2012" y="1449"/>
                    <a:pt x="2009" y="1444"/>
                    <a:pt x="2009" y="1439"/>
                  </a:cubicBezTo>
                  <a:cubicBezTo>
                    <a:pt x="2009" y="1439"/>
                    <a:pt x="2009" y="1438"/>
                    <a:pt x="2009" y="1437"/>
                  </a:cubicBezTo>
                  <a:cubicBezTo>
                    <a:pt x="2009" y="1437"/>
                    <a:pt x="2009" y="1437"/>
                    <a:pt x="2009" y="1437"/>
                  </a:cubicBezTo>
                  <a:cubicBezTo>
                    <a:pt x="2009" y="1436"/>
                    <a:pt x="2009" y="1436"/>
                    <a:pt x="2009" y="1436"/>
                  </a:cubicBezTo>
                  <a:cubicBezTo>
                    <a:pt x="2010" y="1435"/>
                    <a:pt x="2009" y="1435"/>
                    <a:pt x="2010" y="1434"/>
                  </a:cubicBezTo>
                  <a:cubicBezTo>
                    <a:pt x="2010" y="1434"/>
                    <a:pt x="2010" y="1434"/>
                    <a:pt x="2010" y="1434"/>
                  </a:cubicBezTo>
                  <a:cubicBezTo>
                    <a:pt x="2016" y="1421"/>
                    <a:pt x="2039" y="1423"/>
                    <a:pt x="2051" y="1423"/>
                  </a:cubicBezTo>
                  <a:cubicBezTo>
                    <a:pt x="2110" y="1422"/>
                    <a:pt x="2110" y="1422"/>
                    <a:pt x="2110" y="1422"/>
                  </a:cubicBezTo>
                  <a:cubicBezTo>
                    <a:pt x="2115" y="1422"/>
                    <a:pt x="2120" y="1423"/>
                    <a:pt x="2125" y="1424"/>
                  </a:cubicBezTo>
                  <a:cubicBezTo>
                    <a:pt x="2126" y="1424"/>
                    <a:pt x="2128" y="1424"/>
                    <a:pt x="2129" y="1425"/>
                  </a:cubicBezTo>
                  <a:cubicBezTo>
                    <a:pt x="2129" y="1425"/>
                    <a:pt x="2130" y="1425"/>
                    <a:pt x="2131" y="1425"/>
                  </a:cubicBezTo>
                  <a:cubicBezTo>
                    <a:pt x="2132" y="1425"/>
                    <a:pt x="2133" y="1426"/>
                    <a:pt x="2133" y="1426"/>
                  </a:cubicBezTo>
                  <a:cubicBezTo>
                    <a:pt x="2135" y="1426"/>
                    <a:pt x="2137" y="1427"/>
                    <a:pt x="2138" y="1428"/>
                  </a:cubicBezTo>
                  <a:cubicBezTo>
                    <a:pt x="2139" y="1428"/>
                    <a:pt x="2139" y="1428"/>
                    <a:pt x="2139" y="1428"/>
                  </a:cubicBezTo>
                  <a:cubicBezTo>
                    <a:pt x="2139" y="1428"/>
                    <a:pt x="2139" y="1428"/>
                    <a:pt x="2140" y="1428"/>
                  </a:cubicBezTo>
                  <a:cubicBezTo>
                    <a:pt x="2141" y="1429"/>
                    <a:pt x="2142" y="1429"/>
                    <a:pt x="2144" y="1430"/>
                  </a:cubicBezTo>
                  <a:cubicBezTo>
                    <a:pt x="2145" y="1431"/>
                    <a:pt x="2146" y="1431"/>
                    <a:pt x="2146" y="1431"/>
                  </a:cubicBezTo>
                  <a:cubicBezTo>
                    <a:pt x="2147" y="1432"/>
                    <a:pt x="2147" y="1432"/>
                    <a:pt x="2148" y="1432"/>
                  </a:cubicBezTo>
                  <a:cubicBezTo>
                    <a:pt x="2148" y="1433"/>
                    <a:pt x="2148" y="1433"/>
                    <a:pt x="2149" y="1433"/>
                  </a:cubicBezTo>
                  <a:cubicBezTo>
                    <a:pt x="2149" y="1433"/>
                    <a:pt x="2150" y="1434"/>
                    <a:pt x="2150" y="1434"/>
                  </a:cubicBezTo>
                  <a:cubicBezTo>
                    <a:pt x="2153" y="1436"/>
                    <a:pt x="2156" y="1439"/>
                    <a:pt x="2157" y="1442"/>
                  </a:cubicBezTo>
                  <a:cubicBezTo>
                    <a:pt x="2157" y="1442"/>
                    <a:pt x="2157" y="1442"/>
                    <a:pt x="2157" y="1442"/>
                  </a:cubicBezTo>
                  <a:cubicBezTo>
                    <a:pt x="2163" y="1450"/>
                    <a:pt x="2166" y="1460"/>
                    <a:pt x="2170" y="1468"/>
                  </a:cubicBezTo>
                  <a:cubicBezTo>
                    <a:pt x="2170" y="1468"/>
                    <a:pt x="2170" y="1468"/>
                    <a:pt x="2170" y="1468"/>
                  </a:cubicBezTo>
                  <a:cubicBezTo>
                    <a:pt x="2172" y="1473"/>
                    <a:pt x="2176" y="1477"/>
                    <a:pt x="2177" y="1482"/>
                  </a:cubicBezTo>
                  <a:cubicBezTo>
                    <a:pt x="2177" y="1482"/>
                    <a:pt x="2177" y="1483"/>
                    <a:pt x="2177" y="1483"/>
                  </a:cubicBezTo>
                  <a:cubicBezTo>
                    <a:pt x="2177" y="1483"/>
                    <a:pt x="2177" y="1483"/>
                    <a:pt x="2177" y="1483"/>
                  </a:cubicBezTo>
                  <a:cubicBezTo>
                    <a:pt x="2178" y="1492"/>
                    <a:pt x="2170" y="1496"/>
                    <a:pt x="2162" y="1498"/>
                  </a:cubicBezTo>
                  <a:cubicBezTo>
                    <a:pt x="2161" y="1498"/>
                    <a:pt x="2161" y="1498"/>
                    <a:pt x="2161" y="1499"/>
                  </a:cubicBezTo>
                  <a:cubicBezTo>
                    <a:pt x="2160" y="1499"/>
                    <a:pt x="2160" y="1499"/>
                    <a:pt x="2159" y="1499"/>
                  </a:cubicBezTo>
                  <a:cubicBezTo>
                    <a:pt x="2158" y="1499"/>
                    <a:pt x="2156" y="1499"/>
                    <a:pt x="2155" y="1500"/>
                  </a:cubicBezTo>
                  <a:cubicBezTo>
                    <a:pt x="2154" y="1500"/>
                    <a:pt x="2154" y="1500"/>
                    <a:pt x="2153" y="1500"/>
                  </a:cubicBezTo>
                  <a:cubicBezTo>
                    <a:pt x="2152" y="1500"/>
                    <a:pt x="2150" y="1500"/>
                    <a:pt x="2149" y="1500"/>
                  </a:cubicBezTo>
                  <a:cubicBezTo>
                    <a:pt x="2148" y="1500"/>
                    <a:pt x="2147" y="1500"/>
                    <a:pt x="2146" y="1500"/>
                  </a:cubicBezTo>
                  <a:cubicBezTo>
                    <a:pt x="2146" y="1500"/>
                    <a:pt x="2146" y="1500"/>
                    <a:pt x="2146" y="1500"/>
                  </a:cubicBezTo>
                  <a:cubicBezTo>
                    <a:pt x="2144" y="1500"/>
                    <a:pt x="2144" y="1500"/>
                    <a:pt x="2144" y="1500"/>
                  </a:cubicBezTo>
                  <a:cubicBezTo>
                    <a:pt x="2135" y="1500"/>
                    <a:pt x="2126" y="1500"/>
                    <a:pt x="2117" y="1500"/>
                  </a:cubicBezTo>
                  <a:cubicBezTo>
                    <a:pt x="2102" y="1500"/>
                    <a:pt x="2087" y="1500"/>
                    <a:pt x="2072" y="1500"/>
                  </a:cubicBezTo>
                  <a:cubicBezTo>
                    <a:pt x="2061" y="1500"/>
                    <a:pt x="2050" y="1499"/>
                    <a:pt x="2041" y="1494"/>
                  </a:cubicBezTo>
                  <a:cubicBezTo>
                    <a:pt x="2041" y="1494"/>
                    <a:pt x="2041" y="1494"/>
                    <a:pt x="2041" y="1494"/>
                  </a:cubicBezTo>
                  <a:close/>
                  <a:moveTo>
                    <a:pt x="2079" y="1621"/>
                  </a:moveTo>
                  <a:cubicBezTo>
                    <a:pt x="2076" y="1617"/>
                    <a:pt x="2073" y="1614"/>
                    <a:pt x="2072" y="1611"/>
                  </a:cubicBezTo>
                  <a:cubicBezTo>
                    <a:pt x="2064" y="1588"/>
                    <a:pt x="2064" y="1588"/>
                    <a:pt x="2064" y="1588"/>
                  </a:cubicBezTo>
                  <a:cubicBezTo>
                    <a:pt x="2061" y="1581"/>
                    <a:pt x="2059" y="1575"/>
                    <a:pt x="2056" y="1568"/>
                  </a:cubicBezTo>
                  <a:cubicBezTo>
                    <a:pt x="2056" y="1568"/>
                    <a:pt x="2056" y="1568"/>
                    <a:pt x="2056" y="1568"/>
                  </a:cubicBezTo>
                  <a:cubicBezTo>
                    <a:pt x="2055" y="1565"/>
                    <a:pt x="2055" y="1565"/>
                    <a:pt x="2055" y="1565"/>
                  </a:cubicBezTo>
                  <a:cubicBezTo>
                    <a:pt x="2054" y="1561"/>
                    <a:pt x="2054" y="1558"/>
                    <a:pt x="2055" y="1555"/>
                  </a:cubicBezTo>
                  <a:cubicBezTo>
                    <a:pt x="2056" y="1553"/>
                    <a:pt x="2057" y="1552"/>
                    <a:pt x="2059" y="1550"/>
                  </a:cubicBezTo>
                  <a:cubicBezTo>
                    <a:pt x="2059" y="1550"/>
                    <a:pt x="2059" y="1550"/>
                    <a:pt x="2060" y="1549"/>
                  </a:cubicBezTo>
                  <a:cubicBezTo>
                    <a:pt x="2060" y="1549"/>
                    <a:pt x="2061" y="1548"/>
                    <a:pt x="2061" y="1548"/>
                  </a:cubicBezTo>
                  <a:cubicBezTo>
                    <a:pt x="2064" y="1546"/>
                    <a:pt x="2068" y="1544"/>
                    <a:pt x="2072" y="1543"/>
                  </a:cubicBezTo>
                  <a:cubicBezTo>
                    <a:pt x="2076" y="1542"/>
                    <a:pt x="2080" y="1542"/>
                    <a:pt x="2084" y="1541"/>
                  </a:cubicBezTo>
                  <a:cubicBezTo>
                    <a:pt x="2100" y="1540"/>
                    <a:pt x="2117" y="1541"/>
                    <a:pt x="2125" y="1541"/>
                  </a:cubicBezTo>
                  <a:cubicBezTo>
                    <a:pt x="2153" y="1541"/>
                    <a:pt x="2202" y="1535"/>
                    <a:pt x="2218" y="1564"/>
                  </a:cubicBezTo>
                  <a:cubicBezTo>
                    <a:pt x="2218" y="1564"/>
                    <a:pt x="2218" y="1564"/>
                    <a:pt x="2218" y="1564"/>
                  </a:cubicBezTo>
                  <a:cubicBezTo>
                    <a:pt x="2218" y="1565"/>
                    <a:pt x="2218" y="1565"/>
                    <a:pt x="2218" y="1565"/>
                  </a:cubicBezTo>
                  <a:cubicBezTo>
                    <a:pt x="2218" y="1565"/>
                    <a:pt x="2218" y="1565"/>
                    <a:pt x="2218" y="1565"/>
                  </a:cubicBezTo>
                  <a:cubicBezTo>
                    <a:pt x="2224" y="1577"/>
                    <a:pt x="2230" y="1589"/>
                    <a:pt x="2236" y="1601"/>
                  </a:cubicBezTo>
                  <a:cubicBezTo>
                    <a:pt x="2238" y="1605"/>
                    <a:pt x="2241" y="1609"/>
                    <a:pt x="2242" y="1614"/>
                  </a:cubicBezTo>
                  <a:cubicBezTo>
                    <a:pt x="2242" y="1614"/>
                    <a:pt x="2242" y="1614"/>
                    <a:pt x="2242" y="1614"/>
                  </a:cubicBezTo>
                  <a:cubicBezTo>
                    <a:pt x="2242" y="1615"/>
                    <a:pt x="2242" y="1616"/>
                    <a:pt x="2242" y="1617"/>
                  </a:cubicBezTo>
                  <a:cubicBezTo>
                    <a:pt x="2242" y="1618"/>
                    <a:pt x="2242" y="1619"/>
                    <a:pt x="2242" y="1620"/>
                  </a:cubicBezTo>
                  <a:cubicBezTo>
                    <a:pt x="2242" y="1620"/>
                    <a:pt x="2242" y="1620"/>
                    <a:pt x="2242" y="1620"/>
                  </a:cubicBezTo>
                  <a:cubicBezTo>
                    <a:pt x="2242" y="1620"/>
                    <a:pt x="2242" y="1621"/>
                    <a:pt x="2242" y="1621"/>
                  </a:cubicBezTo>
                  <a:cubicBezTo>
                    <a:pt x="2242" y="1622"/>
                    <a:pt x="2241" y="1623"/>
                    <a:pt x="2240" y="1624"/>
                  </a:cubicBezTo>
                  <a:cubicBezTo>
                    <a:pt x="2240" y="1625"/>
                    <a:pt x="2240" y="1625"/>
                    <a:pt x="2240" y="1625"/>
                  </a:cubicBezTo>
                  <a:cubicBezTo>
                    <a:pt x="2239" y="1626"/>
                    <a:pt x="2238" y="1627"/>
                    <a:pt x="2237" y="1628"/>
                  </a:cubicBezTo>
                  <a:cubicBezTo>
                    <a:pt x="2237" y="1628"/>
                    <a:pt x="2237" y="1628"/>
                    <a:pt x="2237" y="1628"/>
                  </a:cubicBezTo>
                  <a:cubicBezTo>
                    <a:pt x="2236" y="1629"/>
                    <a:pt x="2236" y="1629"/>
                    <a:pt x="2236" y="1629"/>
                  </a:cubicBezTo>
                  <a:cubicBezTo>
                    <a:pt x="2235" y="1630"/>
                    <a:pt x="2234" y="1630"/>
                    <a:pt x="2234" y="1630"/>
                  </a:cubicBezTo>
                  <a:cubicBezTo>
                    <a:pt x="2231" y="1632"/>
                    <a:pt x="2229" y="1633"/>
                    <a:pt x="2225" y="1634"/>
                  </a:cubicBezTo>
                  <a:cubicBezTo>
                    <a:pt x="2225" y="1634"/>
                    <a:pt x="2224" y="1635"/>
                    <a:pt x="2223" y="1635"/>
                  </a:cubicBezTo>
                  <a:cubicBezTo>
                    <a:pt x="2221" y="1635"/>
                    <a:pt x="2220" y="1635"/>
                    <a:pt x="2219" y="1636"/>
                  </a:cubicBezTo>
                  <a:cubicBezTo>
                    <a:pt x="2218" y="1636"/>
                    <a:pt x="2218" y="1636"/>
                    <a:pt x="2217" y="1636"/>
                  </a:cubicBezTo>
                  <a:cubicBezTo>
                    <a:pt x="2217" y="1636"/>
                    <a:pt x="2216" y="1636"/>
                    <a:pt x="2216" y="1636"/>
                  </a:cubicBezTo>
                  <a:cubicBezTo>
                    <a:pt x="2187" y="1639"/>
                    <a:pt x="2156" y="1636"/>
                    <a:pt x="2126" y="1637"/>
                  </a:cubicBezTo>
                  <a:cubicBezTo>
                    <a:pt x="2123" y="1637"/>
                    <a:pt x="2120" y="1636"/>
                    <a:pt x="2117" y="1636"/>
                  </a:cubicBezTo>
                  <a:cubicBezTo>
                    <a:pt x="2117" y="1636"/>
                    <a:pt x="2117" y="1636"/>
                    <a:pt x="2117" y="1636"/>
                  </a:cubicBezTo>
                  <a:cubicBezTo>
                    <a:pt x="2106" y="1635"/>
                    <a:pt x="2095" y="1631"/>
                    <a:pt x="2086" y="1625"/>
                  </a:cubicBezTo>
                  <a:cubicBezTo>
                    <a:pt x="2083" y="1624"/>
                    <a:pt x="2081" y="1622"/>
                    <a:pt x="2079" y="1621"/>
                  </a:cubicBezTo>
                  <a:close/>
                  <a:moveTo>
                    <a:pt x="2322" y="1782"/>
                  </a:moveTo>
                  <a:cubicBezTo>
                    <a:pt x="2322" y="1783"/>
                    <a:pt x="2321" y="1783"/>
                    <a:pt x="2321" y="1784"/>
                  </a:cubicBezTo>
                  <a:cubicBezTo>
                    <a:pt x="2321" y="1785"/>
                    <a:pt x="2321" y="1785"/>
                    <a:pt x="2321" y="1786"/>
                  </a:cubicBezTo>
                  <a:cubicBezTo>
                    <a:pt x="2320" y="1787"/>
                    <a:pt x="2320" y="1788"/>
                    <a:pt x="2319" y="1789"/>
                  </a:cubicBezTo>
                  <a:cubicBezTo>
                    <a:pt x="2319" y="1789"/>
                    <a:pt x="2319" y="1789"/>
                    <a:pt x="2319" y="1790"/>
                  </a:cubicBezTo>
                  <a:cubicBezTo>
                    <a:pt x="2318" y="1790"/>
                    <a:pt x="2318" y="1791"/>
                    <a:pt x="2317" y="1791"/>
                  </a:cubicBezTo>
                  <a:cubicBezTo>
                    <a:pt x="2317" y="1791"/>
                    <a:pt x="2317" y="1792"/>
                    <a:pt x="2316" y="1792"/>
                  </a:cubicBezTo>
                  <a:cubicBezTo>
                    <a:pt x="2316" y="1792"/>
                    <a:pt x="2316" y="1792"/>
                    <a:pt x="2316" y="1793"/>
                  </a:cubicBezTo>
                  <a:cubicBezTo>
                    <a:pt x="2310" y="1798"/>
                    <a:pt x="2303" y="1800"/>
                    <a:pt x="2296" y="1801"/>
                  </a:cubicBezTo>
                  <a:cubicBezTo>
                    <a:pt x="2296" y="1801"/>
                    <a:pt x="2295" y="1801"/>
                    <a:pt x="2295" y="1801"/>
                  </a:cubicBezTo>
                  <a:cubicBezTo>
                    <a:pt x="2292" y="1802"/>
                    <a:pt x="2289" y="1802"/>
                    <a:pt x="2286" y="1802"/>
                  </a:cubicBezTo>
                  <a:cubicBezTo>
                    <a:pt x="2286" y="1802"/>
                    <a:pt x="2286" y="1802"/>
                    <a:pt x="2286" y="1802"/>
                  </a:cubicBezTo>
                  <a:cubicBezTo>
                    <a:pt x="2283" y="1802"/>
                    <a:pt x="2283" y="1802"/>
                    <a:pt x="2283" y="1802"/>
                  </a:cubicBezTo>
                  <a:cubicBezTo>
                    <a:pt x="2280" y="1802"/>
                    <a:pt x="2277" y="1802"/>
                    <a:pt x="2275" y="1802"/>
                  </a:cubicBezTo>
                  <a:cubicBezTo>
                    <a:pt x="2193" y="1802"/>
                    <a:pt x="2193" y="1802"/>
                    <a:pt x="2193" y="1802"/>
                  </a:cubicBezTo>
                  <a:cubicBezTo>
                    <a:pt x="2190" y="1802"/>
                    <a:pt x="2187" y="1802"/>
                    <a:pt x="2184" y="1802"/>
                  </a:cubicBezTo>
                  <a:cubicBezTo>
                    <a:pt x="2183" y="1801"/>
                    <a:pt x="2182" y="1801"/>
                    <a:pt x="2181" y="1801"/>
                  </a:cubicBezTo>
                  <a:cubicBezTo>
                    <a:pt x="2164" y="1799"/>
                    <a:pt x="2144" y="1791"/>
                    <a:pt x="2135" y="1776"/>
                  </a:cubicBezTo>
                  <a:cubicBezTo>
                    <a:pt x="2133" y="1774"/>
                    <a:pt x="2132" y="1772"/>
                    <a:pt x="2131" y="1770"/>
                  </a:cubicBezTo>
                  <a:cubicBezTo>
                    <a:pt x="2131" y="1769"/>
                    <a:pt x="2131" y="1769"/>
                    <a:pt x="2131" y="1769"/>
                  </a:cubicBezTo>
                  <a:cubicBezTo>
                    <a:pt x="2131" y="1769"/>
                    <a:pt x="2131" y="1769"/>
                    <a:pt x="2131" y="1769"/>
                  </a:cubicBezTo>
                  <a:cubicBezTo>
                    <a:pt x="2127" y="1757"/>
                    <a:pt x="2122" y="1746"/>
                    <a:pt x="2118" y="1734"/>
                  </a:cubicBezTo>
                  <a:cubicBezTo>
                    <a:pt x="2116" y="1728"/>
                    <a:pt x="2112" y="1720"/>
                    <a:pt x="2110" y="1713"/>
                  </a:cubicBezTo>
                  <a:cubicBezTo>
                    <a:pt x="2110" y="1713"/>
                    <a:pt x="2110" y="1713"/>
                    <a:pt x="2110" y="1713"/>
                  </a:cubicBezTo>
                  <a:cubicBezTo>
                    <a:pt x="2110" y="1713"/>
                    <a:pt x="2110" y="1712"/>
                    <a:pt x="2110" y="1712"/>
                  </a:cubicBezTo>
                  <a:cubicBezTo>
                    <a:pt x="2110" y="1712"/>
                    <a:pt x="2109" y="1711"/>
                    <a:pt x="2109" y="1710"/>
                  </a:cubicBezTo>
                  <a:cubicBezTo>
                    <a:pt x="2109" y="1707"/>
                    <a:pt x="2109" y="1704"/>
                    <a:pt x="2109" y="1701"/>
                  </a:cubicBezTo>
                  <a:cubicBezTo>
                    <a:pt x="2110" y="1699"/>
                    <a:pt x="2111" y="1698"/>
                    <a:pt x="2112" y="1696"/>
                  </a:cubicBezTo>
                  <a:cubicBezTo>
                    <a:pt x="2112" y="1696"/>
                    <a:pt x="2112" y="1696"/>
                    <a:pt x="2112" y="1696"/>
                  </a:cubicBezTo>
                  <a:cubicBezTo>
                    <a:pt x="2117" y="1688"/>
                    <a:pt x="2126" y="1685"/>
                    <a:pt x="2136" y="1684"/>
                  </a:cubicBezTo>
                  <a:cubicBezTo>
                    <a:pt x="2136" y="1684"/>
                    <a:pt x="2136" y="1684"/>
                    <a:pt x="2137" y="1684"/>
                  </a:cubicBezTo>
                  <a:cubicBezTo>
                    <a:pt x="2139" y="1684"/>
                    <a:pt x="2141" y="1684"/>
                    <a:pt x="2144" y="1684"/>
                  </a:cubicBezTo>
                  <a:cubicBezTo>
                    <a:pt x="2144" y="1684"/>
                    <a:pt x="2145" y="1683"/>
                    <a:pt x="2145" y="1683"/>
                  </a:cubicBezTo>
                  <a:cubicBezTo>
                    <a:pt x="2151" y="1683"/>
                    <a:pt x="2151" y="1683"/>
                    <a:pt x="2151" y="1683"/>
                  </a:cubicBezTo>
                  <a:cubicBezTo>
                    <a:pt x="2152" y="1683"/>
                    <a:pt x="2153" y="1683"/>
                    <a:pt x="2155" y="1683"/>
                  </a:cubicBezTo>
                  <a:cubicBezTo>
                    <a:pt x="2180" y="1683"/>
                    <a:pt x="2205" y="1683"/>
                    <a:pt x="2231" y="1683"/>
                  </a:cubicBezTo>
                  <a:cubicBezTo>
                    <a:pt x="2231" y="1683"/>
                    <a:pt x="2231" y="1683"/>
                    <a:pt x="2231" y="1683"/>
                  </a:cubicBezTo>
                  <a:cubicBezTo>
                    <a:pt x="2231" y="1683"/>
                    <a:pt x="2231" y="1683"/>
                    <a:pt x="2231" y="1683"/>
                  </a:cubicBezTo>
                  <a:cubicBezTo>
                    <a:pt x="2234" y="1683"/>
                    <a:pt x="2237" y="1683"/>
                    <a:pt x="2240" y="1684"/>
                  </a:cubicBezTo>
                  <a:cubicBezTo>
                    <a:pt x="2240" y="1684"/>
                    <a:pt x="2241" y="1684"/>
                    <a:pt x="2241" y="1684"/>
                  </a:cubicBezTo>
                  <a:cubicBezTo>
                    <a:pt x="2258" y="1686"/>
                    <a:pt x="2277" y="1693"/>
                    <a:pt x="2287" y="1706"/>
                  </a:cubicBezTo>
                  <a:cubicBezTo>
                    <a:pt x="2289" y="1708"/>
                    <a:pt x="2290" y="1710"/>
                    <a:pt x="2291" y="1712"/>
                  </a:cubicBezTo>
                  <a:cubicBezTo>
                    <a:pt x="2294" y="1717"/>
                    <a:pt x="2294" y="1717"/>
                    <a:pt x="2294" y="1717"/>
                  </a:cubicBezTo>
                  <a:cubicBezTo>
                    <a:pt x="2299" y="1727"/>
                    <a:pt x="2304" y="1737"/>
                    <a:pt x="2309" y="1748"/>
                  </a:cubicBezTo>
                  <a:cubicBezTo>
                    <a:pt x="2312" y="1754"/>
                    <a:pt x="2318" y="1762"/>
                    <a:pt x="2320" y="1771"/>
                  </a:cubicBezTo>
                  <a:cubicBezTo>
                    <a:pt x="2322" y="1775"/>
                    <a:pt x="2323" y="1778"/>
                    <a:pt x="2322" y="1782"/>
                  </a:cubicBezTo>
                  <a:close/>
                  <a:moveTo>
                    <a:pt x="2340" y="1624"/>
                  </a:moveTo>
                  <a:cubicBezTo>
                    <a:pt x="2338" y="1622"/>
                    <a:pt x="2337" y="1621"/>
                    <a:pt x="2335" y="1620"/>
                  </a:cubicBezTo>
                  <a:cubicBezTo>
                    <a:pt x="2331" y="1617"/>
                    <a:pt x="2328" y="1613"/>
                    <a:pt x="2326" y="1610"/>
                  </a:cubicBezTo>
                  <a:cubicBezTo>
                    <a:pt x="2324" y="1607"/>
                    <a:pt x="2324" y="1607"/>
                    <a:pt x="2324" y="1607"/>
                  </a:cubicBezTo>
                  <a:cubicBezTo>
                    <a:pt x="2324" y="1607"/>
                    <a:pt x="2324" y="1607"/>
                    <a:pt x="2324" y="1607"/>
                  </a:cubicBezTo>
                  <a:cubicBezTo>
                    <a:pt x="2317" y="1594"/>
                    <a:pt x="2310" y="1582"/>
                    <a:pt x="2303" y="1569"/>
                  </a:cubicBezTo>
                  <a:cubicBezTo>
                    <a:pt x="2303" y="1569"/>
                    <a:pt x="2303" y="1569"/>
                    <a:pt x="2303" y="1569"/>
                  </a:cubicBezTo>
                  <a:cubicBezTo>
                    <a:pt x="2300" y="1564"/>
                    <a:pt x="2300" y="1564"/>
                    <a:pt x="2300" y="1564"/>
                  </a:cubicBezTo>
                  <a:cubicBezTo>
                    <a:pt x="2298" y="1561"/>
                    <a:pt x="2298" y="1558"/>
                    <a:pt x="2298" y="1555"/>
                  </a:cubicBezTo>
                  <a:cubicBezTo>
                    <a:pt x="2299" y="1552"/>
                    <a:pt x="2300" y="1550"/>
                    <a:pt x="2303" y="1547"/>
                  </a:cubicBezTo>
                  <a:cubicBezTo>
                    <a:pt x="2306" y="1545"/>
                    <a:pt x="2309" y="1544"/>
                    <a:pt x="2313" y="1542"/>
                  </a:cubicBezTo>
                  <a:cubicBezTo>
                    <a:pt x="2318" y="1541"/>
                    <a:pt x="2323" y="1541"/>
                    <a:pt x="2329" y="1541"/>
                  </a:cubicBezTo>
                  <a:cubicBezTo>
                    <a:pt x="2330" y="1541"/>
                    <a:pt x="2330" y="1541"/>
                    <a:pt x="2330" y="1541"/>
                  </a:cubicBezTo>
                  <a:cubicBezTo>
                    <a:pt x="2342" y="1540"/>
                    <a:pt x="2356" y="1540"/>
                    <a:pt x="2363" y="1540"/>
                  </a:cubicBezTo>
                  <a:cubicBezTo>
                    <a:pt x="2394" y="1540"/>
                    <a:pt x="2443" y="1534"/>
                    <a:pt x="2463" y="1564"/>
                  </a:cubicBezTo>
                  <a:cubicBezTo>
                    <a:pt x="2470" y="1573"/>
                    <a:pt x="2476" y="1583"/>
                    <a:pt x="2483" y="1593"/>
                  </a:cubicBezTo>
                  <a:cubicBezTo>
                    <a:pt x="2486" y="1598"/>
                    <a:pt x="2492" y="1605"/>
                    <a:pt x="2495" y="1611"/>
                  </a:cubicBezTo>
                  <a:cubicBezTo>
                    <a:pt x="2497" y="1614"/>
                    <a:pt x="2498" y="1617"/>
                    <a:pt x="2498" y="1620"/>
                  </a:cubicBezTo>
                  <a:cubicBezTo>
                    <a:pt x="2498" y="1621"/>
                    <a:pt x="2497" y="1623"/>
                    <a:pt x="2496" y="1625"/>
                  </a:cubicBezTo>
                  <a:cubicBezTo>
                    <a:pt x="2496" y="1626"/>
                    <a:pt x="2495" y="1627"/>
                    <a:pt x="2494" y="1628"/>
                  </a:cubicBezTo>
                  <a:cubicBezTo>
                    <a:pt x="2494" y="1628"/>
                    <a:pt x="2494" y="1628"/>
                    <a:pt x="2494" y="1628"/>
                  </a:cubicBezTo>
                  <a:cubicBezTo>
                    <a:pt x="2494" y="1628"/>
                    <a:pt x="2494" y="1628"/>
                    <a:pt x="2494" y="1628"/>
                  </a:cubicBezTo>
                  <a:cubicBezTo>
                    <a:pt x="2493" y="1629"/>
                    <a:pt x="2493" y="1629"/>
                    <a:pt x="2492" y="1630"/>
                  </a:cubicBezTo>
                  <a:cubicBezTo>
                    <a:pt x="2492" y="1630"/>
                    <a:pt x="2491" y="1630"/>
                    <a:pt x="2491" y="1630"/>
                  </a:cubicBezTo>
                  <a:cubicBezTo>
                    <a:pt x="2490" y="1631"/>
                    <a:pt x="2489" y="1631"/>
                    <a:pt x="2488" y="1632"/>
                  </a:cubicBezTo>
                  <a:cubicBezTo>
                    <a:pt x="2487" y="1632"/>
                    <a:pt x="2485" y="1633"/>
                    <a:pt x="2484" y="1633"/>
                  </a:cubicBezTo>
                  <a:cubicBezTo>
                    <a:pt x="2484" y="1633"/>
                    <a:pt x="2484" y="1634"/>
                    <a:pt x="2484" y="1634"/>
                  </a:cubicBezTo>
                  <a:cubicBezTo>
                    <a:pt x="2484" y="1634"/>
                    <a:pt x="2483" y="1634"/>
                    <a:pt x="2483" y="1634"/>
                  </a:cubicBezTo>
                  <a:cubicBezTo>
                    <a:pt x="2469" y="1638"/>
                    <a:pt x="2448" y="1636"/>
                    <a:pt x="2434" y="1636"/>
                  </a:cubicBezTo>
                  <a:cubicBezTo>
                    <a:pt x="2418" y="1636"/>
                    <a:pt x="2401" y="1636"/>
                    <a:pt x="2385" y="1636"/>
                  </a:cubicBezTo>
                  <a:cubicBezTo>
                    <a:pt x="2370" y="1636"/>
                    <a:pt x="2353" y="1632"/>
                    <a:pt x="2340" y="1624"/>
                  </a:cubicBezTo>
                  <a:close/>
                  <a:moveTo>
                    <a:pt x="2605" y="1791"/>
                  </a:moveTo>
                  <a:cubicBezTo>
                    <a:pt x="2605" y="1791"/>
                    <a:pt x="2605" y="1791"/>
                    <a:pt x="2604" y="1791"/>
                  </a:cubicBezTo>
                  <a:cubicBezTo>
                    <a:pt x="2602" y="1794"/>
                    <a:pt x="2598" y="1797"/>
                    <a:pt x="2593" y="1798"/>
                  </a:cubicBezTo>
                  <a:cubicBezTo>
                    <a:pt x="2589" y="1800"/>
                    <a:pt x="2583" y="1801"/>
                    <a:pt x="2576" y="1801"/>
                  </a:cubicBezTo>
                  <a:cubicBezTo>
                    <a:pt x="2569" y="1801"/>
                    <a:pt x="2569" y="1801"/>
                    <a:pt x="2569" y="1801"/>
                  </a:cubicBezTo>
                  <a:cubicBezTo>
                    <a:pt x="2569" y="1801"/>
                    <a:pt x="2569" y="1801"/>
                    <a:pt x="2569" y="1801"/>
                  </a:cubicBezTo>
                  <a:cubicBezTo>
                    <a:pt x="2541" y="1801"/>
                    <a:pt x="2512" y="1801"/>
                    <a:pt x="2483" y="1801"/>
                  </a:cubicBezTo>
                  <a:cubicBezTo>
                    <a:pt x="2480" y="1801"/>
                    <a:pt x="2476" y="1801"/>
                    <a:pt x="2473" y="1801"/>
                  </a:cubicBezTo>
                  <a:cubicBezTo>
                    <a:pt x="2473" y="1801"/>
                    <a:pt x="2473" y="1801"/>
                    <a:pt x="2473" y="1801"/>
                  </a:cubicBezTo>
                  <a:cubicBezTo>
                    <a:pt x="2453" y="1799"/>
                    <a:pt x="2432" y="1790"/>
                    <a:pt x="2419" y="1775"/>
                  </a:cubicBezTo>
                  <a:cubicBezTo>
                    <a:pt x="2418" y="1773"/>
                    <a:pt x="2416" y="1771"/>
                    <a:pt x="2415" y="1769"/>
                  </a:cubicBezTo>
                  <a:cubicBezTo>
                    <a:pt x="2415" y="1769"/>
                    <a:pt x="2415" y="1769"/>
                    <a:pt x="2415" y="1769"/>
                  </a:cubicBezTo>
                  <a:cubicBezTo>
                    <a:pt x="2415" y="1769"/>
                    <a:pt x="2415" y="1769"/>
                    <a:pt x="2415" y="1769"/>
                  </a:cubicBezTo>
                  <a:cubicBezTo>
                    <a:pt x="2409" y="1758"/>
                    <a:pt x="2402" y="1747"/>
                    <a:pt x="2396" y="1736"/>
                  </a:cubicBezTo>
                  <a:cubicBezTo>
                    <a:pt x="2392" y="1728"/>
                    <a:pt x="2383" y="1716"/>
                    <a:pt x="2381" y="1706"/>
                  </a:cubicBezTo>
                  <a:cubicBezTo>
                    <a:pt x="2381" y="1706"/>
                    <a:pt x="2381" y="1706"/>
                    <a:pt x="2381" y="1706"/>
                  </a:cubicBezTo>
                  <a:cubicBezTo>
                    <a:pt x="2380" y="1705"/>
                    <a:pt x="2380" y="1704"/>
                    <a:pt x="2380" y="1703"/>
                  </a:cubicBezTo>
                  <a:cubicBezTo>
                    <a:pt x="2379" y="1693"/>
                    <a:pt x="2387" y="1688"/>
                    <a:pt x="2396" y="1685"/>
                  </a:cubicBezTo>
                  <a:cubicBezTo>
                    <a:pt x="2396" y="1685"/>
                    <a:pt x="2396" y="1685"/>
                    <a:pt x="2396" y="1685"/>
                  </a:cubicBezTo>
                  <a:cubicBezTo>
                    <a:pt x="2396" y="1685"/>
                    <a:pt x="2397" y="1685"/>
                    <a:pt x="2397" y="1685"/>
                  </a:cubicBezTo>
                  <a:cubicBezTo>
                    <a:pt x="2398" y="1685"/>
                    <a:pt x="2398" y="1685"/>
                    <a:pt x="2399" y="1684"/>
                  </a:cubicBezTo>
                  <a:cubicBezTo>
                    <a:pt x="2403" y="1683"/>
                    <a:pt x="2408" y="1683"/>
                    <a:pt x="2413" y="1683"/>
                  </a:cubicBezTo>
                  <a:cubicBezTo>
                    <a:pt x="2470" y="1683"/>
                    <a:pt x="2470" y="1683"/>
                    <a:pt x="2470" y="1683"/>
                  </a:cubicBezTo>
                  <a:cubicBezTo>
                    <a:pt x="2479" y="1683"/>
                    <a:pt x="2489" y="1683"/>
                    <a:pt x="2498" y="1683"/>
                  </a:cubicBezTo>
                  <a:cubicBezTo>
                    <a:pt x="2498" y="1683"/>
                    <a:pt x="2498" y="1683"/>
                    <a:pt x="2498" y="1683"/>
                  </a:cubicBezTo>
                  <a:cubicBezTo>
                    <a:pt x="2499" y="1683"/>
                    <a:pt x="2499" y="1683"/>
                    <a:pt x="2500" y="1683"/>
                  </a:cubicBezTo>
                  <a:cubicBezTo>
                    <a:pt x="2502" y="1683"/>
                    <a:pt x="2505" y="1683"/>
                    <a:pt x="2507" y="1683"/>
                  </a:cubicBezTo>
                  <a:cubicBezTo>
                    <a:pt x="2508" y="1683"/>
                    <a:pt x="2508" y="1683"/>
                    <a:pt x="2509" y="1683"/>
                  </a:cubicBezTo>
                  <a:cubicBezTo>
                    <a:pt x="2527" y="1685"/>
                    <a:pt x="2546" y="1692"/>
                    <a:pt x="2558" y="1705"/>
                  </a:cubicBezTo>
                  <a:cubicBezTo>
                    <a:pt x="2559" y="1705"/>
                    <a:pt x="2560" y="1706"/>
                    <a:pt x="2561" y="1707"/>
                  </a:cubicBezTo>
                  <a:cubicBezTo>
                    <a:pt x="2561" y="1708"/>
                    <a:pt x="2562" y="1708"/>
                    <a:pt x="2562" y="1709"/>
                  </a:cubicBezTo>
                  <a:cubicBezTo>
                    <a:pt x="2563" y="1710"/>
                    <a:pt x="2563" y="1710"/>
                    <a:pt x="2564" y="1711"/>
                  </a:cubicBezTo>
                  <a:cubicBezTo>
                    <a:pt x="2564" y="1711"/>
                    <a:pt x="2564" y="1711"/>
                    <a:pt x="2564" y="1711"/>
                  </a:cubicBezTo>
                  <a:cubicBezTo>
                    <a:pt x="2566" y="1713"/>
                    <a:pt x="2566" y="1713"/>
                    <a:pt x="2566" y="1713"/>
                  </a:cubicBezTo>
                  <a:cubicBezTo>
                    <a:pt x="2571" y="1721"/>
                    <a:pt x="2576" y="1729"/>
                    <a:pt x="2582" y="1737"/>
                  </a:cubicBezTo>
                  <a:cubicBezTo>
                    <a:pt x="2582" y="1737"/>
                    <a:pt x="2582" y="1737"/>
                    <a:pt x="2582" y="1737"/>
                  </a:cubicBezTo>
                  <a:cubicBezTo>
                    <a:pt x="2589" y="1748"/>
                    <a:pt x="2599" y="1759"/>
                    <a:pt x="2605" y="1772"/>
                  </a:cubicBezTo>
                  <a:cubicBezTo>
                    <a:pt x="2606" y="1773"/>
                    <a:pt x="2606" y="1773"/>
                    <a:pt x="2606" y="1774"/>
                  </a:cubicBezTo>
                  <a:cubicBezTo>
                    <a:pt x="2607" y="1775"/>
                    <a:pt x="2607" y="1775"/>
                    <a:pt x="2607" y="1775"/>
                  </a:cubicBezTo>
                  <a:cubicBezTo>
                    <a:pt x="2609" y="1782"/>
                    <a:pt x="2608" y="1787"/>
                    <a:pt x="2605" y="1791"/>
                  </a:cubicBezTo>
                  <a:close/>
                  <a:moveTo>
                    <a:pt x="2937" y="318"/>
                  </a:moveTo>
                  <a:cubicBezTo>
                    <a:pt x="3034" y="414"/>
                    <a:pt x="3089" y="549"/>
                    <a:pt x="3089" y="685"/>
                  </a:cubicBezTo>
                  <a:cubicBezTo>
                    <a:pt x="3089" y="821"/>
                    <a:pt x="3034" y="955"/>
                    <a:pt x="2937" y="1051"/>
                  </a:cubicBezTo>
                  <a:cubicBezTo>
                    <a:pt x="3050" y="999"/>
                    <a:pt x="3153" y="855"/>
                    <a:pt x="3152" y="685"/>
                  </a:cubicBezTo>
                  <a:cubicBezTo>
                    <a:pt x="3153" y="514"/>
                    <a:pt x="3050" y="371"/>
                    <a:pt x="2937" y="318"/>
                  </a:cubicBezTo>
                  <a:close/>
                  <a:moveTo>
                    <a:pt x="216" y="318"/>
                  </a:moveTo>
                  <a:cubicBezTo>
                    <a:pt x="104" y="371"/>
                    <a:pt x="0" y="514"/>
                    <a:pt x="2" y="685"/>
                  </a:cubicBezTo>
                  <a:cubicBezTo>
                    <a:pt x="0" y="855"/>
                    <a:pt x="104" y="999"/>
                    <a:pt x="216" y="1051"/>
                  </a:cubicBezTo>
                  <a:cubicBezTo>
                    <a:pt x="120" y="955"/>
                    <a:pt x="64" y="821"/>
                    <a:pt x="65" y="685"/>
                  </a:cubicBezTo>
                  <a:cubicBezTo>
                    <a:pt x="64" y="549"/>
                    <a:pt x="120" y="414"/>
                    <a:pt x="216" y="318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pPr defTabSz="685624"/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9563690" y="72539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789419" y="1264148"/>
            <a:ext cx="792000" cy="792000"/>
            <a:chOff x="9370302" y="2281148"/>
            <a:chExt cx="792000" cy="792000"/>
          </a:xfrm>
        </p:grpSpPr>
        <p:sp>
          <p:nvSpPr>
            <p:cNvPr id="235" name="Freeform 20"/>
            <p:cNvSpPr>
              <a:spLocks noEditPoints="1"/>
            </p:cNvSpPr>
            <p:nvPr/>
          </p:nvSpPr>
          <p:spPr bwMode="black">
            <a:xfrm>
              <a:off x="9432540" y="2445071"/>
              <a:ext cx="667525" cy="464154"/>
            </a:xfrm>
            <a:custGeom>
              <a:avLst/>
              <a:gdLst/>
              <a:ahLst/>
              <a:cxnLst>
                <a:cxn ang="0">
                  <a:pos x="774" y="456"/>
                </a:cxn>
                <a:cxn ang="0">
                  <a:pos x="774" y="36"/>
                </a:cxn>
                <a:cxn ang="0">
                  <a:pos x="737" y="0"/>
                </a:cxn>
                <a:cxn ang="0">
                  <a:pos x="107" y="0"/>
                </a:cxn>
                <a:cxn ang="0">
                  <a:pos x="71" y="36"/>
                </a:cxn>
                <a:cxn ang="0">
                  <a:pos x="71" y="456"/>
                </a:cxn>
                <a:cxn ang="0">
                  <a:pos x="0" y="544"/>
                </a:cxn>
                <a:cxn ang="0">
                  <a:pos x="44" y="588"/>
                </a:cxn>
                <a:cxn ang="0">
                  <a:pos x="800" y="588"/>
                </a:cxn>
                <a:cxn ang="0">
                  <a:pos x="844" y="544"/>
                </a:cxn>
                <a:cxn ang="0">
                  <a:pos x="774" y="456"/>
                </a:cxn>
                <a:cxn ang="0">
                  <a:pos x="481" y="554"/>
                </a:cxn>
                <a:cxn ang="0">
                  <a:pos x="350" y="554"/>
                </a:cxn>
                <a:cxn ang="0">
                  <a:pos x="337" y="547"/>
                </a:cxn>
                <a:cxn ang="0">
                  <a:pos x="352" y="519"/>
                </a:cxn>
                <a:cxn ang="0">
                  <a:pos x="363" y="514"/>
                </a:cxn>
                <a:cxn ang="0">
                  <a:pos x="468" y="514"/>
                </a:cxn>
                <a:cxn ang="0">
                  <a:pos x="478" y="519"/>
                </a:cxn>
                <a:cxn ang="0">
                  <a:pos x="494" y="547"/>
                </a:cxn>
                <a:cxn ang="0">
                  <a:pos x="481" y="554"/>
                </a:cxn>
                <a:cxn ang="0">
                  <a:pos x="748" y="456"/>
                </a:cxn>
                <a:cxn ang="0">
                  <a:pos x="99" y="456"/>
                </a:cxn>
                <a:cxn ang="0">
                  <a:pos x="99" y="42"/>
                </a:cxn>
                <a:cxn ang="0">
                  <a:pos x="117" y="24"/>
                </a:cxn>
                <a:cxn ang="0">
                  <a:pos x="730" y="24"/>
                </a:cxn>
                <a:cxn ang="0">
                  <a:pos x="748" y="42"/>
                </a:cxn>
                <a:cxn ang="0">
                  <a:pos x="748" y="456"/>
                </a:cxn>
              </a:cxnLst>
              <a:rect l="0" t="0" r="r" b="b"/>
              <a:pathLst>
                <a:path w="844" h="588">
                  <a:moveTo>
                    <a:pt x="774" y="456"/>
                  </a:moveTo>
                  <a:cubicBezTo>
                    <a:pt x="774" y="36"/>
                    <a:pt x="774" y="36"/>
                    <a:pt x="774" y="36"/>
                  </a:cubicBezTo>
                  <a:cubicBezTo>
                    <a:pt x="774" y="16"/>
                    <a:pt x="757" y="0"/>
                    <a:pt x="73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71" y="16"/>
                    <a:pt x="71" y="36"/>
                  </a:cubicBezTo>
                  <a:cubicBezTo>
                    <a:pt x="71" y="456"/>
                    <a:pt x="71" y="456"/>
                    <a:pt x="71" y="456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568"/>
                    <a:pt x="20" y="588"/>
                    <a:pt x="44" y="588"/>
                  </a:cubicBezTo>
                  <a:cubicBezTo>
                    <a:pt x="800" y="588"/>
                    <a:pt x="800" y="588"/>
                    <a:pt x="800" y="588"/>
                  </a:cubicBezTo>
                  <a:cubicBezTo>
                    <a:pt x="824" y="588"/>
                    <a:pt x="844" y="568"/>
                    <a:pt x="844" y="544"/>
                  </a:cubicBezTo>
                  <a:lnTo>
                    <a:pt x="774" y="456"/>
                  </a:lnTo>
                  <a:close/>
                  <a:moveTo>
                    <a:pt x="481" y="554"/>
                  </a:moveTo>
                  <a:cubicBezTo>
                    <a:pt x="350" y="554"/>
                    <a:pt x="350" y="554"/>
                    <a:pt x="350" y="554"/>
                  </a:cubicBezTo>
                  <a:cubicBezTo>
                    <a:pt x="343" y="554"/>
                    <a:pt x="337" y="551"/>
                    <a:pt x="337" y="547"/>
                  </a:cubicBezTo>
                  <a:cubicBezTo>
                    <a:pt x="352" y="519"/>
                    <a:pt x="352" y="519"/>
                    <a:pt x="352" y="519"/>
                  </a:cubicBezTo>
                  <a:cubicBezTo>
                    <a:pt x="352" y="516"/>
                    <a:pt x="357" y="514"/>
                    <a:pt x="363" y="514"/>
                  </a:cubicBezTo>
                  <a:cubicBezTo>
                    <a:pt x="468" y="514"/>
                    <a:pt x="468" y="514"/>
                    <a:pt x="468" y="514"/>
                  </a:cubicBezTo>
                  <a:cubicBezTo>
                    <a:pt x="473" y="514"/>
                    <a:pt x="478" y="516"/>
                    <a:pt x="478" y="519"/>
                  </a:cubicBezTo>
                  <a:cubicBezTo>
                    <a:pt x="494" y="547"/>
                    <a:pt x="494" y="547"/>
                    <a:pt x="494" y="547"/>
                  </a:cubicBezTo>
                  <a:cubicBezTo>
                    <a:pt x="494" y="551"/>
                    <a:pt x="488" y="554"/>
                    <a:pt x="481" y="554"/>
                  </a:cubicBezTo>
                  <a:close/>
                  <a:moveTo>
                    <a:pt x="748" y="456"/>
                  </a:moveTo>
                  <a:cubicBezTo>
                    <a:pt x="99" y="456"/>
                    <a:pt x="99" y="456"/>
                    <a:pt x="99" y="45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2"/>
                    <a:pt x="107" y="24"/>
                    <a:pt x="117" y="24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740" y="24"/>
                    <a:pt x="748" y="32"/>
                    <a:pt x="748" y="42"/>
                  </a:cubicBezTo>
                  <a:lnTo>
                    <a:pt x="748" y="456"/>
                  </a:lnTo>
                  <a:close/>
                </a:path>
              </a:pathLst>
            </a:custGeom>
            <a:solidFill>
              <a:srgbClr val="007ABD"/>
            </a:solidFill>
            <a:extLst/>
          </p:spPr>
          <p:txBody>
            <a:bodyPr vert="horz" wrap="square" lIns="111925" tIns="55963" rIns="111925" bIns="5596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9370302" y="228114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37" name="TextBox 236"/>
          <p:cNvSpPr txBox="1"/>
          <p:nvPr/>
        </p:nvSpPr>
        <p:spPr>
          <a:xfrm>
            <a:off x="822057" y="2677012"/>
            <a:ext cx="6511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Social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238" name="Group 237"/>
          <p:cNvGrpSpPr/>
          <p:nvPr/>
        </p:nvGrpSpPr>
        <p:grpSpPr>
          <a:xfrm>
            <a:off x="683546" y="2997570"/>
            <a:ext cx="792000" cy="792000"/>
            <a:chOff x="9756620" y="429836"/>
            <a:chExt cx="792000" cy="792000"/>
          </a:xfrm>
        </p:grpSpPr>
        <p:sp>
          <p:nvSpPr>
            <p:cNvPr id="239" name="Freeform 14"/>
            <p:cNvSpPr>
              <a:spLocks noEditPoints="1"/>
            </p:cNvSpPr>
            <p:nvPr/>
          </p:nvSpPr>
          <p:spPr bwMode="auto">
            <a:xfrm>
              <a:off x="9837713" y="510929"/>
              <a:ext cx="629814" cy="629814"/>
            </a:xfrm>
            <a:custGeom>
              <a:avLst/>
              <a:gdLst>
                <a:gd name="T0" fmla="*/ 0 w 383"/>
                <a:gd name="T1" fmla="*/ 378 h 405"/>
                <a:gd name="T2" fmla="*/ 0 w 383"/>
                <a:gd name="T3" fmla="*/ 163 h 405"/>
                <a:gd name="T4" fmla="*/ 39 w 383"/>
                <a:gd name="T5" fmla="*/ 163 h 405"/>
                <a:gd name="T6" fmla="*/ 39 w 383"/>
                <a:gd name="T7" fmla="*/ 378 h 405"/>
                <a:gd name="T8" fmla="*/ 0 w 383"/>
                <a:gd name="T9" fmla="*/ 378 h 405"/>
                <a:gd name="T10" fmla="*/ 357 w 383"/>
                <a:gd name="T11" fmla="*/ 158 h 405"/>
                <a:gd name="T12" fmla="*/ 263 w 383"/>
                <a:gd name="T13" fmla="*/ 156 h 405"/>
                <a:gd name="T14" fmla="*/ 286 w 383"/>
                <a:gd name="T15" fmla="*/ 97 h 405"/>
                <a:gd name="T16" fmla="*/ 260 w 383"/>
                <a:gd name="T17" fmla="*/ 0 h 405"/>
                <a:gd name="T18" fmla="*/ 233 w 383"/>
                <a:gd name="T19" fmla="*/ 26 h 405"/>
                <a:gd name="T20" fmla="*/ 131 w 383"/>
                <a:gd name="T21" fmla="*/ 145 h 405"/>
                <a:gd name="T22" fmla="*/ 59 w 383"/>
                <a:gd name="T23" fmla="*/ 185 h 405"/>
                <a:gd name="T24" fmla="*/ 59 w 383"/>
                <a:gd name="T25" fmla="*/ 364 h 405"/>
                <a:gd name="T26" fmla="*/ 162 w 383"/>
                <a:gd name="T27" fmla="*/ 405 h 405"/>
                <a:gd name="T28" fmla="*/ 276 w 383"/>
                <a:gd name="T29" fmla="*/ 403 h 405"/>
                <a:gd name="T30" fmla="*/ 305 w 383"/>
                <a:gd name="T31" fmla="*/ 377 h 405"/>
                <a:gd name="T32" fmla="*/ 291 w 383"/>
                <a:gd name="T33" fmla="*/ 351 h 405"/>
                <a:gd name="T34" fmla="*/ 291 w 383"/>
                <a:gd name="T35" fmla="*/ 351 h 405"/>
                <a:gd name="T36" fmla="*/ 290 w 383"/>
                <a:gd name="T37" fmla="*/ 351 h 405"/>
                <a:gd name="T38" fmla="*/ 286 w 383"/>
                <a:gd name="T39" fmla="*/ 346 h 405"/>
                <a:gd name="T40" fmla="*/ 291 w 383"/>
                <a:gd name="T41" fmla="*/ 340 h 405"/>
                <a:gd name="T42" fmla="*/ 302 w 383"/>
                <a:gd name="T43" fmla="*/ 340 h 405"/>
                <a:gd name="T44" fmla="*/ 331 w 383"/>
                <a:gd name="T45" fmla="*/ 314 h 405"/>
                <a:gd name="T46" fmla="*/ 317 w 383"/>
                <a:gd name="T47" fmla="*/ 288 h 405"/>
                <a:gd name="T48" fmla="*/ 317 w 383"/>
                <a:gd name="T49" fmla="*/ 288 h 405"/>
                <a:gd name="T50" fmla="*/ 316 w 383"/>
                <a:gd name="T51" fmla="*/ 287 h 405"/>
                <a:gd name="T52" fmla="*/ 312 w 383"/>
                <a:gd name="T53" fmla="*/ 282 h 405"/>
                <a:gd name="T54" fmla="*/ 317 w 383"/>
                <a:gd name="T55" fmla="*/ 277 h 405"/>
                <a:gd name="T56" fmla="*/ 328 w 383"/>
                <a:gd name="T57" fmla="*/ 276 h 405"/>
                <a:gd name="T58" fmla="*/ 357 w 383"/>
                <a:gd name="T59" fmla="*/ 250 h 405"/>
                <a:gd name="T60" fmla="*/ 343 w 383"/>
                <a:gd name="T61" fmla="*/ 225 h 405"/>
                <a:gd name="T62" fmla="*/ 343 w 383"/>
                <a:gd name="T63" fmla="*/ 225 h 405"/>
                <a:gd name="T64" fmla="*/ 342 w 383"/>
                <a:gd name="T65" fmla="*/ 224 h 405"/>
                <a:gd name="T66" fmla="*/ 338 w 383"/>
                <a:gd name="T67" fmla="*/ 219 h 405"/>
                <a:gd name="T68" fmla="*/ 343 w 383"/>
                <a:gd name="T69" fmla="*/ 213 h 405"/>
                <a:gd name="T70" fmla="*/ 354 w 383"/>
                <a:gd name="T71" fmla="*/ 213 h 405"/>
                <a:gd name="T72" fmla="*/ 383 w 383"/>
                <a:gd name="T73" fmla="*/ 187 h 405"/>
                <a:gd name="T74" fmla="*/ 357 w 383"/>
                <a:gd name="T75" fmla="*/ 15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3" h="405">
                  <a:moveTo>
                    <a:pt x="0" y="378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9" y="378"/>
                    <a:pt x="39" y="378"/>
                    <a:pt x="39" y="378"/>
                  </a:cubicBezTo>
                  <a:cubicBezTo>
                    <a:pt x="0" y="378"/>
                    <a:pt x="0" y="378"/>
                    <a:pt x="0" y="378"/>
                  </a:cubicBezTo>
                  <a:close/>
                  <a:moveTo>
                    <a:pt x="357" y="158"/>
                  </a:moveTo>
                  <a:cubicBezTo>
                    <a:pt x="357" y="158"/>
                    <a:pt x="309" y="157"/>
                    <a:pt x="263" y="156"/>
                  </a:cubicBezTo>
                  <a:cubicBezTo>
                    <a:pt x="271" y="137"/>
                    <a:pt x="281" y="113"/>
                    <a:pt x="286" y="97"/>
                  </a:cubicBezTo>
                  <a:cubicBezTo>
                    <a:pt x="295" y="65"/>
                    <a:pt x="299" y="1"/>
                    <a:pt x="260" y="0"/>
                  </a:cubicBezTo>
                  <a:cubicBezTo>
                    <a:pt x="245" y="0"/>
                    <a:pt x="233" y="11"/>
                    <a:pt x="233" y="26"/>
                  </a:cubicBezTo>
                  <a:cubicBezTo>
                    <a:pt x="233" y="83"/>
                    <a:pt x="197" y="131"/>
                    <a:pt x="131" y="145"/>
                  </a:cubicBezTo>
                  <a:cubicBezTo>
                    <a:pt x="100" y="152"/>
                    <a:pt x="69" y="169"/>
                    <a:pt x="59" y="185"/>
                  </a:cubicBezTo>
                  <a:cubicBezTo>
                    <a:pt x="59" y="223"/>
                    <a:pt x="59" y="364"/>
                    <a:pt x="59" y="364"/>
                  </a:cubicBezTo>
                  <a:cubicBezTo>
                    <a:pt x="59" y="364"/>
                    <a:pt x="127" y="405"/>
                    <a:pt x="162" y="405"/>
                  </a:cubicBezTo>
                  <a:cubicBezTo>
                    <a:pt x="163" y="405"/>
                    <a:pt x="276" y="403"/>
                    <a:pt x="276" y="403"/>
                  </a:cubicBezTo>
                  <a:cubicBezTo>
                    <a:pt x="291" y="404"/>
                    <a:pt x="304" y="392"/>
                    <a:pt x="305" y="377"/>
                  </a:cubicBezTo>
                  <a:cubicBezTo>
                    <a:pt x="305" y="366"/>
                    <a:pt x="300" y="356"/>
                    <a:pt x="291" y="351"/>
                  </a:cubicBezTo>
                  <a:cubicBezTo>
                    <a:pt x="291" y="351"/>
                    <a:pt x="291" y="351"/>
                    <a:pt x="291" y="351"/>
                  </a:cubicBezTo>
                  <a:cubicBezTo>
                    <a:pt x="290" y="351"/>
                    <a:pt x="290" y="351"/>
                    <a:pt x="290" y="351"/>
                  </a:cubicBezTo>
                  <a:cubicBezTo>
                    <a:pt x="287" y="350"/>
                    <a:pt x="286" y="348"/>
                    <a:pt x="286" y="346"/>
                  </a:cubicBezTo>
                  <a:cubicBezTo>
                    <a:pt x="286" y="342"/>
                    <a:pt x="288" y="340"/>
                    <a:pt x="291" y="340"/>
                  </a:cubicBezTo>
                  <a:cubicBezTo>
                    <a:pt x="302" y="340"/>
                    <a:pt x="302" y="340"/>
                    <a:pt x="302" y="340"/>
                  </a:cubicBezTo>
                  <a:cubicBezTo>
                    <a:pt x="317" y="340"/>
                    <a:pt x="330" y="329"/>
                    <a:pt x="331" y="314"/>
                  </a:cubicBezTo>
                  <a:cubicBezTo>
                    <a:pt x="331" y="303"/>
                    <a:pt x="326" y="293"/>
                    <a:pt x="317" y="288"/>
                  </a:cubicBezTo>
                  <a:cubicBezTo>
                    <a:pt x="317" y="288"/>
                    <a:pt x="317" y="288"/>
                    <a:pt x="317" y="288"/>
                  </a:cubicBezTo>
                  <a:cubicBezTo>
                    <a:pt x="316" y="288"/>
                    <a:pt x="316" y="288"/>
                    <a:pt x="316" y="287"/>
                  </a:cubicBezTo>
                  <a:cubicBezTo>
                    <a:pt x="313" y="287"/>
                    <a:pt x="312" y="285"/>
                    <a:pt x="312" y="282"/>
                  </a:cubicBezTo>
                  <a:cubicBezTo>
                    <a:pt x="312" y="279"/>
                    <a:pt x="314" y="277"/>
                    <a:pt x="317" y="277"/>
                  </a:cubicBezTo>
                  <a:cubicBezTo>
                    <a:pt x="328" y="276"/>
                    <a:pt x="328" y="276"/>
                    <a:pt x="328" y="276"/>
                  </a:cubicBezTo>
                  <a:cubicBezTo>
                    <a:pt x="343" y="277"/>
                    <a:pt x="356" y="265"/>
                    <a:pt x="357" y="250"/>
                  </a:cubicBezTo>
                  <a:cubicBezTo>
                    <a:pt x="357" y="239"/>
                    <a:pt x="352" y="229"/>
                    <a:pt x="343" y="225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42" y="224"/>
                    <a:pt x="342" y="224"/>
                    <a:pt x="342" y="224"/>
                  </a:cubicBezTo>
                  <a:cubicBezTo>
                    <a:pt x="339" y="223"/>
                    <a:pt x="338" y="221"/>
                    <a:pt x="338" y="219"/>
                  </a:cubicBezTo>
                  <a:cubicBezTo>
                    <a:pt x="338" y="216"/>
                    <a:pt x="340" y="213"/>
                    <a:pt x="343" y="213"/>
                  </a:cubicBezTo>
                  <a:cubicBezTo>
                    <a:pt x="354" y="213"/>
                    <a:pt x="354" y="213"/>
                    <a:pt x="354" y="213"/>
                  </a:cubicBezTo>
                  <a:cubicBezTo>
                    <a:pt x="369" y="214"/>
                    <a:pt x="382" y="202"/>
                    <a:pt x="383" y="187"/>
                  </a:cubicBezTo>
                  <a:cubicBezTo>
                    <a:pt x="383" y="172"/>
                    <a:pt x="374" y="159"/>
                    <a:pt x="357" y="158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822932"/>
              <a:endParaRPr lang="en-US" sz="1600" spc="-135" dirty="0">
                <a:solidFill>
                  <a:prstClr val="black">
                    <a:lumMod val="50000"/>
                  </a:prstClr>
                </a:solidFill>
                <a:latin typeface="+mj-lt"/>
              </a:endParaRP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9756620" y="4298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-77424" y="3755668"/>
            <a:ext cx="792000" cy="792000"/>
            <a:chOff x="9938539" y="1799431"/>
            <a:chExt cx="792000" cy="792000"/>
          </a:xfrm>
        </p:grpSpPr>
        <p:sp>
          <p:nvSpPr>
            <p:cNvPr id="242" name="Freeform 7"/>
            <p:cNvSpPr>
              <a:spLocks/>
            </p:cNvSpPr>
            <p:nvPr/>
          </p:nvSpPr>
          <p:spPr bwMode="auto">
            <a:xfrm>
              <a:off x="10188355" y="1918686"/>
              <a:ext cx="292368" cy="553491"/>
            </a:xfrm>
            <a:custGeom>
              <a:avLst/>
              <a:gdLst>
                <a:gd name="T0" fmla="*/ 548 w 652"/>
                <a:gd name="T1" fmla="*/ 211 h 1234"/>
                <a:gd name="T2" fmla="*/ 652 w 652"/>
                <a:gd name="T3" fmla="*/ 211 h 1234"/>
                <a:gd name="T4" fmla="*/ 652 w 652"/>
                <a:gd name="T5" fmla="*/ 0 h 1234"/>
                <a:gd name="T6" fmla="*/ 426 w 652"/>
                <a:gd name="T7" fmla="*/ 0 h 1234"/>
                <a:gd name="T8" fmla="*/ 178 w 652"/>
                <a:gd name="T9" fmla="*/ 248 h 1234"/>
                <a:gd name="T10" fmla="*/ 178 w 652"/>
                <a:gd name="T11" fmla="*/ 374 h 1234"/>
                <a:gd name="T12" fmla="*/ 0 w 652"/>
                <a:gd name="T13" fmla="*/ 374 h 1234"/>
                <a:gd name="T14" fmla="*/ 0 w 652"/>
                <a:gd name="T15" fmla="*/ 585 h 1234"/>
                <a:gd name="T16" fmla="*/ 178 w 652"/>
                <a:gd name="T17" fmla="*/ 585 h 1234"/>
                <a:gd name="T18" fmla="*/ 178 w 652"/>
                <a:gd name="T19" fmla="*/ 1234 h 1234"/>
                <a:gd name="T20" fmla="*/ 455 w 652"/>
                <a:gd name="T21" fmla="*/ 1234 h 1234"/>
                <a:gd name="T22" fmla="*/ 455 w 652"/>
                <a:gd name="T23" fmla="*/ 585 h 1234"/>
                <a:gd name="T24" fmla="*/ 652 w 652"/>
                <a:gd name="T25" fmla="*/ 585 h 1234"/>
                <a:gd name="T26" fmla="*/ 652 w 652"/>
                <a:gd name="T27" fmla="*/ 374 h 1234"/>
                <a:gd name="T28" fmla="*/ 455 w 652"/>
                <a:gd name="T29" fmla="*/ 374 h 1234"/>
                <a:gd name="T30" fmla="*/ 455 w 652"/>
                <a:gd name="T31" fmla="*/ 304 h 1234"/>
                <a:gd name="T32" fmla="*/ 548 w 652"/>
                <a:gd name="T33" fmla="*/ 211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2" h="1234">
                  <a:moveTo>
                    <a:pt x="548" y="211"/>
                  </a:moveTo>
                  <a:cubicBezTo>
                    <a:pt x="652" y="211"/>
                    <a:pt x="652" y="211"/>
                    <a:pt x="652" y="211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289" y="0"/>
                    <a:pt x="178" y="111"/>
                    <a:pt x="178" y="248"/>
                  </a:cubicBezTo>
                  <a:cubicBezTo>
                    <a:pt x="178" y="374"/>
                    <a:pt x="178" y="374"/>
                    <a:pt x="17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178" y="585"/>
                    <a:pt x="178" y="585"/>
                    <a:pt x="178" y="585"/>
                  </a:cubicBezTo>
                  <a:cubicBezTo>
                    <a:pt x="178" y="1234"/>
                    <a:pt x="178" y="1234"/>
                    <a:pt x="178" y="1234"/>
                  </a:cubicBezTo>
                  <a:cubicBezTo>
                    <a:pt x="455" y="1234"/>
                    <a:pt x="455" y="1234"/>
                    <a:pt x="455" y="1234"/>
                  </a:cubicBezTo>
                  <a:cubicBezTo>
                    <a:pt x="455" y="585"/>
                    <a:pt x="455" y="585"/>
                    <a:pt x="455" y="585"/>
                  </a:cubicBezTo>
                  <a:cubicBezTo>
                    <a:pt x="652" y="585"/>
                    <a:pt x="652" y="585"/>
                    <a:pt x="652" y="585"/>
                  </a:cubicBezTo>
                  <a:cubicBezTo>
                    <a:pt x="652" y="374"/>
                    <a:pt x="652" y="374"/>
                    <a:pt x="652" y="374"/>
                  </a:cubicBezTo>
                  <a:cubicBezTo>
                    <a:pt x="455" y="374"/>
                    <a:pt x="455" y="374"/>
                    <a:pt x="455" y="37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55" y="252"/>
                    <a:pt x="496" y="211"/>
                    <a:pt x="548" y="211"/>
                  </a:cubicBezTo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24342" tIns="62170" rIns="124342" bIns="6217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847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</a:endParaRP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9938539" y="179943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1491165" y="4329987"/>
            <a:ext cx="792000" cy="792000"/>
            <a:chOff x="10332286" y="1435452"/>
            <a:chExt cx="792000" cy="792000"/>
          </a:xfrm>
        </p:grpSpPr>
        <p:sp>
          <p:nvSpPr>
            <p:cNvPr id="245" name="Freeform 244"/>
            <p:cNvSpPr/>
            <p:nvPr/>
          </p:nvSpPr>
          <p:spPr>
            <a:xfrm>
              <a:off x="10565648" y="1546419"/>
              <a:ext cx="325277" cy="570067"/>
            </a:xfrm>
            <a:custGeom>
              <a:avLst/>
              <a:gdLst>
                <a:gd name="connsiteX0" fmla="*/ 109100 w 2091064"/>
                <a:gd name="connsiteY0" fmla="*/ 127865 h 2876104"/>
                <a:gd name="connsiteX1" fmla="*/ 134979 w 2091064"/>
                <a:gd name="connsiteY1" fmla="*/ 1930786 h 2876104"/>
                <a:gd name="connsiteX2" fmla="*/ 1083884 w 2091064"/>
                <a:gd name="connsiteY2" fmla="*/ 2776175 h 2876104"/>
                <a:gd name="connsiteX3" fmla="*/ 1963779 w 2091064"/>
                <a:gd name="connsiteY3" fmla="*/ 2750296 h 2876104"/>
                <a:gd name="connsiteX4" fmla="*/ 1894767 w 2091064"/>
                <a:gd name="connsiteY4" fmla="*/ 1792764 h 2876104"/>
                <a:gd name="connsiteX5" fmla="*/ 1066632 w 2091064"/>
                <a:gd name="connsiteY5" fmla="*/ 1792764 h 2876104"/>
                <a:gd name="connsiteX6" fmla="*/ 1023500 w 2091064"/>
                <a:gd name="connsiteY6" fmla="*/ 1361443 h 2876104"/>
                <a:gd name="connsiteX7" fmla="*/ 1998284 w 2091064"/>
                <a:gd name="connsiteY7" fmla="*/ 1395948 h 2876104"/>
                <a:gd name="connsiteX8" fmla="*/ 1937900 w 2091064"/>
                <a:gd name="connsiteY8" fmla="*/ 524681 h 2876104"/>
                <a:gd name="connsiteX9" fmla="*/ 997620 w 2091064"/>
                <a:gd name="connsiteY9" fmla="*/ 507428 h 2876104"/>
                <a:gd name="connsiteX10" fmla="*/ 1101137 w 2091064"/>
                <a:gd name="connsiteY10" fmla="*/ 188250 h 2876104"/>
                <a:gd name="connsiteX11" fmla="*/ 109100 w 2091064"/>
                <a:gd name="connsiteY11" fmla="*/ 127865 h 2876104"/>
                <a:gd name="connsiteX0" fmla="*/ 119694 w 2075779"/>
                <a:gd name="connsiteY0" fmla="*/ 129411 h 2869023"/>
                <a:gd name="connsiteX1" fmla="*/ 119694 w 2075779"/>
                <a:gd name="connsiteY1" fmla="*/ 1923705 h 2869023"/>
                <a:gd name="connsiteX2" fmla="*/ 1068599 w 2075779"/>
                <a:gd name="connsiteY2" fmla="*/ 2769094 h 2869023"/>
                <a:gd name="connsiteX3" fmla="*/ 1948494 w 2075779"/>
                <a:gd name="connsiteY3" fmla="*/ 2743215 h 2869023"/>
                <a:gd name="connsiteX4" fmla="*/ 1879482 w 2075779"/>
                <a:gd name="connsiteY4" fmla="*/ 1785683 h 2869023"/>
                <a:gd name="connsiteX5" fmla="*/ 1051347 w 2075779"/>
                <a:gd name="connsiteY5" fmla="*/ 1785683 h 2869023"/>
                <a:gd name="connsiteX6" fmla="*/ 1008215 w 2075779"/>
                <a:gd name="connsiteY6" fmla="*/ 1354362 h 2869023"/>
                <a:gd name="connsiteX7" fmla="*/ 1982999 w 2075779"/>
                <a:gd name="connsiteY7" fmla="*/ 1388867 h 2869023"/>
                <a:gd name="connsiteX8" fmla="*/ 1922615 w 2075779"/>
                <a:gd name="connsiteY8" fmla="*/ 517600 h 2869023"/>
                <a:gd name="connsiteX9" fmla="*/ 982335 w 2075779"/>
                <a:gd name="connsiteY9" fmla="*/ 500347 h 2869023"/>
                <a:gd name="connsiteX10" fmla="*/ 1085852 w 2075779"/>
                <a:gd name="connsiteY10" fmla="*/ 181169 h 2869023"/>
                <a:gd name="connsiteX11" fmla="*/ 119694 w 2075779"/>
                <a:gd name="connsiteY11" fmla="*/ 129411 h 2869023"/>
                <a:gd name="connsiteX0" fmla="*/ 69655 w 2025740"/>
                <a:gd name="connsiteY0" fmla="*/ 129411 h 2869023"/>
                <a:gd name="connsiteX1" fmla="*/ 69655 w 2025740"/>
                <a:gd name="connsiteY1" fmla="*/ 1923705 h 2869023"/>
                <a:gd name="connsiteX2" fmla="*/ 1018560 w 2025740"/>
                <a:gd name="connsiteY2" fmla="*/ 2769094 h 2869023"/>
                <a:gd name="connsiteX3" fmla="*/ 1898455 w 2025740"/>
                <a:gd name="connsiteY3" fmla="*/ 2743215 h 2869023"/>
                <a:gd name="connsiteX4" fmla="*/ 1829443 w 2025740"/>
                <a:gd name="connsiteY4" fmla="*/ 1785683 h 2869023"/>
                <a:gd name="connsiteX5" fmla="*/ 1001308 w 2025740"/>
                <a:gd name="connsiteY5" fmla="*/ 1785683 h 2869023"/>
                <a:gd name="connsiteX6" fmla="*/ 958176 w 2025740"/>
                <a:gd name="connsiteY6" fmla="*/ 1354362 h 2869023"/>
                <a:gd name="connsiteX7" fmla="*/ 1932960 w 2025740"/>
                <a:gd name="connsiteY7" fmla="*/ 1388867 h 2869023"/>
                <a:gd name="connsiteX8" fmla="*/ 1872576 w 2025740"/>
                <a:gd name="connsiteY8" fmla="*/ 517600 h 2869023"/>
                <a:gd name="connsiteX9" fmla="*/ 932296 w 2025740"/>
                <a:gd name="connsiteY9" fmla="*/ 500347 h 2869023"/>
                <a:gd name="connsiteX10" fmla="*/ 1035813 w 2025740"/>
                <a:gd name="connsiteY10" fmla="*/ 181169 h 2869023"/>
                <a:gd name="connsiteX11" fmla="*/ 69655 w 2025740"/>
                <a:gd name="connsiteY11" fmla="*/ 129411 h 2869023"/>
                <a:gd name="connsiteX0" fmla="*/ 0 w 1956085"/>
                <a:gd name="connsiteY0" fmla="*/ 129411 h 2869023"/>
                <a:gd name="connsiteX1" fmla="*/ 0 w 1956085"/>
                <a:gd name="connsiteY1" fmla="*/ 1923705 h 2869023"/>
                <a:gd name="connsiteX2" fmla="*/ 948905 w 1956085"/>
                <a:gd name="connsiteY2" fmla="*/ 2769094 h 2869023"/>
                <a:gd name="connsiteX3" fmla="*/ 1828800 w 1956085"/>
                <a:gd name="connsiteY3" fmla="*/ 2743215 h 2869023"/>
                <a:gd name="connsiteX4" fmla="*/ 1759788 w 1956085"/>
                <a:gd name="connsiteY4" fmla="*/ 1785683 h 2869023"/>
                <a:gd name="connsiteX5" fmla="*/ 931653 w 1956085"/>
                <a:gd name="connsiteY5" fmla="*/ 1785683 h 2869023"/>
                <a:gd name="connsiteX6" fmla="*/ 888521 w 1956085"/>
                <a:gd name="connsiteY6" fmla="*/ 1354362 h 2869023"/>
                <a:gd name="connsiteX7" fmla="*/ 1863305 w 1956085"/>
                <a:gd name="connsiteY7" fmla="*/ 1388867 h 2869023"/>
                <a:gd name="connsiteX8" fmla="*/ 1802921 w 1956085"/>
                <a:gd name="connsiteY8" fmla="*/ 517600 h 2869023"/>
                <a:gd name="connsiteX9" fmla="*/ 862641 w 1956085"/>
                <a:gd name="connsiteY9" fmla="*/ 500347 h 2869023"/>
                <a:gd name="connsiteX10" fmla="*/ 966158 w 1956085"/>
                <a:gd name="connsiteY10" fmla="*/ 181169 h 2869023"/>
                <a:gd name="connsiteX11" fmla="*/ 0 w 1956085"/>
                <a:gd name="connsiteY11" fmla="*/ 129411 h 2869023"/>
                <a:gd name="connsiteX0" fmla="*/ 0 w 1956085"/>
                <a:gd name="connsiteY0" fmla="*/ 301930 h 3041542"/>
                <a:gd name="connsiteX1" fmla="*/ 0 w 1956085"/>
                <a:gd name="connsiteY1" fmla="*/ 2096224 h 3041542"/>
                <a:gd name="connsiteX2" fmla="*/ 948905 w 1956085"/>
                <a:gd name="connsiteY2" fmla="*/ 2941613 h 3041542"/>
                <a:gd name="connsiteX3" fmla="*/ 1828800 w 1956085"/>
                <a:gd name="connsiteY3" fmla="*/ 2915734 h 3041542"/>
                <a:gd name="connsiteX4" fmla="*/ 1759788 w 1956085"/>
                <a:gd name="connsiteY4" fmla="*/ 1958202 h 3041542"/>
                <a:gd name="connsiteX5" fmla="*/ 931653 w 1956085"/>
                <a:gd name="connsiteY5" fmla="*/ 1958202 h 3041542"/>
                <a:gd name="connsiteX6" fmla="*/ 888521 w 1956085"/>
                <a:gd name="connsiteY6" fmla="*/ 1526881 h 3041542"/>
                <a:gd name="connsiteX7" fmla="*/ 1863305 w 1956085"/>
                <a:gd name="connsiteY7" fmla="*/ 1561386 h 3041542"/>
                <a:gd name="connsiteX8" fmla="*/ 1802921 w 1956085"/>
                <a:gd name="connsiteY8" fmla="*/ 690119 h 3041542"/>
                <a:gd name="connsiteX9" fmla="*/ 862641 w 1956085"/>
                <a:gd name="connsiteY9" fmla="*/ 672866 h 3041542"/>
                <a:gd name="connsiteX10" fmla="*/ 966158 w 1956085"/>
                <a:gd name="connsiteY10" fmla="*/ 353688 h 3041542"/>
                <a:gd name="connsiteX11" fmla="*/ 0 w 1956085"/>
                <a:gd name="connsiteY11" fmla="*/ 301930 h 3041542"/>
                <a:gd name="connsiteX0" fmla="*/ 0 w 1956085"/>
                <a:gd name="connsiteY0" fmla="*/ 304163 h 3043775"/>
                <a:gd name="connsiteX1" fmla="*/ 0 w 1956085"/>
                <a:gd name="connsiteY1" fmla="*/ 2098457 h 3043775"/>
                <a:gd name="connsiteX2" fmla="*/ 948905 w 1956085"/>
                <a:gd name="connsiteY2" fmla="*/ 2943846 h 3043775"/>
                <a:gd name="connsiteX3" fmla="*/ 1828800 w 1956085"/>
                <a:gd name="connsiteY3" fmla="*/ 2917967 h 3043775"/>
                <a:gd name="connsiteX4" fmla="*/ 1759788 w 1956085"/>
                <a:gd name="connsiteY4" fmla="*/ 1960435 h 3043775"/>
                <a:gd name="connsiteX5" fmla="*/ 931653 w 1956085"/>
                <a:gd name="connsiteY5" fmla="*/ 1960435 h 3043775"/>
                <a:gd name="connsiteX6" fmla="*/ 888521 w 1956085"/>
                <a:gd name="connsiteY6" fmla="*/ 1529114 h 3043775"/>
                <a:gd name="connsiteX7" fmla="*/ 1863305 w 1956085"/>
                <a:gd name="connsiteY7" fmla="*/ 1563619 h 3043775"/>
                <a:gd name="connsiteX8" fmla="*/ 1802921 w 1956085"/>
                <a:gd name="connsiteY8" fmla="*/ 692352 h 3043775"/>
                <a:gd name="connsiteX9" fmla="*/ 862641 w 1956085"/>
                <a:gd name="connsiteY9" fmla="*/ 675099 h 3043775"/>
                <a:gd name="connsiteX10" fmla="*/ 914400 w 1956085"/>
                <a:gd name="connsiteY10" fmla="*/ 347294 h 3043775"/>
                <a:gd name="connsiteX11" fmla="*/ 0 w 1956085"/>
                <a:gd name="connsiteY11" fmla="*/ 304163 h 3043775"/>
                <a:gd name="connsiteX0" fmla="*/ 0 w 1956085"/>
                <a:gd name="connsiteY0" fmla="*/ 316045 h 3055657"/>
                <a:gd name="connsiteX1" fmla="*/ 0 w 1956085"/>
                <a:gd name="connsiteY1" fmla="*/ 2110339 h 3055657"/>
                <a:gd name="connsiteX2" fmla="*/ 948905 w 1956085"/>
                <a:gd name="connsiteY2" fmla="*/ 2955728 h 3055657"/>
                <a:gd name="connsiteX3" fmla="*/ 1828800 w 1956085"/>
                <a:gd name="connsiteY3" fmla="*/ 2929849 h 3055657"/>
                <a:gd name="connsiteX4" fmla="*/ 1759788 w 1956085"/>
                <a:gd name="connsiteY4" fmla="*/ 1972317 h 3055657"/>
                <a:gd name="connsiteX5" fmla="*/ 931653 w 1956085"/>
                <a:gd name="connsiteY5" fmla="*/ 1972317 h 3055657"/>
                <a:gd name="connsiteX6" fmla="*/ 888521 w 1956085"/>
                <a:gd name="connsiteY6" fmla="*/ 1540996 h 3055657"/>
                <a:gd name="connsiteX7" fmla="*/ 1863305 w 1956085"/>
                <a:gd name="connsiteY7" fmla="*/ 1575501 h 3055657"/>
                <a:gd name="connsiteX8" fmla="*/ 1802921 w 1956085"/>
                <a:gd name="connsiteY8" fmla="*/ 704234 h 3055657"/>
                <a:gd name="connsiteX9" fmla="*/ 862641 w 1956085"/>
                <a:gd name="connsiteY9" fmla="*/ 686981 h 3055657"/>
                <a:gd name="connsiteX10" fmla="*/ 914400 w 1956085"/>
                <a:gd name="connsiteY10" fmla="*/ 359176 h 3055657"/>
                <a:gd name="connsiteX11" fmla="*/ 0 w 1956085"/>
                <a:gd name="connsiteY11" fmla="*/ 316045 h 3055657"/>
                <a:gd name="connsiteX0" fmla="*/ 0 w 1956085"/>
                <a:gd name="connsiteY0" fmla="*/ 339566 h 3079178"/>
                <a:gd name="connsiteX1" fmla="*/ 0 w 1956085"/>
                <a:gd name="connsiteY1" fmla="*/ 2133860 h 3079178"/>
                <a:gd name="connsiteX2" fmla="*/ 948905 w 1956085"/>
                <a:gd name="connsiteY2" fmla="*/ 2979249 h 3079178"/>
                <a:gd name="connsiteX3" fmla="*/ 1828800 w 1956085"/>
                <a:gd name="connsiteY3" fmla="*/ 2953370 h 3079178"/>
                <a:gd name="connsiteX4" fmla="*/ 1759788 w 1956085"/>
                <a:gd name="connsiteY4" fmla="*/ 1995838 h 3079178"/>
                <a:gd name="connsiteX5" fmla="*/ 931653 w 1956085"/>
                <a:gd name="connsiteY5" fmla="*/ 1995838 h 3079178"/>
                <a:gd name="connsiteX6" fmla="*/ 888521 w 1956085"/>
                <a:gd name="connsiteY6" fmla="*/ 1564517 h 3079178"/>
                <a:gd name="connsiteX7" fmla="*/ 1863305 w 1956085"/>
                <a:gd name="connsiteY7" fmla="*/ 1599022 h 3079178"/>
                <a:gd name="connsiteX8" fmla="*/ 1802921 w 1956085"/>
                <a:gd name="connsiteY8" fmla="*/ 727755 h 3079178"/>
                <a:gd name="connsiteX9" fmla="*/ 862641 w 1956085"/>
                <a:gd name="connsiteY9" fmla="*/ 710502 h 3079178"/>
                <a:gd name="connsiteX10" fmla="*/ 914400 w 1956085"/>
                <a:gd name="connsiteY10" fmla="*/ 382697 h 3079178"/>
                <a:gd name="connsiteX11" fmla="*/ 0 w 1956085"/>
                <a:gd name="connsiteY11" fmla="*/ 339566 h 3079178"/>
                <a:gd name="connsiteX0" fmla="*/ 0 w 1956085"/>
                <a:gd name="connsiteY0" fmla="*/ 237502 h 2977114"/>
                <a:gd name="connsiteX1" fmla="*/ 0 w 1956085"/>
                <a:gd name="connsiteY1" fmla="*/ 2031796 h 2977114"/>
                <a:gd name="connsiteX2" fmla="*/ 948905 w 1956085"/>
                <a:gd name="connsiteY2" fmla="*/ 2877185 h 2977114"/>
                <a:gd name="connsiteX3" fmla="*/ 1828800 w 1956085"/>
                <a:gd name="connsiteY3" fmla="*/ 2851306 h 2977114"/>
                <a:gd name="connsiteX4" fmla="*/ 1759788 w 1956085"/>
                <a:gd name="connsiteY4" fmla="*/ 1893774 h 2977114"/>
                <a:gd name="connsiteX5" fmla="*/ 931653 w 1956085"/>
                <a:gd name="connsiteY5" fmla="*/ 1893774 h 2977114"/>
                <a:gd name="connsiteX6" fmla="*/ 888521 w 1956085"/>
                <a:gd name="connsiteY6" fmla="*/ 1462453 h 2977114"/>
                <a:gd name="connsiteX7" fmla="*/ 1863305 w 1956085"/>
                <a:gd name="connsiteY7" fmla="*/ 1496958 h 2977114"/>
                <a:gd name="connsiteX8" fmla="*/ 1802921 w 1956085"/>
                <a:gd name="connsiteY8" fmla="*/ 625691 h 2977114"/>
                <a:gd name="connsiteX9" fmla="*/ 862641 w 1956085"/>
                <a:gd name="connsiteY9" fmla="*/ 608438 h 2977114"/>
                <a:gd name="connsiteX10" fmla="*/ 914400 w 1956085"/>
                <a:gd name="connsiteY10" fmla="*/ 280633 h 2977114"/>
                <a:gd name="connsiteX11" fmla="*/ 0 w 1956085"/>
                <a:gd name="connsiteY11" fmla="*/ 237502 h 2977114"/>
                <a:gd name="connsiteX0" fmla="*/ 0 w 1956085"/>
                <a:gd name="connsiteY0" fmla="*/ 301634 h 3041246"/>
                <a:gd name="connsiteX1" fmla="*/ 0 w 1956085"/>
                <a:gd name="connsiteY1" fmla="*/ 2095928 h 3041246"/>
                <a:gd name="connsiteX2" fmla="*/ 948905 w 1956085"/>
                <a:gd name="connsiteY2" fmla="*/ 2941317 h 3041246"/>
                <a:gd name="connsiteX3" fmla="*/ 1828800 w 1956085"/>
                <a:gd name="connsiteY3" fmla="*/ 2915438 h 3041246"/>
                <a:gd name="connsiteX4" fmla="*/ 1759788 w 1956085"/>
                <a:gd name="connsiteY4" fmla="*/ 1957906 h 3041246"/>
                <a:gd name="connsiteX5" fmla="*/ 931653 w 1956085"/>
                <a:gd name="connsiteY5" fmla="*/ 1957906 h 3041246"/>
                <a:gd name="connsiteX6" fmla="*/ 888521 w 1956085"/>
                <a:gd name="connsiteY6" fmla="*/ 1526585 h 3041246"/>
                <a:gd name="connsiteX7" fmla="*/ 1863305 w 1956085"/>
                <a:gd name="connsiteY7" fmla="*/ 1561090 h 3041246"/>
                <a:gd name="connsiteX8" fmla="*/ 1802921 w 1956085"/>
                <a:gd name="connsiteY8" fmla="*/ 689823 h 3041246"/>
                <a:gd name="connsiteX9" fmla="*/ 862641 w 1956085"/>
                <a:gd name="connsiteY9" fmla="*/ 672570 h 3041246"/>
                <a:gd name="connsiteX10" fmla="*/ 914400 w 1956085"/>
                <a:gd name="connsiteY10" fmla="*/ 344765 h 3041246"/>
                <a:gd name="connsiteX11" fmla="*/ 0 w 1956085"/>
                <a:gd name="connsiteY11" fmla="*/ 301634 h 3041246"/>
                <a:gd name="connsiteX0" fmla="*/ 0 w 1956085"/>
                <a:gd name="connsiteY0" fmla="*/ 318188 h 3057800"/>
                <a:gd name="connsiteX1" fmla="*/ 0 w 1956085"/>
                <a:gd name="connsiteY1" fmla="*/ 2112482 h 3057800"/>
                <a:gd name="connsiteX2" fmla="*/ 948905 w 1956085"/>
                <a:gd name="connsiteY2" fmla="*/ 2957871 h 3057800"/>
                <a:gd name="connsiteX3" fmla="*/ 1828800 w 1956085"/>
                <a:gd name="connsiteY3" fmla="*/ 2931992 h 3057800"/>
                <a:gd name="connsiteX4" fmla="*/ 1759788 w 1956085"/>
                <a:gd name="connsiteY4" fmla="*/ 1974460 h 3057800"/>
                <a:gd name="connsiteX5" fmla="*/ 931653 w 1956085"/>
                <a:gd name="connsiteY5" fmla="*/ 1974460 h 3057800"/>
                <a:gd name="connsiteX6" fmla="*/ 888521 w 1956085"/>
                <a:gd name="connsiteY6" fmla="*/ 1543139 h 3057800"/>
                <a:gd name="connsiteX7" fmla="*/ 1863305 w 1956085"/>
                <a:gd name="connsiteY7" fmla="*/ 1577644 h 3057800"/>
                <a:gd name="connsiteX8" fmla="*/ 1802921 w 1956085"/>
                <a:gd name="connsiteY8" fmla="*/ 706377 h 3057800"/>
                <a:gd name="connsiteX9" fmla="*/ 862641 w 1956085"/>
                <a:gd name="connsiteY9" fmla="*/ 689124 h 3057800"/>
                <a:gd name="connsiteX10" fmla="*/ 914400 w 1956085"/>
                <a:gd name="connsiteY10" fmla="*/ 361319 h 3057800"/>
                <a:gd name="connsiteX11" fmla="*/ 0 w 1956085"/>
                <a:gd name="connsiteY11" fmla="*/ 318188 h 3057800"/>
                <a:gd name="connsiteX0" fmla="*/ 0 w 1956085"/>
                <a:gd name="connsiteY0" fmla="*/ 297100 h 3036712"/>
                <a:gd name="connsiteX1" fmla="*/ 0 w 1956085"/>
                <a:gd name="connsiteY1" fmla="*/ 2091394 h 3036712"/>
                <a:gd name="connsiteX2" fmla="*/ 948905 w 1956085"/>
                <a:gd name="connsiteY2" fmla="*/ 2936783 h 3036712"/>
                <a:gd name="connsiteX3" fmla="*/ 1828800 w 1956085"/>
                <a:gd name="connsiteY3" fmla="*/ 2910904 h 3036712"/>
                <a:gd name="connsiteX4" fmla="*/ 1759788 w 1956085"/>
                <a:gd name="connsiteY4" fmla="*/ 1953372 h 3036712"/>
                <a:gd name="connsiteX5" fmla="*/ 931653 w 1956085"/>
                <a:gd name="connsiteY5" fmla="*/ 1953372 h 3036712"/>
                <a:gd name="connsiteX6" fmla="*/ 888521 w 1956085"/>
                <a:gd name="connsiteY6" fmla="*/ 1522051 h 3036712"/>
                <a:gd name="connsiteX7" fmla="*/ 1863305 w 1956085"/>
                <a:gd name="connsiteY7" fmla="*/ 1556556 h 3036712"/>
                <a:gd name="connsiteX8" fmla="*/ 1802921 w 1956085"/>
                <a:gd name="connsiteY8" fmla="*/ 685289 h 3036712"/>
                <a:gd name="connsiteX9" fmla="*/ 862641 w 1956085"/>
                <a:gd name="connsiteY9" fmla="*/ 668036 h 3036712"/>
                <a:gd name="connsiteX10" fmla="*/ 914400 w 1956085"/>
                <a:gd name="connsiteY10" fmla="*/ 340231 h 3036712"/>
                <a:gd name="connsiteX11" fmla="*/ 0 w 1956085"/>
                <a:gd name="connsiteY11" fmla="*/ 297100 h 3036712"/>
                <a:gd name="connsiteX0" fmla="*/ 0 w 1956085"/>
                <a:gd name="connsiteY0" fmla="*/ 274335 h 3013947"/>
                <a:gd name="connsiteX1" fmla="*/ 0 w 1956085"/>
                <a:gd name="connsiteY1" fmla="*/ 2068629 h 3013947"/>
                <a:gd name="connsiteX2" fmla="*/ 948905 w 1956085"/>
                <a:gd name="connsiteY2" fmla="*/ 2914018 h 3013947"/>
                <a:gd name="connsiteX3" fmla="*/ 1828800 w 1956085"/>
                <a:gd name="connsiteY3" fmla="*/ 2888139 h 3013947"/>
                <a:gd name="connsiteX4" fmla="*/ 1759788 w 1956085"/>
                <a:gd name="connsiteY4" fmla="*/ 1930607 h 3013947"/>
                <a:gd name="connsiteX5" fmla="*/ 931653 w 1956085"/>
                <a:gd name="connsiteY5" fmla="*/ 1930607 h 3013947"/>
                <a:gd name="connsiteX6" fmla="*/ 888521 w 1956085"/>
                <a:gd name="connsiteY6" fmla="*/ 1499286 h 3013947"/>
                <a:gd name="connsiteX7" fmla="*/ 1863305 w 1956085"/>
                <a:gd name="connsiteY7" fmla="*/ 1533791 h 3013947"/>
                <a:gd name="connsiteX8" fmla="*/ 1802921 w 1956085"/>
                <a:gd name="connsiteY8" fmla="*/ 662524 h 3013947"/>
                <a:gd name="connsiteX9" fmla="*/ 862641 w 1956085"/>
                <a:gd name="connsiteY9" fmla="*/ 645271 h 3013947"/>
                <a:gd name="connsiteX10" fmla="*/ 914400 w 1956085"/>
                <a:gd name="connsiteY10" fmla="*/ 317466 h 3013947"/>
                <a:gd name="connsiteX11" fmla="*/ 0 w 1956085"/>
                <a:gd name="connsiteY11" fmla="*/ 274335 h 3013947"/>
                <a:gd name="connsiteX0" fmla="*/ 0 w 1956085"/>
                <a:gd name="connsiteY0" fmla="*/ 274335 h 3013947"/>
                <a:gd name="connsiteX1" fmla="*/ 0 w 1956085"/>
                <a:gd name="connsiteY1" fmla="*/ 2068629 h 3013947"/>
                <a:gd name="connsiteX2" fmla="*/ 948905 w 1956085"/>
                <a:gd name="connsiteY2" fmla="*/ 2914018 h 3013947"/>
                <a:gd name="connsiteX3" fmla="*/ 1828800 w 1956085"/>
                <a:gd name="connsiteY3" fmla="*/ 2888139 h 3013947"/>
                <a:gd name="connsiteX4" fmla="*/ 1759788 w 1956085"/>
                <a:gd name="connsiteY4" fmla="*/ 1930607 h 3013947"/>
                <a:gd name="connsiteX5" fmla="*/ 931653 w 1956085"/>
                <a:gd name="connsiteY5" fmla="*/ 1930607 h 3013947"/>
                <a:gd name="connsiteX6" fmla="*/ 888521 w 1956085"/>
                <a:gd name="connsiteY6" fmla="*/ 1499286 h 3013947"/>
                <a:gd name="connsiteX7" fmla="*/ 1863305 w 1956085"/>
                <a:gd name="connsiteY7" fmla="*/ 1533791 h 3013947"/>
                <a:gd name="connsiteX8" fmla="*/ 1802921 w 1956085"/>
                <a:gd name="connsiteY8" fmla="*/ 662524 h 3013947"/>
                <a:gd name="connsiteX9" fmla="*/ 862641 w 1956085"/>
                <a:gd name="connsiteY9" fmla="*/ 645271 h 3013947"/>
                <a:gd name="connsiteX10" fmla="*/ 888521 w 1956085"/>
                <a:gd name="connsiteY10" fmla="*/ 317466 h 3013947"/>
                <a:gd name="connsiteX11" fmla="*/ 0 w 1956085"/>
                <a:gd name="connsiteY11" fmla="*/ 274335 h 3013947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2208753"/>
                <a:gd name="connsiteY0" fmla="*/ 283632 h 3023244"/>
                <a:gd name="connsiteX1" fmla="*/ 0 w 2208753"/>
                <a:gd name="connsiteY1" fmla="*/ 2077926 h 3023244"/>
                <a:gd name="connsiteX2" fmla="*/ 948905 w 2208753"/>
                <a:gd name="connsiteY2" fmla="*/ 2923315 h 3023244"/>
                <a:gd name="connsiteX3" fmla="*/ 1828800 w 2208753"/>
                <a:gd name="connsiteY3" fmla="*/ 2897436 h 3023244"/>
                <a:gd name="connsiteX4" fmla="*/ 1759788 w 2208753"/>
                <a:gd name="connsiteY4" fmla="*/ 1939904 h 3023244"/>
                <a:gd name="connsiteX5" fmla="*/ 931653 w 2208753"/>
                <a:gd name="connsiteY5" fmla="*/ 1939904 h 3023244"/>
                <a:gd name="connsiteX6" fmla="*/ 888521 w 2208753"/>
                <a:gd name="connsiteY6" fmla="*/ 1508583 h 3023244"/>
                <a:gd name="connsiteX7" fmla="*/ 1863305 w 2208753"/>
                <a:gd name="connsiteY7" fmla="*/ 1543088 h 3023244"/>
                <a:gd name="connsiteX8" fmla="*/ 1802921 w 2208753"/>
                <a:gd name="connsiteY8" fmla="*/ 645941 h 3023244"/>
                <a:gd name="connsiteX9" fmla="*/ 862641 w 2208753"/>
                <a:gd name="connsiteY9" fmla="*/ 654568 h 3023244"/>
                <a:gd name="connsiteX10" fmla="*/ 888521 w 2208753"/>
                <a:gd name="connsiteY10" fmla="*/ 326763 h 3023244"/>
                <a:gd name="connsiteX11" fmla="*/ 0 w 2208753"/>
                <a:gd name="connsiteY11" fmla="*/ 283632 h 3023244"/>
                <a:gd name="connsiteX0" fmla="*/ 0 w 2230864"/>
                <a:gd name="connsiteY0" fmla="*/ 283632 h 3023244"/>
                <a:gd name="connsiteX1" fmla="*/ 0 w 2230864"/>
                <a:gd name="connsiteY1" fmla="*/ 2077926 h 3023244"/>
                <a:gd name="connsiteX2" fmla="*/ 948905 w 2230864"/>
                <a:gd name="connsiteY2" fmla="*/ 2923315 h 3023244"/>
                <a:gd name="connsiteX3" fmla="*/ 1828800 w 2230864"/>
                <a:gd name="connsiteY3" fmla="*/ 2897436 h 3023244"/>
                <a:gd name="connsiteX4" fmla="*/ 1759788 w 2230864"/>
                <a:gd name="connsiteY4" fmla="*/ 1939904 h 3023244"/>
                <a:gd name="connsiteX5" fmla="*/ 931653 w 2230864"/>
                <a:gd name="connsiteY5" fmla="*/ 1939904 h 3023244"/>
                <a:gd name="connsiteX6" fmla="*/ 888521 w 2230864"/>
                <a:gd name="connsiteY6" fmla="*/ 1508583 h 3023244"/>
                <a:gd name="connsiteX7" fmla="*/ 1863305 w 2230864"/>
                <a:gd name="connsiteY7" fmla="*/ 1543088 h 3023244"/>
                <a:gd name="connsiteX8" fmla="*/ 1802921 w 2230864"/>
                <a:gd name="connsiteY8" fmla="*/ 645941 h 3023244"/>
                <a:gd name="connsiteX9" fmla="*/ 862641 w 2230864"/>
                <a:gd name="connsiteY9" fmla="*/ 654568 h 3023244"/>
                <a:gd name="connsiteX10" fmla="*/ 888521 w 2230864"/>
                <a:gd name="connsiteY10" fmla="*/ 326763 h 3023244"/>
                <a:gd name="connsiteX11" fmla="*/ 0 w 2230864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1702"/>
                <a:gd name="connsiteX1" fmla="*/ 0 w 2188058"/>
                <a:gd name="connsiteY1" fmla="*/ 2077926 h 3021702"/>
                <a:gd name="connsiteX2" fmla="*/ 948905 w 2188058"/>
                <a:gd name="connsiteY2" fmla="*/ 2923315 h 3021702"/>
                <a:gd name="connsiteX3" fmla="*/ 1828800 w 2188058"/>
                <a:gd name="connsiteY3" fmla="*/ 2897436 h 3021702"/>
                <a:gd name="connsiteX4" fmla="*/ 1751162 w 2188058"/>
                <a:gd name="connsiteY4" fmla="*/ 1965783 h 3021702"/>
                <a:gd name="connsiteX5" fmla="*/ 871268 w 2188058"/>
                <a:gd name="connsiteY5" fmla="*/ 1939904 h 3021702"/>
                <a:gd name="connsiteX6" fmla="*/ 888521 w 2188058"/>
                <a:gd name="connsiteY6" fmla="*/ 1534462 h 3021702"/>
                <a:gd name="connsiteX7" fmla="*/ 1863305 w 2188058"/>
                <a:gd name="connsiteY7" fmla="*/ 1543088 h 3021702"/>
                <a:gd name="connsiteX8" fmla="*/ 1802921 w 2188058"/>
                <a:gd name="connsiteY8" fmla="*/ 645941 h 3021702"/>
                <a:gd name="connsiteX9" fmla="*/ 862641 w 2188058"/>
                <a:gd name="connsiteY9" fmla="*/ 654568 h 3021702"/>
                <a:gd name="connsiteX10" fmla="*/ 888521 w 2188058"/>
                <a:gd name="connsiteY10" fmla="*/ 326763 h 3021702"/>
                <a:gd name="connsiteX11" fmla="*/ 0 w 2188058"/>
                <a:gd name="connsiteY11" fmla="*/ 283632 h 3021702"/>
                <a:gd name="connsiteX0" fmla="*/ 0 w 2188058"/>
                <a:gd name="connsiteY0" fmla="*/ 283632 h 3021702"/>
                <a:gd name="connsiteX1" fmla="*/ 0 w 2188058"/>
                <a:gd name="connsiteY1" fmla="*/ 2077926 h 3021702"/>
                <a:gd name="connsiteX2" fmla="*/ 948905 w 2188058"/>
                <a:gd name="connsiteY2" fmla="*/ 2923315 h 3021702"/>
                <a:gd name="connsiteX3" fmla="*/ 1828800 w 2188058"/>
                <a:gd name="connsiteY3" fmla="*/ 2897436 h 3021702"/>
                <a:gd name="connsiteX4" fmla="*/ 1751162 w 2188058"/>
                <a:gd name="connsiteY4" fmla="*/ 1965783 h 3021702"/>
                <a:gd name="connsiteX5" fmla="*/ 871268 w 2188058"/>
                <a:gd name="connsiteY5" fmla="*/ 1939904 h 3021702"/>
                <a:gd name="connsiteX6" fmla="*/ 888521 w 2188058"/>
                <a:gd name="connsiteY6" fmla="*/ 1534462 h 3021702"/>
                <a:gd name="connsiteX7" fmla="*/ 1863305 w 2188058"/>
                <a:gd name="connsiteY7" fmla="*/ 1543088 h 3021702"/>
                <a:gd name="connsiteX8" fmla="*/ 1802921 w 2188058"/>
                <a:gd name="connsiteY8" fmla="*/ 645941 h 3021702"/>
                <a:gd name="connsiteX9" fmla="*/ 862641 w 2188058"/>
                <a:gd name="connsiteY9" fmla="*/ 654568 h 3021702"/>
                <a:gd name="connsiteX10" fmla="*/ 888521 w 2188058"/>
                <a:gd name="connsiteY10" fmla="*/ 326763 h 3021702"/>
                <a:gd name="connsiteX11" fmla="*/ 0 w 2188058"/>
                <a:gd name="connsiteY11" fmla="*/ 283632 h 3021702"/>
                <a:gd name="connsiteX0" fmla="*/ 0 w 2188058"/>
                <a:gd name="connsiteY0" fmla="*/ 283632 h 3022729"/>
                <a:gd name="connsiteX1" fmla="*/ 0 w 2188058"/>
                <a:gd name="connsiteY1" fmla="*/ 2077926 h 3022729"/>
                <a:gd name="connsiteX2" fmla="*/ 948905 w 2188058"/>
                <a:gd name="connsiteY2" fmla="*/ 2923315 h 3022729"/>
                <a:gd name="connsiteX3" fmla="*/ 1828800 w 2188058"/>
                <a:gd name="connsiteY3" fmla="*/ 2897436 h 3022729"/>
                <a:gd name="connsiteX4" fmla="*/ 1742536 w 2188058"/>
                <a:gd name="connsiteY4" fmla="*/ 1948530 h 3022729"/>
                <a:gd name="connsiteX5" fmla="*/ 871268 w 2188058"/>
                <a:gd name="connsiteY5" fmla="*/ 1939904 h 3022729"/>
                <a:gd name="connsiteX6" fmla="*/ 888521 w 2188058"/>
                <a:gd name="connsiteY6" fmla="*/ 1534462 h 3022729"/>
                <a:gd name="connsiteX7" fmla="*/ 1863305 w 2188058"/>
                <a:gd name="connsiteY7" fmla="*/ 1543088 h 3022729"/>
                <a:gd name="connsiteX8" fmla="*/ 1802921 w 2188058"/>
                <a:gd name="connsiteY8" fmla="*/ 645941 h 3022729"/>
                <a:gd name="connsiteX9" fmla="*/ 862641 w 2188058"/>
                <a:gd name="connsiteY9" fmla="*/ 654568 h 3022729"/>
                <a:gd name="connsiteX10" fmla="*/ 888521 w 2188058"/>
                <a:gd name="connsiteY10" fmla="*/ 326763 h 3022729"/>
                <a:gd name="connsiteX11" fmla="*/ 0 w 2188058"/>
                <a:gd name="connsiteY11" fmla="*/ 283632 h 3022729"/>
                <a:gd name="connsiteX0" fmla="*/ 0 w 2188058"/>
                <a:gd name="connsiteY0" fmla="*/ 283632 h 3022729"/>
                <a:gd name="connsiteX1" fmla="*/ 0 w 2188058"/>
                <a:gd name="connsiteY1" fmla="*/ 2077926 h 3022729"/>
                <a:gd name="connsiteX2" fmla="*/ 948905 w 2188058"/>
                <a:gd name="connsiteY2" fmla="*/ 2923315 h 3022729"/>
                <a:gd name="connsiteX3" fmla="*/ 1828800 w 2188058"/>
                <a:gd name="connsiteY3" fmla="*/ 2897436 h 3022729"/>
                <a:gd name="connsiteX4" fmla="*/ 1742536 w 2188058"/>
                <a:gd name="connsiteY4" fmla="*/ 1948530 h 3022729"/>
                <a:gd name="connsiteX5" fmla="*/ 871268 w 2188058"/>
                <a:gd name="connsiteY5" fmla="*/ 1939904 h 3022729"/>
                <a:gd name="connsiteX6" fmla="*/ 888521 w 2188058"/>
                <a:gd name="connsiteY6" fmla="*/ 1534462 h 3022729"/>
                <a:gd name="connsiteX7" fmla="*/ 1863305 w 2188058"/>
                <a:gd name="connsiteY7" fmla="*/ 1543088 h 3022729"/>
                <a:gd name="connsiteX8" fmla="*/ 1802921 w 2188058"/>
                <a:gd name="connsiteY8" fmla="*/ 645941 h 3022729"/>
                <a:gd name="connsiteX9" fmla="*/ 862641 w 2188058"/>
                <a:gd name="connsiteY9" fmla="*/ 654568 h 3022729"/>
                <a:gd name="connsiteX10" fmla="*/ 888521 w 2188058"/>
                <a:gd name="connsiteY10" fmla="*/ 326763 h 3022729"/>
                <a:gd name="connsiteX11" fmla="*/ 0 w 2188058"/>
                <a:gd name="connsiteY11" fmla="*/ 283632 h 3022729"/>
                <a:gd name="connsiteX0" fmla="*/ 0 w 2242587"/>
                <a:gd name="connsiteY0" fmla="*/ 283632 h 3022729"/>
                <a:gd name="connsiteX1" fmla="*/ 0 w 2242587"/>
                <a:gd name="connsiteY1" fmla="*/ 2077926 h 3022729"/>
                <a:gd name="connsiteX2" fmla="*/ 948905 w 2242587"/>
                <a:gd name="connsiteY2" fmla="*/ 2923315 h 3022729"/>
                <a:gd name="connsiteX3" fmla="*/ 1828800 w 2242587"/>
                <a:gd name="connsiteY3" fmla="*/ 2897436 h 3022729"/>
                <a:gd name="connsiteX4" fmla="*/ 1742536 w 2242587"/>
                <a:gd name="connsiteY4" fmla="*/ 1948530 h 3022729"/>
                <a:gd name="connsiteX5" fmla="*/ 871268 w 2242587"/>
                <a:gd name="connsiteY5" fmla="*/ 1939904 h 3022729"/>
                <a:gd name="connsiteX6" fmla="*/ 888521 w 2242587"/>
                <a:gd name="connsiteY6" fmla="*/ 1534462 h 3022729"/>
                <a:gd name="connsiteX7" fmla="*/ 1863305 w 2242587"/>
                <a:gd name="connsiteY7" fmla="*/ 1543088 h 3022729"/>
                <a:gd name="connsiteX8" fmla="*/ 1802921 w 2242587"/>
                <a:gd name="connsiteY8" fmla="*/ 645941 h 3022729"/>
                <a:gd name="connsiteX9" fmla="*/ 862641 w 2242587"/>
                <a:gd name="connsiteY9" fmla="*/ 654568 h 3022729"/>
                <a:gd name="connsiteX10" fmla="*/ 888521 w 2242587"/>
                <a:gd name="connsiteY10" fmla="*/ 326763 h 3022729"/>
                <a:gd name="connsiteX11" fmla="*/ 0 w 2242587"/>
                <a:gd name="connsiteY11" fmla="*/ 283632 h 3022729"/>
                <a:gd name="connsiteX0" fmla="*/ 0 w 2220241"/>
                <a:gd name="connsiteY0" fmla="*/ 283632 h 3022729"/>
                <a:gd name="connsiteX1" fmla="*/ 0 w 2220241"/>
                <a:gd name="connsiteY1" fmla="*/ 2077926 h 3022729"/>
                <a:gd name="connsiteX2" fmla="*/ 948905 w 2220241"/>
                <a:gd name="connsiteY2" fmla="*/ 2923315 h 3022729"/>
                <a:gd name="connsiteX3" fmla="*/ 1828800 w 2220241"/>
                <a:gd name="connsiteY3" fmla="*/ 2897436 h 3022729"/>
                <a:gd name="connsiteX4" fmla="*/ 1742536 w 2220241"/>
                <a:gd name="connsiteY4" fmla="*/ 1948530 h 3022729"/>
                <a:gd name="connsiteX5" fmla="*/ 871268 w 2220241"/>
                <a:gd name="connsiteY5" fmla="*/ 1939904 h 3022729"/>
                <a:gd name="connsiteX6" fmla="*/ 888521 w 2220241"/>
                <a:gd name="connsiteY6" fmla="*/ 1534462 h 3022729"/>
                <a:gd name="connsiteX7" fmla="*/ 1863305 w 2220241"/>
                <a:gd name="connsiteY7" fmla="*/ 1543088 h 3022729"/>
                <a:gd name="connsiteX8" fmla="*/ 1802921 w 2220241"/>
                <a:gd name="connsiteY8" fmla="*/ 645941 h 3022729"/>
                <a:gd name="connsiteX9" fmla="*/ 862641 w 2220241"/>
                <a:gd name="connsiteY9" fmla="*/ 654568 h 3022729"/>
                <a:gd name="connsiteX10" fmla="*/ 888521 w 2220241"/>
                <a:gd name="connsiteY10" fmla="*/ 326763 h 3022729"/>
                <a:gd name="connsiteX11" fmla="*/ 0 w 2220241"/>
                <a:gd name="connsiteY11" fmla="*/ 283632 h 3022729"/>
                <a:gd name="connsiteX0" fmla="*/ 0 w 2222830"/>
                <a:gd name="connsiteY0" fmla="*/ 283632 h 3001767"/>
                <a:gd name="connsiteX1" fmla="*/ 0 w 2222830"/>
                <a:gd name="connsiteY1" fmla="*/ 2077926 h 3001767"/>
                <a:gd name="connsiteX2" fmla="*/ 948905 w 2222830"/>
                <a:gd name="connsiteY2" fmla="*/ 2923315 h 3001767"/>
                <a:gd name="connsiteX3" fmla="*/ 1837426 w 2222830"/>
                <a:gd name="connsiteY3" fmla="*/ 2854304 h 3001767"/>
                <a:gd name="connsiteX4" fmla="*/ 1742536 w 2222830"/>
                <a:gd name="connsiteY4" fmla="*/ 1948530 h 3001767"/>
                <a:gd name="connsiteX5" fmla="*/ 871268 w 2222830"/>
                <a:gd name="connsiteY5" fmla="*/ 1939904 h 3001767"/>
                <a:gd name="connsiteX6" fmla="*/ 888521 w 2222830"/>
                <a:gd name="connsiteY6" fmla="*/ 1534462 h 3001767"/>
                <a:gd name="connsiteX7" fmla="*/ 1863305 w 2222830"/>
                <a:gd name="connsiteY7" fmla="*/ 1543088 h 3001767"/>
                <a:gd name="connsiteX8" fmla="*/ 1802921 w 2222830"/>
                <a:gd name="connsiteY8" fmla="*/ 645941 h 3001767"/>
                <a:gd name="connsiteX9" fmla="*/ 862641 w 2222830"/>
                <a:gd name="connsiteY9" fmla="*/ 654568 h 3001767"/>
                <a:gd name="connsiteX10" fmla="*/ 888521 w 2222830"/>
                <a:gd name="connsiteY10" fmla="*/ 326763 h 3001767"/>
                <a:gd name="connsiteX11" fmla="*/ 0 w 2222830"/>
                <a:gd name="connsiteY11" fmla="*/ 283632 h 3001767"/>
                <a:gd name="connsiteX0" fmla="*/ 0 w 2222830"/>
                <a:gd name="connsiteY0" fmla="*/ 283632 h 2981420"/>
                <a:gd name="connsiteX1" fmla="*/ 0 w 2222830"/>
                <a:gd name="connsiteY1" fmla="*/ 2077926 h 2981420"/>
                <a:gd name="connsiteX2" fmla="*/ 948905 w 2222830"/>
                <a:gd name="connsiteY2" fmla="*/ 2888810 h 2981420"/>
                <a:gd name="connsiteX3" fmla="*/ 1837426 w 2222830"/>
                <a:gd name="connsiteY3" fmla="*/ 2854304 h 2981420"/>
                <a:gd name="connsiteX4" fmla="*/ 1742536 w 2222830"/>
                <a:gd name="connsiteY4" fmla="*/ 1948530 h 2981420"/>
                <a:gd name="connsiteX5" fmla="*/ 871268 w 2222830"/>
                <a:gd name="connsiteY5" fmla="*/ 1939904 h 2981420"/>
                <a:gd name="connsiteX6" fmla="*/ 888521 w 2222830"/>
                <a:gd name="connsiteY6" fmla="*/ 1534462 h 2981420"/>
                <a:gd name="connsiteX7" fmla="*/ 1863305 w 2222830"/>
                <a:gd name="connsiteY7" fmla="*/ 1543088 h 2981420"/>
                <a:gd name="connsiteX8" fmla="*/ 1802921 w 2222830"/>
                <a:gd name="connsiteY8" fmla="*/ 645941 h 2981420"/>
                <a:gd name="connsiteX9" fmla="*/ 862641 w 2222830"/>
                <a:gd name="connsiteY9" fmla="*/ 654568 h 2981420"/>
                <a:gd name="connsiteX10" fmla="*/ 888521 w 2222830"/>
                <a:gd name="connsiteY10" fmla="*/ 326763 h 2981420"/>
                <a:gd name="connsiteX11" fmla="*/ 0 w 2222830"/>
                <a:gd name="connsiteY11" fmla="*/ 283632 h 2981420"/>
                <a:gd name="connsiteX0" fmla="*/ 0 w 2222830"/>
                <a:gd name="connsiteY0" fmla="*/ 283632 h 2927862"/>
                <a:gd name="connsiteX1" fmla="*/ 0 w 2222830"/>
                <a:gd name="connsiteY1" fmla="*/ 2077926 h 2927862"/>
                <a:gd name="connsiteX2" fmla="*/ 948905 w 2222830"/>
                <a:gd name="connsiteY2" fmla="*/ 2888810 h 2927862"/>
                <a:gd name="connsiteX3" fmla="*/ 1837426 w 2222830"/>
                <a:gd name="connsiteY3" fmla="*/ 2854304 h 2927862"/>
                <a:gd name="connsiteX4" fmla="*/ 1742536 w 2222830"/>
                <a:gd name="connsiteY4" fmla="*/ 1948530 h 2927862"/>
                <a:gd name="connsiteX5" fmla="*/ 871268 w 2222830"/>
                <a:gd name="connsiteY5" fmla="*/ 1939904 h 2927862"/>
                <a:gd name="connsiteX6" fmla="*/ 888521 w 2222830"/>
                <a:gd name="connsiteY6" fmla="*/ 1534462 h 2927862"/>
                <a:gd name="connsiteX7" fmla="*/ 1863305 w 2222830"/>
                <a:gd name="connsiteY7" fmla="*/ 1543088 h 2927862"/>
                <a:gd name="connsiteX8" fmla="*/ 1802921 w 2222830"/>
                <a:gd name="connsiteY8" fmla="*/ 645941 h 2927862"/>
                <a:gd name="connsiteX9" fmla="*/ 862641 w 2222830"/>
                <a:gd name="connsiteY9" fmla="*/ 654568 h 2927862"/>
                <a:gd name="connsiteX10" fmla="*/ 888521 w 2222830"/>
                <a:gd name="connsiteY10" fmla="*/ 326763 h 2927862"/>
                <a:gd name="connsiteX11" fmla="*/ 0 w 2222830"/>
                <a:gd name="connsiteY11" fmla="*/ 283632 h 2927862"/>
                <a:gd name="connsiteX0" fmla="*/ 0 w 2222830"/>
                <a:gd name="connsiteY0" fmla="*/ 283632 h 2888810"/>
                <a:gd name="connsiteX1" fmla="*/ 0 w 2222830"/>
                <a:gd name="connsiteY1" fmla="*/ 2077926 h 2888810"/>
                <a:gd name="connsiteX2" fmla="*/ 948905 w 2222830"/>
                <a:gd name="connsiteY2" fmla="*/ 2888810 h 2888810"/>
                <a:gd name="connsiteX3" fmla="*/ 1837426 w 2222830"/>
                <a:gd name="connsiteY3" fmla="*/ 2854304 h 2888810"/>
                <a:gd name="connsiteX4" fmla="*/ 1742536 w 2222830"/>
                <a:gd name="connsiteY4" fmla="*/ 1948530 h 2888810"/>
                <a:gd name="connsiteX5" fmla="*/ 871268 w 2222830"/>
                <a:gd name="connsiteY5" fmla="*/ 1939904 h 2888810"/>
                <a:gd name="connsiteX6" fmla="*/ 888521 w 2222830"/>
                <a:gd name="connsiteY6" fmla="*/ 1534462 h 2888810"/>
                <a:gd name="connsiteX7" fmla="*/ 1863305 w 2222830"/>
                <a:gd name="connsiteY7" fmla="*/ 1543088 h 2888810"/>
                <a:gd name="connsiteX8" fmla="*/ 1802921 w 2222830"/>
                <a:gd name="connsiteY8" fmla="*/ 645941 h 2888810"/>
                <a:gd name="connsiteX9" fmla="*/ 862641 w 2222830"/>
                <a:gd name="connsiteY9" fmla="*/ 654568 h 2888810"/>
                <a:gd name="connsiteX10" fmla="*/ 888521 w 2222830"/>
                <a:gd name="connsiteY10" fmla="*/ 326763 h 2888810"/>
                <a:gd name="connsiteX11" fmla="*/ 0 w 2222830"/>
                <a:gd name="connsiteY11" fmla="*/ 283632 h 2888810"/>
                <a:gd name="connsiteX0" fmla="*/ 0 w 2222830"/>
                <a:gd name="connsiteY0" fmla="*/ 283632 h 2862931"/>
                <a:gd name="connsiteX1" fmla="*/ 0 w 2222830"/>
                <a:gd name="connsiteY1" fmla="*/ 2077926 h 2862931"/>
                <a:gd name="connsiteX2" fmla="*/ 957532 w 2222830"/>
                <a:gd name="connsiteY2" fmla="*/ 2862931 h 2862931"/>
                <a:gd name="connsiteX3" fmla="*/ 1837426 w 2222830"/>
                <a:gd name="connsiteY3" fmla="*/ 2854304 h 2862931"/>
                <a:gd name="connsiteX4" fmla="*/ 1742536 w 2222830"/>
                <a:gd name="connsiteY4" fmla="*/ 1948530 h 2862931"/>
                <a:gd name="connsiteX5" fmla="*/ 871268 w 2222830"/>
                <a:gd name="connsiteY5" fmla="*/ 1939904 h 2862931"/>
                <a:gd name="connsiteX6" fmla="*/ 888521 w 2222830"/>
                <a:gd name="connsiteY6" fmla="*/ 1534462 h 2862931"/>
                <a:gd name="connsiteX7" fmla="*/ 1863305 w 2222830"/>
                <a:gd name="connsiteY7" fmla="*/ 1543088 h 2862931"/>
                <a:gd name="connsiteX8" fmla="*/ 1802921 w 2222830"/>
                <a:gd name="connsiteY8" fmla="*/ 645941 h 2862931"/>
                <a:gd name="connsiteX9" fmla="*/ 862641 w 2222830"/>
                <a:gd name="connsiteY9" fmla="*/ 654568 h 2862931"/>
                <a:gd name="connsiteX10" fmla="*/ 888521 w 2222830"/>
                <a:gd name="connsiteY10" fmla="*/ 326763 h 2862931"/>
                <a:gd name="connsiteX11" fmla="*/ 0 w 2222830"/>
                <a:gd name="connsiteY11" fmla="*/ 283632 h 2862931"/>
                <a:gd name="connsiteX0" fmla="*/ 0 w 2222830"/>
                <a:gd name="connsiteY0" fmla="*/ 283632 h 2862931"/>
                <a:gd name="connsiteX1" fmla="*/ 0 w 2222830"/>
                <a:gd name="connsiteY1" fmla="*/ 2077926 h 2862931"/>
                <a:gd name="connsiteX2" fmla="*/ 957532 w 2222830"/>
                <a:gd name="connsiteY2" fmla="*/ 2862931 h 2862931"/>
                <a:gd name="connsiteX3" fmla="*/ 1837426 w 2222830"/>
                <a:gd name="connsiteY3" fmla="*/ 2854304 h 2862931"/>
                <a:gd name="connsiteX4" fmla="*/ 1742536 w 2222830"/>
                <a:gd name="connsiteY4" fmla="*/ 1948530 h 2862931"/>
                <a:gd name="connsiteX5" fmla="*/ 871268 w 2222830"/>
                <a:gd name="connsiteY5" fmla="*/ 1939904 h 2862931"/>
                <a:gd name="connsiteX6" fmla="*/ 888521 w 2222830"/>
                <a:gd name="connsiteY6" fmla="*/ 1534462 h 2862931"/>
                <a:gd name="connsiteX7" fmla="*/ 1863305 w 2222830"/>
                <a:gd name="connsiteY7" fmla="*/ 1543088 h 2862931"/>
                <a:gd name="connsiteX8" fmla="*/ 1802921 w 2222830"/>
                <a:gd name="connsiteY8" fmla="*/ 645941 h 2862931"/>
                <a:gd name="connsiteX9" fmla="*/ 862641 w 2222830"/>
                <a:gd name="connsiteY9" fmla="*/ 654568 h 2862931"/>
                <a:gd name="connsiteX10" fmla="*/ 888521 w 2222830"/>
                <a:gd name="connsiteY10" fmla="*/ 326763 h 2862931"/>
                <a:gd name="connsiteX11" fmla="*/ 0 w 2222830"/>
                <a:gd name="connsiteY11" fmla="*/ 283632 h 28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22830" h="2862931">
                  <a:moveTo>
                    <a:pt x="0" y="283632"/>
                  </a:moveTo>
                  <a:cubicBezTo>
                    <a:pt x="2876" y="2195821"/>
                    <a:pt x="5751" y="145609"/>
                    <a:pt x="0" y="2077926"/>
                  </a:cubicBezTo>
                  <a:cubicBezTo>
                    <a:pt x="158151" y="2517873"/>
                    <a:pt x="366623" y="2828425"/>
                    <a:pt x="957532" y="2862931"/>
                  </a:cubicBezTo>
                  <a:cubicBezTo>
                    <a:pt x="2135038" y="2828425"/>
                    <a:pt x="756248" y="2835613"/>
                    <a:pt x="1837426" y="2854304"/>
                  </a:cubicBezTo>
                  <a:cubicBezTo>
                    <a:pt x="1883434" y="2821236"/>
                    <a:pt x="2738887" y="2349659"/>
                    <a:pt x="1742536" y="1948530"/>
                  </a:cubicBezTo>
                  <a:cubicBezTo>
                    <a:pt x="685800" y="1935591"/>
                    <a:pt x="1948132" y="1955719"/>
                    <a:pt x="871268" y="1939904"/>
                  </a:cubicBezTo>
                  <a:cubicBezTo>
                    <a:pt x="881332" y="1484142"/>
                    <a:pt x="871269" y="2100930"/>
                    <a:pt x="888521" y="1534462"/>
                  </a:cubicBezTo>
                  <a:cubicBezTo>
                    <a:pt x="2122098" y="1520085"/>
                    <a:pt x="925901" y="1522960"/>
                    <a:pt x="1863305" y="1543088"/>
                  </a:cubicBezTo>
                  <a:cubicBezTo>
                    <a:pt x="1938068" y="1494204"/>
                    <a:pt x="2590800" y="1035568"/>
                    <a:pt x="1802921" y="645941"/>
                  </a:cubicBezTo>
                  <a:cubicBezTo>
                    <a:pt x="738996" y="653130"/>
                    <a:pt x="1959634" y="641628"/>
                    <a:pt x="862641" y="654568"/>
                  </a:cubicBezTo>
                  <a:cubicBezTo>
                    <a:pt x="895710" y="193054"/>
                    <a:pt x="868392" y="854413"/>
                    <a:pt x="888521" y="326763"/>
                  </a:cubicBezTo>
                  <a:cubicBezTo>
                    <a:pt x="865519" y="101038"/>
                    <a:pt x="385314" y="-256955"/>
                    <a:pt x="0" y="283632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10332286" y="14354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>
            <a:off x="566469" y="3782191"/>
            <a:ext cx="792000" cy="792000"/>
            <a:chOff x="10292624" y="1492352"/>
            <a:chExt cx="792000" cy="792000"/>
          </a:xfrm>
        </p:grpSpPr>
        <p:sp>
          <p:nvSpPr>
            <p:cNvPr id="248" name="Rectangle 17"/>
            <p:cNvSpPr/>
            <p:nvPr/>
          </p:nvSpPr>
          <p:spPr>
            <a:xfrm>
              <a:off x="10486490" y="1610028"/>
              <a:ext cx="404268" cy="556649"/>
            </a:xfrm>
            <a:custGeom>
              <a:avLst/>
              <a:gdLst>
                <a:gd name="connsiteX0" fmla="*/ 0 w 3858602"/>
                <a:gd name="connsiteY0" fmla="*/ 0 h 5299869"/>
                <a:gd name="connsiteX1" fmla="*/ 3858602 w 3858602"/>
                <a:gd name="connsiteY1" fmla="*/ 0 h 5299869"/>
                <a:gd name="connsiteX2" fmla="*/ 3858602 w 3858602"/>
                <a:gd name="connsiteY2" fmla="*/ 5299869 h 5299869"/>
                <a:gd name="connsiteX3" fmla="*/ 0 w 3858602"/>
                <a:gd name="connsiteY3" fmla="*/ 5299869 h 5299869"/>
                <a:gd name="connsiteX4" fmla="*/ 0 w 3858602"/>
                <a:gd name="connsiteY4" fmla="*/ 0 h 5299869"/>
                <a:gd name="connsiteX0" fmla="*/ 1124768 w 3858602"/>
                <a:gd name="connsiteY0" fmla="*/ 168295 h 5299869"/>
                <a:gd name="connsiteX1" fmla="*/ 3858602 w 3858602"/>
                <a:gd name="connsiteY1" fmla="*/ 0 h 5299869"/>
                <a:gd name="connsiteX2" fmla="*/ 3858602 w 3858602"/>
                <a:gd name="connsiteY2" fmla="*/ 5299869 h 5299869"/>
                <a:gd name="connsiteX3" fmla="*/ 0 w 3858602"/>
                <a:gd name="connsiteY3" fmla="*/ 5299869 h 5299869"/>
                <a:gd name="connsiteX4" fmla="*/ 1124768 w 3858602"/>
                <a:gd name="connsiteY4" fmla="*/ 168295 h 5299869"/>
                <a:gd name="connsiteX0" fmla="*/ 1124768 w 3858602"/>
                <a:gd name="connsiteY0" fmla="*/ 168295 h 5299869"/>
                <a:gd name="connsiteX1" fmla="*/ 1823962 w 3858602"/>
                <a:gd name="connsiteY1" fmla="*/ 141176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2377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237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5182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5182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37611 w 3858602"/>
                <a:gd name="connsiteY6" fmla="*/ 1543630 h 5299869"/>
                <a:gd name="connsiteX7" fmla="*/ 1124768 w 3858602"/>
                <a:gd name="connsiteY7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20782 w 3858602"/>
                <a:gd name="connsiteY6" fmla="*/ 1543630 h 5299869"/>
                <a:gd name="connsiteX7" fmla="*/ 1124768 w 3858602"/>
                <a:gd name="connsiteY7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06757 w 3858602"/>
                <a:gd name="connsiteY6" fmla="*/ 1535215 h 5299869"/>
                <a:gd name="connsiteX7" fmla="*/ 1124768 w 3858602"/>
                <a:gd name="connsiteY7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68448 w 4102282"/>
                <a:gd name="connsiteY0" fmla="*/ 168295 h 5299869"/>
                <a:gd name="connsiteX1" fmla="*/ 2081667 w 4102282"/>
                <a:gd name="connsiteY1" fmla="*/ 169225 h 5299869"/>
                <a:gd name="connsiteX2" fmla="*/ 1882518 w 4102282"/>
                <a:gd name="connsiteY2" fmla="*/ 1560459 h 5299869"/>
                <a:gd name="connsiteX3" fmla="*/ 4102282 w 4102282"/>
                <a:gd name="connsiteY3" fmla="*/ 0 h 5299869"/>
                <a:gd name="connsiteX4" fmla="*/ 4102282 w 4102282"/>
                <a:gd name="connsiteY4" fmla="*/ 5299869 h 5299869"/>
                <a:gd name="connsiteX5" fmla="*/ 243680 w 4102282"/>
                <a:gd name="connsiteY5" fmla="*/ 5299869 h 5299869"/>
                <a:gd name="connsiteX6" fmla="*/ 426772 w 4102282"/>
                <a:gd name="connsiteY6" fmla="*/ 2107416 h 5299869"/>
                <a:gd name="connsiteX7" fmla="*/ 454820 w 4102282"/>
                <a:gd name="connsiteY7" fmla="*/ 1574484 h 5299869"/>
                <a:gd name="connsiteX8" fmla="*/ 1150437 w 4102282"/>
                <a:gd name="connsiteY8" fmla="*/ 1535215 h 5299869"/>
                <a:gd name="connsiteX9" fmla="*/ 1368448 w 4102282"/>
                <a:gd name="connsiteY9" fmla="*/ 168295 h 5299869"/>
                <a:gd name="connsiteX0" fmla="*/ 1368448 w 4102282"/>
                <a:gd name="connsiteY0" fmla="*/ 168295 h 5299869"/>
                <a:gd name="connsiteX1" fmla="*/ 2081667 w 4102282"/>
                <a:gd name="connsiteY1" fmla="*/ 169225 h 5299869"/>
                <a:gd name="connsiteX2" fmla="*/ 1882518 w 4102282"/>
                <a:gd name="connsiteY2" fmla="*/ 1560459 h 5299869"/>
                <a:gd name="connsiteX3" fmla="*/ 4102282 w 4102282"/>
                <a:gd name="connsiteY3" fmla="*/ 0 h 5299869"/>
                <a:gd name="connsiteX4" fmla="*/ 4102282 w 4102282"/>
                <a:gd name="connsiteY4" fmla="*/ 5299869 h 5299869"/>
                <a:gd name="connsiteX5" fmla="*/ 243680 w 4102282"/>
                <a:gd name="connsiteY5" fmla="*/ 5299869 h 5299869"/>
                <a:gd name="connsiteX6" fmla="*/ 426772 w 4102282"/>
                <a:gd name="connsiteY6" fmla="*/ 2107416 h 5299869"/>
                <a:gd name="connsiteX7" fmla="*/ 454820 w 4102282"/>
                <a:gd name="connsiteY7" fmla="*/ 1574484 h 5299869"/>
                <a:gd name="connsiteX8" fmla="*/ 1150437 w 4102282"/>
                <a:gd name="connsiteY8" fmla="*/ 1535215 h 5299869"/>
                <a:gd name="connsiteX9" fmla="*/ 1368448 w 4102282"/>
                <a:gd name="connsiteY9" fmla="*/ 168295 h 5299869"/>
                <a:gd name="connsiteX0" fmla="*/ 1362997 w 4096831"/>
                <a:gd name="connsiteY0" fmla="*/ 168295 h 5299869"/>
                <a:gd name="connsiteX1" fmla="*/ 2076216 w 4096831"/>
                <a:gd name="connsiteY1" fmla="*/ 169225 h 5299869"/>
                <a:gd name="connsiteX2" fmla="*/ 1877067 w 4096831"/>
                <a:gd name="connsiteY2" fmla="*/ 1560459 h 5299869"/>
                <a:gd name="connsiteX3" fmla="*/ 4096831 w 4096831"/>
                <a:gd name="connsiteY3" fmla="*/ 0 h 5299869"/>
                <a:gd name="connsiteX4" fmla="*/ 4096831 w 4096831"/>
                <a:gd name="connsiteY4" fmla="*/ 5299869 h 5299869"/>
                <a:gd name="connsiteX5" fmla="*/ 238229 w 4096831"/>
                <a:gd name="connsiteY5" fmla="*/ 5299869 h 5299869"/>
                <a:gd name="connsiteX6" fmla="*/ 449370 w 4096831"/>
                <a:gd name="connsiteY6" fmla="*/ 2107416 h 5299869"/>
                <a:gd name="connsiteX7" fmla="*/ 449369 w 4096831"/>
                <a:gd name="connsiteY7" fmla="*/ 1574484 h 5299869"/>
                <a:gd name="connsiteX8" fmla="*/ 1144986 w 4096831"/>
                <a:gd name="connsiteY8" fmla="*/ 1535215 h 5299869"/>
                <a:gd name="connsiteX9" fmla="*/ 1362997 w 4096831"/>
                <a:gd name="connsiteY9" fmla="*/ 168295 h 5299869"/>
                <a:gd name="connsiteX0" fmla="*/ 1362997 w 4096831"/>
                <a:gd name="connsiteY0" fmla="*/ 168295 h 5299869"/>
                <a:gd name="connsiteX1" fmla="*/ 2076216 w 4096831"/>
                <a:gd name="connsiteY1" fmla="*/ 169225 h 5299869"/>
                <a:gd name="connsiteX2" fmla="*/ 1877067 w 4096831"/>
                <a:gd name="connsiteY2" fmla="*/ 1560459 h 5299869"/>
                <a:gd name="connsiteX3" fmla="*/ 4096831 w 4096831"/>
                <a:gd name="connsiteY3" fmla="*/ 0 h 5299869"/>
                <a:gd name="connsiteX4" fmla="*/ 4096831 w 4096831"/>
                <a:gd name="connsiteY4" fmla="*/ 5299869 h 5299869"/>
                <a:gd name="connsiteX5" fmla="*/ 238229 w 4096831"/>
                <a:gd name="connsiteY5" fmla="*/ 5299869 h 5299869"/>
                <a:gd name="connsiteX6" fmla="*/ 449370 w 4096831"/>
                <a:gd name="connsiteY6" fmla="*/ 2107416 h 5299869"/>
                <a:gd name="connsiteX7" fmla="*/ 449369 w 4096831"/>
                <a:gd name="connsiteY7" fmla="*/ 1574484 h 5299869"/>
                <a:gd name="connsiteX8" fmla="*/ 1144986 w 4096831"/>
                <a:gd name="connsiteY8" fmla="*/ 1535215 h 5299869"/>
                <a:gd name="connsiteX9" fmla="*/ 1362997 w 4096831"/>
                <a:gd name="connsiteY9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69124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69124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424409 w 4158243"/>
                <a:gd name="connsiteY0" fmla="*/ 168295 h 5299869"/>
                <a:gd name="connsiteX1" fmla="*/ 2137628 w 4158243"/>
                <a:gd name="connsiteY1" fmla="*/ 169225 h 5299869"/>
                <a:gd name="connsiteX2" fmla="*/ 1938479 w 4158243"/>
                <a:gd name="connsiteY2" fmla="*/ 1560459 h 5299869"/>
                <a:gd name="connsiteX3" fmla="*/ 4158243 w 4158243"/>
                <a:gd name="connsiteY3" fmla="*/ 0 h 5299869"/>
                <a:gd name="connsiteX4" fmla="*/ 4158243 w 4158243"/>
                <a:gd name="connsiteY4" fmla="*/ 5299869 h 5299869"/>
                <a:gd name="connsiteX5" fmla="*/ 299641 w 4158243"/>
                <a:gd name="connsiteY5" fmla="*/ 5299869 h 5299869"/>
                <a:gd name="connsiteX6" fmla="*/ 289193 w 4158243"/>
                <a:gd name="connsiteY6" fmla="*/ 3723043 h 5299869"/>
                <a:gd name="connsiteX7" fmla="*/ 297608 w 4158243"/>
                <a:gd name="connsiteY7" fmla="*/ 3131208 h 5299869"/>
                <a:gd name="connsiteX8" fmla="*/ 1018470 w 4158243"/>
                <a:gd name="connsiteY8" fmla="*/ 3086329 h 5299869"/>
                <a:gd name="connsiteX9" fmla="*/ 1153106 w 4158243"/>
                <a:gd name="connsiteY9" fmla="*/ 2110221 h 5299869"/>
                <a:gd name="connsiteX10" fmla="*/ 510782 w 4158243"/>
                <a:gd name="connsiteY10" fmla="*/ 2107416 h 5299869"/>
                <a:gd name="connsiteX11" fmla="*/ 510781 w 4158243"/>
                <a:gd name="connsiteY11" fmla="*/ 1574484 h 5299869"/>
                <a:gd name="connsiteX12" fmla="*/ 1206398 w 4158243"/>
                <a:gd name="connsiteY12" fmla="*/ 1535215 h 5299869"/>
                <a:gd name="connsiteX13" fmla="*/ 1424409 w 4158243"/>
                <a:gd name="connsiteY13" fmla="*/ 168295 h 5299869"/>
                <a:gd name="connsiteX0" fmla="*/ 1424409 w 4158243"/>
                <a:gd name="connsiteY0" fmla="*/ 168295 h 5299869"/>
                <a:gd name="connsiteX1" fmla="*/ 2137628 w 4158243"/>
                <a:gd name="connsiteY1" fmla="*/ 169225 h 5299869"/>
                <a:gd name="connsiteX2" fmla="*/ 1938479 w 4158243"/>
                <a:gd name="connsiteY2" fmla="*/ 1560459 h 5299869"/>
                <a:gd name="connsiteX3" fmla="*/ 4158243 w 4158243"/>
                <a:gd name="connsiteY3" fmla="*/ 0 h 5299869"/>
                <a:gd name="connsiteX4" fmla="*/ 4158243 w 4158243"/>
                <a:gd name="connsiteY4" fmla="*/ 5299869 h 5299869"/>
                <a:gd name="connsiteX5" fmla="*/ 299641 w 4158243"/>
                <a:gd name="connsiteY5" fmla="*/ 5299869 h 5299869"/>
                <a:gd name="connsiteX6" fmla="*/ 289193 w 4158243"/>
                <a:gd name="connsiteY6" fmla="*/ 3723043 h 5299869"/>
                <a:gd name="connsiteX7" fmla="*/ 297608 w 4158243"/>
                <a:gd name="connsiteY7" fmla="*/ 3131208 h 5299869"/>
                <a:gd name="connsiteX8" fmla="*/ 1018470 w 4158243"/>
                <a:gd name="connsiteY8" fmla="*/ 3086329 h 5299869"/>
                <a:gd name="connsiteX9" fmla="*/ 1153106 w 4158243"/>
                <a:gd name="connsiteY9" fmla="*/ 2110221 h 5299869"/>
                <a:gd name="connsiteX10" fmla="*/ 510782 w 4158243"/>
                <a:gd name="connsiteY10" fmla="*/ 2107416 h 5299869"/>
                <a:gd name="connsiteX11" fmla="*/ 510781 w 4158243"/>
                <a:gd name="connsiteY11" fmla="*/ 1574484 h 5299869"/>
                <a:gd name="connsiteX12" fmla="*/ 1206398 w 4158243"/>
                <a:gd name="connsiteY12" fmla="*/ 1535215 h 5299869"/>
                <a:gd name="connsiteX13" fmla="*/ 1424409 w 4158243"/>
                <a:gd name="connsiteY13" fmla="*/ 168295 h 5299869"/>
                <a:gd name="connsiteX0" fmla="*/ 1311757 w 4045591"/>
                <a:gd name="connsiteY0" fmla="*/ 168295 h 5299869"/>
                <a:gd name="connsiteX1" fmla="*/ 2024976 w 4045591"/>
                <a:gd name="connsiteY1" fmla="*/ 169225 h 5299869"/>
                <a:gd name="connsiteX2" fmla="*/ 1825827 w 4045591"/>
                <a:gd name="connsiteY2" fmla="*/ 1560459 h 5299869"/>
                <a:gd name="connsiteX3" fmla="*/ 4045591 w 4045591"/>
                <a:gd name="connsiteY3" fmla="*/ 0 h 5299869"/>
                <a:gd name="connsiteX4" fmla="*/ 4045591 w 4045591"/>
                <a:gd name="connsiteY4" fmla="*/ 5299869 h 5299869"/>
                <a:gd name="connsiteX5" fmla="*/ 186989 w 4045591"/>
                <a:gd name="connsiteY5" fmla="*/ 5299869 h 5299869"/>
                <a:gd name="connsiteX6" fmla="*/ 793622 w 4045591"/>
                <a:gd name="connsiteY6" fmla="*/ 3779141 h 5299869"/>
                <a:gd name="connsiteX7" fmla="*/ 176541 w 4045591"/>
                <a:gd name="connsiteY7" fmla="*/ 3723043 h 5299869"/>
                <a:gd name="connsiteX8" fmla="*/ 184956 w 4045591"/>
                <a:gd name="connsiteY8" fmla="*/ 3131208 h 5299869"/>
                <a:gd name="connsiteX9" fmla="*/ 905818 w 4045591"/>
                <a:gd name="connsiteY9" fmla="*/ 3086329 h 5299869"/>
                <a:gd name="connsiteX10" fmla="*/ 1040454 w 4045591"/>
                <a:gd name="connsiteY10" fmla="*/ 2110221 h 5299869"/>
                <a:gd name="connsiteX11" fmla="*/ 398130 w 4045591"/>
                <a:gd name="connsiteY11" fmla="*/ 2107416 h 5299869"/>
                <a:gd name="connsiteX12" fmla="*/ 398129 w 4045591"/>
                <a:gd name="connsiteY12" fmla="*/ 1574484 h 5299869"/>
                <a:gd name="connsiteX13" fmla="*/ 1093746 w 4045591"/>
                <a:gd name="connsiteY13" fmla="*/ 1535215 h 5299869"/>
                <a:gd name="connsiteX14" fmla="*/ 1311757 w 4045591"/>
                <a:gd name="connsiteY14" fmla="*/ 168295 h 5299869"/>
                <a:gd name="connsiteX0" fmla="*/ 1311757 w 4045591"/>
                <a:gd name="connsiteY0" fmla="*/ 168295 h 5299869"/>
                <a:gd name="connsiteX1" fmla="*/ 2024976 w 4045591"/>
                <a:gd name="connsiteY1" fmla="*/ 169225 h 5299869"/>
                <a:gd name="connsiteX2" fmla="*/ 1825827 w 4045591"/>
                <a:gd name="connsiteY2" fmla="*/ 1560459 h 5299869"/>
                <a:gd name="connsiteX3" fmla="*/ 4045591 w 4045591"/>
                <a:gd name="connsiteY3" fmla="*/ 0 h 5299869"/>
                <a:gd name="connsiteX4" fmla="*/ 4045591 w 4045591"/>
                <a:gd name="connsiteY4" fmla="*/ 5299869 h 5299869"/>
                <a:gd name="connsiteX5" fmla="*/ 186989 w 4045591"/>
                <a:gd name="connsiteY5" fmla="*/ 5299869 h 5299869"/>
                <a:gd name="connsiteX6" fmla="*/ 793622 w 4045591"/>
                <a:gd name="connsiteY6" fmla="*/ 3779141 h 5299869"/>
                <a:gd name="connsiteX7" fmla="*/ 176541 w 4045591"/>
                <a:gd name="connsiteY7" fmla="*/ 3723043 h 5299869"/>
                <a:gd name="connsiteX8" fmla="*/ 184956 w 4045591"/>
                <a:gd name="connsiteY8" fmla="*/ 3131208 h 5299869"/>
                <a:gd name="connsiteX9" fmla="*/ 905818 w 4045591"/>
                <a:gd name="connsiteY9" fmla="*/ 3086329 h 5299869"/>
                <a:gd name="connsiteX10" fmla="*/ 1040454 w 4045591"/>
                <a:gd name="connsiteY10" fmla="*/ 2110221 h 5299869"/>
                <a:gd name="connsiteX11" fmla="*/ 398130 w 4045591"/>
                <a:gd name="connsiteY11" fmla="*/ 2107416 h 5299869"/>
                <a:gd name="connsiteX12" fmla="*/ 398129 w 4045591"/>
                <a:gd name="connsiteY12" fmla="*/ 1574484 h 5299869"/>
                <a:gd name="connsiteX13" fmla="*/ 1093746 w 4045591"/>
                <a:gd name="connsiteY13" fmla="*/ 1535215 h 5299869"/>
                <a:gd name="connsiteX14" fmla="*/ 1311757 w 4045591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097916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953669 w 3869050"/>
                <a:gd name="connsiteY5" fmla="*/ 5122692 h 5299869"/>
                <a:gd name="connsiteX6" fmla="*/ 481672 w 3869050"/>
                <a:gd name="connsiteY6" fmla="*/ 5097916 h 5299869"/>
                <a:gd name="connsiteX7" fmla="*/ 622691 w 3869050"/>
                <a:gd name="connsiteY7" fmla="*/ 3737068 h 5299869"/>
                <a:gd name="connsiteX8" fmla="*/ 0 w 3869050"/>
                <a:gd name="connsiteY8" fmla="*/ 3723043 h 5299869"/>
                <a:gd name="connsiteX9" fmla="*/ 8415 w 3869050"/>
                <a:gd name="connsiteY9" fmla="*/ 3131208 h 5299869"/>
                <a:gd name="connsiteX10" fmla="*/ 729277 w 3869050"/>
                <a:gd name="connsiteY10" fmla="*/ 3086329 h 5299869"/>
                <a:gd name="connsiteX11" fmla="*/ 863913 w 3869050"/>
                <a:gd name="connsiteY11" fmla="*/ 2110221 h 5299869"/>
                <a:gd name="connsiteX12" fmla="*/ 221589 w 3869050"/>
                <a:gd name="connsiteY12" fmla="*/ 2107416 h 5299869"/>
                <a:gd name="connsiteX13" fmla="*/ 221588 w 3869050"/>
                <a:gd name="connsiteY13" fmla="*/ 1574484 h 5299869"/>
                <a:gd name="connsiteX14" fmla="*/ 917205 w 3869050"/>
                <a:gd name="connsiteY14" fmla="*/ 1535215 h 5299869"/>
                <a:gd name="connsiteX15" fmla="*/ 1135216 w 3869050"/>
                <a:gd name="connsiteY15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53794 w 3869050"/>
                <a:gd name="connsiteY5" fmla="*/ 3770727 h 5299869"/>
                <a:gd name="connsiteX6" fmla="*/ 953669 w 3869050"/>
                <a:gd name="connsiteY6" fmla="*/ 512269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53794 w 3869050"/>
                <a:gd name="connsiteY5" fmla="*/ 3770727 h 5299869"/>
                <a:gd name="connsiteX6" fmla="*/ 973304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36965 w 3869050"/>
                <a:gd name="connsiteY5" fmla="*/ 3739873 h 5299869"/>
                <a:gd name="connsiteX6" fmla="*/ 973304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36965 w 3869050"/>
                <a:gd name="connsiteY5" fmla="*/ 3739873 h 5299869"/>
                <a:gd name="connsiteX6" fmla="*/ 990133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612016"/>
                <a:gd name="connsiteX1" fmla="*/ 1848435 w 3869050"/>
                <a:gd name="connsiteY1" fmla="*/ 169225 h 5612016"/>
                <a:gd name="connsiteX2" fmla="*/ 1649286 w 3869050"/>
                <a:gd name="connsiteY2" fmla="*/ 1560459 h 5612016"/>
                <a:gd name="connsiteX3" fmla="*/ 3869050 w 3869050"/>
                <a:gd name="connsiteY3" fmla="*/ 0 h 5612016"/>
                <a:gd name="connsiteX4" fmla="*/ 3869050 w 3869050"/>
                <a:gd name="connsiteY4" fmla="*/ 5299869 h 5612016"/>
                <a:gd name="connsiteX5" fmla="*/ 1904533 w 3869050"/>
                <a:gd name="connsiteY5" fmla="*/ 5114278 h 5612016"/>
                <a:gd name="connsiteX6" fmla="*/ 1938192 w 3869050"/>
                <a:gd name="connsiteY6" fmla="*/ 3770727 h 5612016"/>
                <a:gd name="connsiteX7" fmla="*/ 1236965 w 3869050"/>
                <a:gd name="connsiteY7" fmla="*/ 3739873 h 5612016"/>
                <a:gd name="connsiteX8" fmla="*/ 990133 w 3869050"/>
                <a:gd name="connsiteY8" fmla="*/ 5117082 h 5612016"/>
                <a:gd name="connsiteX9" fmla="*/ 481672 w 3869050"/>
                <a:gd name="connsiteY9" fmla="*/ 5097916 h 5612016"/>
                <a:gd name="connsiteX10" fmla="*/ 622691 w 3869050"/>
                <a:gd name="connsiteY10" fmla="*/ 3737068 h 5612016"/>
                <a:gd name="connsiteX11" fmla="*/ 0 w 3869050"/>
                <a:gd name="connsiteY11" fmla="*/ 3723043 h 5612016"/>
                <a:gd name="connsiteX12" fmla="*/ 8415 w 3869050"/>
                <a:gd name="connsiteY12" fmla="*/ 3131208 h 5612016"/>
                <a:gd name="connsiteX13" fmla="*/ 729277 w 3869050"/>
                <a:gd name="connsiteY13" fmla="*/ 3086329 h 5612016"/>
                <a:gd name="connsiteX14" fmla="*/ 863913 w 3869050"/>
                <a:gd name="connsiteY14" fmla="*/ 2110221 h 5612016"/>
                <a:gd name="connsiteX15" fmla="*/ 221589 w 3869050"/>
                <a:gd name="connsiteY15" fmla="*/ 2107416 h 5612016"/>
                <a:gd name="connsiteX16" fmla="*/ 221588 w 3869050"/>
                <a:gd name="connsiteY16" fmla="*/ 1574484 h 5612016"/>
                <a:gd name="connsiteX17" fmla="*/ 917205 w 3869050"/>
                <a:gd name="connsiteY17" fmla="*/ 1535215 h 5612016"/>
                <a:gd name="connsiteX18" fmla="*/ 1135216 w 3869050"/>
                <a:gd name="connsiteY18" fmla="*/ 168295 h 5612016"/>
                <a:gd name="connsiteX0" fmla="*/ 1135216 w 3869050"/>
                <a:gd name="connsiteY0" fmla="*/ 168295 h 5612016"/>
                <a:gd name="connsiteX1" fmla="*/ 1848435 w 3869050"/>
                <a:gd name="connsiteY1" fmla="*/ 169225 h 5612016"/>
                <a:gd name="connsiteX2" fmla="*/ 1649286 w 3869050"/>
                <a:gd name="connsiteY2" fmla="*/ 1560459 h 5612016"/>
                <a:gd name="connsiteX3" fmla="*/ 3869050 w 3869050"/>
                <a:gd name="connsiteY3" fmla="*/ 0 h 5612016"/>
                <a:gd name="connsiteX4" fmla="*/ 3869050 w 3869050"/>
                <a:gd name="connsiteY4" fmla="*/ 5299869 h 5612016"/>
                <a:gd name="connsiteX5" fmla="*/ 1904533 w 3869050"/>
                <a:gd name="connsiteY5" fmla="*/ 5114278 h 5612016"/>
                <a:gd name="connsiteX6" fmla="*/ 1938192 w 3869050"/>
                <a:gd name="connsiteY6" fmla="*/ 3770727 h 5612016"/>
                <a:gd name="connsiteX7" fmla="*/ 1236965 w 3869050"/>
                <a:gd name="connsiteY7" fmla="*/ 3739873 h 5612016"/>
                <a:gd name="connsiteX8" fmla="*/ 990133 w 3869050"/>
                <a:gd name="connsiteY8" fmla="*/ 5117082 h 5612016"/>
                <a:gd name="connsiteX9" fmla="*/ 481672 w 3869050"/>
                <a:gd name="connsiteY9" fmla="*/ 5097916 h 5612016"/>
                <a:gd name="connsiteX10" fmla="*/ 622691 w 3869050"/>
                <a:gd name="connsiteY10" fmla="*/ 3737068 h 5612016"/>
                <a:gd name="connsiteX11" fmla="*/ 0 w 3869050"/>
                <a:gd name="connsiteY11" fmla="*/ 3723043 h 5612016"/>
                <a:gd name="connsiteX12" fmla="*/ 8415 w 3869050"/>
                <a:gd name="connsiteY12" fmla="*/ 3131208 h 5612016"/>
                <a:gd name="connsiteX13" fmla="*/ 729277 w 3869050"/>
                <a:gd name="connsiteY13" fmla="*/ 3086329 h 5612016"/>
                <a:gd name="connsiteX14" fmla="*/ 863913 w 3869050"/>
                <a:gd name="connsiteY14" fmla="*/ 2110221 h 5612016"/>
                <a:gd name="connsiteX15" fmla="*/ 221589 w 3869050"/>
                <a:gd name="connsiteY15" fmla="*/ 2107416 h 5612016"/>
                <a:gd name="connsiteX16" fmla="*/ 221588 w 3869050"/>
                <a:gd name="connsiteY16" fmla="*/ 1574484 h 5612016"/>
                <a:gd name="connsiteX17" fmla="*/ 917205 w 3869050"/>
                <a:gd name="connsiteY17" fmla="*/ 1535215 h 5612016"/>
                <a:gd name="connsiteX18" fmla="*/ 1135216 w 3869050"/>
                <a:gd name="connsiteY18" fmla="*/ 168295 h 5612016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118693"/>
                <a:gd name="connsiteX1" fmla="*/ 1848435 w 3869050"/>
                <a:gd name="connsiteY1" fmla="*/ 169225 h 5118693"/>
                <a:gd name="connsiteX2" fmla="*/ 1649286 w 3869050"/>
                <a:gd name="connsiteY2" fmla="*/ 1560459 h 5118693"/>
                <a:gd name="connsiteX3" fmla="*/ 3869050 w 3869050"/>
                <a:gd name="connsiteY3" fmla="*/ 0 h 5118693"/>
                <a:gd name="connsiteX4" fmla="*/ 2660134 w 3869050"/>
                <a:gd name="connsiteY4" fmla="*/ 3790828 h 5118693"/>
                <a:gd name="connsiteX5" fmla="*/ 2401002 w 3869050"/>
                <a:gd name="connsiteY5" fmla="*/ 5117081 h 5118693"/>
                <a:gd name="connsiteX6" fmla="*/ 1862459 w 3869050"/>
                <a:gd name="connsiteY6" fmla="*/ 5105864 h 5118693"/>
                <a:gd name="connsiteX7" fmla="*/ 1938192 w 3869050"/>
                <a:gd name="connsiteY7" fmla="*/ 3770727 h 5118693"/>
                <a:gd name="connsiteX8" fmla="*/ 1236965 w 3869050"/>
                <a:gd name="connsiteY8" fmla="*/ 3739873 h 5118693"/>
                <a:gd name="connsiteX9" fmla="*/ 990133 w 3869050"/>
                <a:gd name="connsiteY9" fmla="*/ 5117082 h 5118693"/>
                <a:gd name="connsiteX10" fmla="*/ 481672 w 3869050"/>
                <a:gd name="connsiteY10" fmla="*/ 5097916 h 5118693"/>
                <a:gd name="connsiteX11" fmla="*/ 622691 w 3869050"/>
                <a:gd name="connsiteY11" fmla="*/ 3737068 h 5118693"/>
                <a:gd name="connsiteX12" fmla="*/ 0 w 3869050"/>
                <a:gd name="connsiteY12" fmla="*/ 3723043 h 5118693"/>
                <a:gd name="connsiteX13" fmla="*/ 8415 w 3869050"/>
                <a:gd name="connsiteY13" fmla="*/ 3131208 h 5118693"/>
                <a:gd name="connsiteX14" fmla="*/ 729277 w 3869050"/>
                <a:gd name="connsiteY14" fmla="*/ 3086329 h 5118693"/>
                <a:gd name="connsiteX15" fmla="*/ 863913 w 3869050"/>
                <a:gd name="connsiteY15" fmla="*/ 2110221 h 5118693"/>
                <a:gd name="connsiteX16" fmla="*/ 221589 w 3869050"/>
                <a:gd name="connsiteY16" fmla="*/ 2107416 h 5118693"/>
                <a:gd name="connsiteX17" fmla="*/ 221588 w 3869050"/>
                <a:gd name="connsiteY17" fmla="*/ 1574484 h 5118693"/>
                <a:gd name="connsiteX18" fmla="*/ 917205 w 3869050"/>
                <a:gd name="connsiteY18" fmla="*/ 1535215 h 5118693"/>
                <a:gd name="connsiteX19" fmla="*/ 1135216 w 3869050"/>
                <a:gd name="connsiteY19" fmla="*/ 168295 h 5118693"/>
                <a:gd name="connsiteX0" fmla="*/ 1135216 w 3869050"/>
                <a:gd name="connsiteY0" fmla="*/ 168295 h 5124529"/>
                <a:gd name="connsiteX1" fmla="*/ 1848435 w 3869050"/>
                <a:gd name="connsiteY1" fmla="*/ 169225 h 5124529"/>
                <a:gd name="connsiteX2" fmla="*/ 1649286 w 3869050"/>
                <a:gd name="connsiteY2" fmla="*/ 1560459 h 5124529"/>
                <a:gd name="connsiteX3" fmla="*/ 3869050 w 3869050"/>
                <a:gd name="connsiteY3" fmla="*/ 0 h 5124529"/>
                <a:gd name="connsiteX4" fmla="*/ 2660134 w 3869050"/>
                <a:gd name="connsiteY4" fmla="*/ 3790828 h 5124529"/>
                <a:gd name="connsiteX5" fmla="*/ 2401002 w 3869050"/>
                <a:gd name="connsiteY5" fmla="*/ 5117081 h 5124529"/>
                <a:gd name="connsiteX6" fmla="*/ 1862459 w 3869050"/>
                <a:gd name="connsiteY6" fmla="*/ 5105864 h 5124529"/>
                <a:gd name="connsiteX7" fmla="*/ 1938192 w 3869050"/>
                <a:gd name="connsiteY7" fmla="*/ 3770727 h 5124529"/>
                <a:gd name="connsiteX8" fmla="*/ 1236965 w 3869050"/>
                <a:gd name="connsiteY8" fmla="*/ 3739873 h 5124529"/>
                <a:gd name="connsiteX9" fmla="*/ 990133 w 3869050"/>
                <a:gd name="connsiteY9" fmla="*/ 5117082 h 5124529"/>
                <a:gd name="connsiteX10" fmla="*/ 481672 w 3869050"/>
                <a:gd name="connsiteY10" fmla="*/ 5097916 h 5124529"/>
                <a:gd name="connsiteX11" fmla="*/ 622691 w 3869050"/>
                <a:gd name="connsiteY11" fmla="*/ 3737068 h 5124529"/>
                <a:gd name="connsiteX12" fmla="*/ 0 w 3869050"/>
                <a:gd name="connsiteY12" fmla="*/ 3723043 h 5124529"/>
                <a:gd name="connsiteX13" fmla="*/ 8415 w 3869050"/>
                <a:gd name="connsiteY13" fmla="*/ 3131208 h 5124529"/>
                <a:gd name="connsiteX14" fmla="*/ 729277 w 3869050"/>
                <a:gd name="connsiteY14" fmla="*/ 3086329 h 5124529"/>
                <a:gd name="connsiteX15" fmla="*/ 863913 w 3869050"/>
                <a:gd name="connsiteY15" fmla="*/ 2110221 h 5124529"/>
                <a:gd name="connsiteX16" fmla="*/ 221589 w 3869050"/>
                <a:gd name="connsiteY16" fmla="*/ 2107416 h 5124529"/>
                <a:gd name="connsiteX17" fmla="*/ 221588 w 3869050"/>
                <a:gd name="connsiteY17" fmla="*/ 1574484 h 5124529"/>
                <a:gd name="connsiteX18" fmla="*/ 917205 w 3869050"/>
                <a:gd name="connsiteY18" fmla="*/ 1535215 h 5124529"/>
                <a:gd name="connsiteX19" fmla="*/ 1135216 w 3869050"/>
                <a:gd name="connsiteY19" fmla="*/ 168295 h 5124529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38192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0134 w 3869050"/>
                <a:gd name="connsiteY5" fmla="*/ 3790828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8549 w 3869050"/>
                <a:gd name="connsiteY5" fmla="*/ 3737535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8549 w 3869050"/>
                <a:gd name="connsiteY5" fmla="*/ 3757169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949790"/>
                <a:gd name="connsiteY0" fmla="*/ 168295 h 5117082"/>
                <a:gd name="connsiteX1" fmla="*/ 1848435 w 3949790"/>
                <a:gd name="connsiteY1" fmla="*/ 169225 h 5117082"/>
                <a:gd name="connsiteX2" fmla="*/ 1649286 w 3949790"/>
                <a:gd name="connsiteY2" fmla="*/ 1560459 h 5117082"/>
                <a:gd name="connsiteX3" fmla="*/ 3869050 w 3949790"/>
                <a:gd name="connsiteY3" fmla="*/ 0 h 5117082"/>
                <a:gd name="connsiteX4" fmla="*/ 3424793 w 3949790"/>
                <a:gd name="connsiteY4" fmla="*/ 3111573 h 5117082"/>
                <a:gd name="connsiteX5" fmla="*/ 3343451 w 3949790"/>
                <a:gd name="connsiteY5" fmla="*/ 3737068 h 5117082"/>
                <a:gd name="connsiteX6" fmla="*/ 2668549 w 3949790"/>
                <a:gd name="connsiteY6" fmla="*/ 3757169 h 5117082"/>
                <a:gd name="connsiteX7" fmla="*/ 2401002 w 3949790"/>
                <a:gd name="connsiteY7" fmla="*/ 5117081 h 5117082"/>
                <a:gd name="connsiteX8" fmla="*/ 1862459 w 3949790"/>
                <a:gd name="connsiteY8" fmla="*/ 5105864 h 5117082"/>
                <a:gd name="connsiteX9" fmla="*/ 1963436 w 3949790"/>
                <a:gd name="connsiteY9" fmla="*/ 3770727 h 5117082"/>
                <a:gd name="connsiteX10" fmla="*/ 1236965 w 3949790"/>
                <a:gd name="connsiteY10" fmla="*/ 3739873 h 5117082"/>
                <a:gd name="connsiteX11" fmla="*/ 990133 w 3949790"/>
                <a:gd name="connsiteY11" fmla="*/ 5117082 h 5117082"/>
                <a:gd name="connsiteX12" fmla="*/ 481672 w 3949790"/>
                <a:gd name="connsiteY12" fmla="*/ 5097916 h 5117082"/>
                <a:gd name="connsiteX13" fmla="*/ 622691 w 3949790"/>
                <a:gd name="connsiteY13" fmla="*/ 3737068 h 5117082"/>
                <a:gd name="connsiteX14" fmla="*/ 0 w 3949790"/>
                <a:gd name="connsiteY14" fmla="*/ 3723043 h 5117082"/>
                <a:gd name="connsiteX15" fmla="*/ 8415 w 3949790"/>
                <a:gd name="connsiteY15" fmla="*/ 3131208 h 5117082"/>
                <a:gd name="connsiteX16" fmla="*/ 729277 w 3949790"/>
                <a:gd name="connsiteY16" fmla="*/ 3086329 h 5117082"/>
                <a:gd name="connsiteX17" fmla="*/ 863913 w 3949790"/>
                <a:gd name="connsiteY17" fmla="*/ 2110221 h 5117082"/>
                <a:gd name="connsiteX18" fmla="*/ 221589 w 3949790"/>
                <a:gd name="connsiteY18" fmla="*/ 2107416 h 5117082"/>
                <a:gd name="connsiteX19" fmla="*/ 221588 w 3949790"/>
                <a:gd name="connsiteY19" fmla="*/ 1574484 h 5117082"/>
                <a:gd name="connsiteX20" fmla="*/ 917205 w 3949790"/>
                <a:gd name="connsiteY20" fmla="*/ 1535215 h 5117082"/>
                <a:gd name="connsiteX21" fmla="*/ 1135216 w 3949790"/>
                <a:gd name="connsiteY21" fmla="*/ 168295 h 5117082"/>
                <a:gd name="connsiteX0" fmla="*/ 1135216 w 3949790"/>
                <a:gd name="connsiteY0" fmla="*/ 168295 h 5117082"/>
                <a:gd name="connsiteX1" fmla="*/ 1848435 w 3949790"/>
                <a:gd name="connsiteY1" fmla="*/ 169225 h 5117082"/>
                <a:gd name="connsiteX2" fmla="*/ 1649286 w 3949790"/>
                <a:gd name="connsiteY2" fmla="*/ 1560459 h 5117082"/>
                <a:gd name="connsiteX3" fmla="*/ 3869050 w 3949790"/>
                <a:gd name="connsiteY3" fmla="*/ 0 h 5117082"/>
                <a:gd name="connsiteX4" fmla="*/ 3424793 w 3949790"/>
                <a:gd name="connsiteY4" fmla="*/ 3111573 h 5117082"/>
                <a:gd name="connsiteX5" fmla="*/ 3343451 w 3949790"/>
                <a:gd name="connsiteY5" fmla="*/ 3737068 h 5117082"/>
                <a:gd name="connsiteX6" fmla="*/ 2668549 w 3949790"/>
                <a:gd name="connsiteY6" fmla="*/ 3757169 h 5117082"/>
                <a:gd name="connsiteX7" fmla="*/ 2401002 w 3949790"/>
                <a:gd name="connsiteY7" fmla="*/ 5117081 h 5117082"/>
                <a:gd name="connsiteX8" fmla="*/ 1862459 w 3949790"/>
                <a:gd name="connsiteY8" fmla="*/ 5105864 h 5117082"/>
                <a:gd name="connsiteX9" fmla="*/ 1963436 w 3949790"/>
                <a:gd name="connsiteY9" fmla="*/ 3770727 h 5117082"/>
                <a:gd name="connsiteX10" fmla="*/ 1236965 w 3949790"/>
                <a:gd name="connsiteY10" fmla="*/ 3739873 h 5117082"/>
                <a:gd name="connsiteX11" fmla="*/ 990133 w 3949790"/>
                <a:gd name="connsiteY11" fmla="*/ 5117082 h 5117082"/>
                <a:gd name="connsiteX12" fmla="*/ 481672 w 3949790"/>
                <a:gd name="connsiteY12" fmla="*/ 5097916 h 5117082"/>
                <a:gd name="connsiteX13" fmla="*/ 622691 w 3949790"/>
                <a:gd name="connsiteY13" fmla="*/ 3737068 h 5117082"/>
                <a:gd name="connsiteX14" fmla="*/ 0 w 3949790"/>
                <a:gd name="connsiteY14" fmla="*/ 3723043 h 5117082"/>
                <a:gd name="connsiteX15" fmla="*/ 8415 w 3949790"/>
                <a:gd name="connsiteY15" fmla="*/ 3131208 h 5117082"/>
                <a:gd name="connsiteX16" fmla="*/ 729277 w 3949790"/>
                <a:gd name="connsiteY16" fmla="*/ 3086329 h 5117082"/>
                <a:gd name="connsiteX17" fmla="*/ 863913 w 3949790"/>
                <a:gd name="connsiteY17" fmla="*/ 2110221 h 5117082"/>
                <a:gd name="connsiteX18" fmla="*/ 221589 w 3949790"/>
                <a:gd name="connsiteY18" fmla="*/ 2107416 h 5117082"/>
                <a:gd name="connsiteX19" fmla="*/ 221588 w 3949790"/>
                <a:gd name="connsiteY19" fmla="*/ 1574484 h 5117082"/>
                <a:gd name="connsiteX20" fmla="*/ 917205 w 3949790"/>
                <a:gd name="connsiteY20" fmla="*/ 1535215 h 5117082"/>
                <a:gd name="connsiteX21" fmla="*/ 1135216 w 3949790"/>
                <a:gd name="connsiteY21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80159"/>
                <a:gd name="connsiteY0" fmla="*/ 168295 h 5117082"/>
                <a:gd name="connsiteX1" fmla="*/ 1848435 w 3980159"/>
                <a:gd name="connsiteY1" fmla="*/ 169225 h 5117082"/>
                <a:gd name="connsiteX2" fmla="*/ 1649286 w 3980159"/>
                <a:gd name="connsiteY2" fmla="*/ 1560459 h 5117082"/>
                <a:gd name="connsiteX3" fmla="*/ 3869050 w 3980159"/>
                <a:gd name="connsiteY3" fmla="*/ 0 h 5117082"/>
                <a:gd name="connsiteX4" fmla="*/ 3623943 w 3980159"/>
                <a:gd name="connsiteY4" fmla="*/ 1560459 h 5117082"/>
                <a:gd name="connsiteX5" fmla="*/ 3553820 w 3980159"/>
                <a:gd name="connsiteY5" fmla="*/ 2141075 h 5117082"/>
                <a:gd name="connsiteX6" fmla="*/ 2928324 w 3980159"/>
                <a:gd name="connsiteY6" fmla="*/ 2129856 h 5117082"/>
                <a:gd name="connsiteX7" fmla="*/ 2796494 w 3980159"/>
                <a:gd name="connsiteY7" fmla="*/ 3063890 h 5117082"/>
                <a:gd name="connsiteX8" fmla="*/ 3424793 w 3980159"/>
                <a:gd name="connsiteY8" fmla="*/ 3111573 h 5117082"/>
                <a:gd name="connsiteX9" fmla="*/ 3343451 w 3980159"/>
                <a:gd name="connsiteY9" fmla="*/ 3737068 h 5117082"/>
                <a:gd name="connsiteX10" fmla="*/ 2668549 w 3980159"/>
                <a:gd name="connsiteY10" fmla="*/ 3757169 h 5117082"/>
                <a:gd name="connsiteX11" fmla="*/ 2401002 w 3980159"/>
                <a:gd name="connsiteY11" fmla="*/ 5117081 h 5117082"/>
                <a:gd name="connsiteX12" fmla="*/ 1862459 w 3980159"/>
                <a:gd name="connsiteY12" fmla="*/ 5105864 h 5117082"/>
                <a:gd name="connsiteX13" fmla="*/ 1963436 w 3980159"/>
                <a:gd name="connsiteY13" fmla="*/ 3770727 h 5117082"/>
                <a:gd name="connsiteX14" fmla="*/ 1236965 w 3980159"/>
                <a:gd name="connsiteY14" fmla="*/ 3739873 h 5117082"/>
                <a:gd name="connsiteX15" fmla="*/ 990133 w 3980159"/>
                <a:gd name="connsiteY15" fmla="*/ 5117082 h 5117082"/>
                <a:gd name="connsiteX16" fmla="*/ 481672 w 3980159"/>
                <a:gd name="connsiteY16" fmla="*/ 5097916 h 5117082"/>
                <a:gd name="connsiteX17" fmla="*/ 622691 w 3980159"/>
                <a:gd name="connsiteY17" fmla="*/ 3737068 h 5117082"/>
                <a:gd name="connsiteX18" fmla="*/ 0 w 3980159"/>
                <a:gd name="connsiteY18" fmla="*/ 3723043 h 5117082"/>
                <a:gd name="connsiteX19" fmla="*/ 8415 w 3980159"/>
                <a:gd name="connsiteY19" fmla="*/ 3131208 h 5117082"/>
                <a:gd name="connsiteX20" fmla="*/ 729277 w 3980159"/>
                <a:gd name="connsiteY20" fmla="*/ 3086329 h 5117082"/>
                <a:gd name="connsiteX21" fmla="*/ 863913 w 3980159"/>
                <a:gd name="connsiteY21" fmla="*/ 2110221 h 5117082"/>
                <a:gd name="connsiteX22" fmla="*/ 221589 w 3980159"/>
                <a:gd name="connsiteY22" fmla="*/ 2107416 h 5117082"/>
                <a:gd name="connsiteX23" fmla="*/ 221588 w 3980159"/>
                <a:gd name="connsiteY23" fmla="*/ 1574484 h 5117082"/>
                <a:gd name="connsiteX24" fmla="*/ 917205 w 3980159"/>
                <a:gd name="connsiteY24" fmla="*/ 1535215 h 5117082"/>
                <a:gd name="connsiteX25" fmla="*/ 1135216 w 3980159"/>
                <a:gd name="connsiteY25" fmla="*/ 168295 h 5117082"/>
                <a:gd name="connsiteX0" fmla="*/ 1135216 w 3930905"/>
                <a:gd name="connsiteY0" fmla="*/ 168295 h 5117082"/>
                <a:gd name="connsiteX1" fmla="*/ 1848435 w 3930905"/>
                <a:gd name="connsiteY1" fmla="*/ 169225 h 5117082"/>
                <a:gd name="connsiteX2" fmla="*/ 1649286 w 3930905"/>
                <a:gd name="connsiteY2" fmla="*/ 1560459 h 5117082"/>
                <a:gd name="connsiteX3" fmla="*/ 3869050 w 3930905"/>
                <a:gd name="connsiteY3" fmla="*/ 0 h 5117082"/>
                <a:gd name="connsiteX4" fmla="*/ 3623943 w 3930905"/>
                <a:gd name="connsiteY4" fmla="*/ 1560459 h 5117082"/>
                <a:gd name="connsiteX5" fmla="*/ 3553820 w 3930905"/>
                <a:gd name="connsiteY5" fmla="*/ 2141075 h 5117082"/>
                <a:gd name="connsiteX6" fmla="*/ 2928324 w 3930905"/>
                <a:gd name="connsiteY6" fmla="*/ 2129856 h 5117082"/>
                <a:gd name="connsiteX7" fmla="*/ 2796494 w 3930905"/>
                <a:gd name="connsiteY7" fmla="*/ 3063890 h 5117082"/>
                <a:gd name="connsiteX8" fmla="*/ 3424793 w 3930905"/>
                <a:gd name="connsiteY8" fmla="*/ 3111573 h 5117082"/>
                <a:gd name="connsiteX9" fmla="*/ 3343451 w 3930905"/>
                <a:gd name="connsiteY9" fmla="*/ 3737068 h 5117082"/>
                <a:gd name="connsiteX10" fmla="*/ 2668549 w 3930905"/>
                <a:gd name="connsiteY10" fmla="*/ 3757169 h 5117082"/>
                <a:gd name="connsiteX11" fmla="*/ 2401002 w 3930905"/>
                <a:gd name="connsiteY11" fmla="*/ 5117081 h 5117082"/>
                <a:gd name="connsiteX12" fmla="*/ 1862459 w 3930905"/>
                <a:gd name="connsiteY12" fmla="*/ 5105864 h 5117082"/>
                <a:gd name="connsiteX13" fmla="*/ 1963436 w 3930905"/>
                <a:gd name="connsiteY13" fmla="*/ 3770727 h 5117082"/>
                <a:gd name="connsiteX14" fmla="*/ 1236965 w 3930905"/>
                <a:gd name="connsiteY14" fmla="*/ 3739873 h 5117082"/>
                <a:gd name="connsiteX15" fmla="*/ 990133 w 3930905"/>
                <a:gd name="connsiteY15" fmla="*/ 5117082 h 5117082"/>
                <a:gd name="connsiteX16" fmla="*/ 481672 w 3930905"/>
                <a:gd name="connsiteY16" fmla="*/ 5097916 h 5117082"/>
                <a:gd name="connsiteX17" fmla="*/ 622691 w 3930905"/>
                <a:gd name="connsiteY17" fmla="*/ 3737068 h 5117082"/>
                <a:gd name="connsiteX18" fmla="*/ 0 w 3930905"/>
                <a:gd name="connsiteY18" fmla="*/ 3723043 h 5117082"/>
                <a:gd name="connsiteX19" fmla="*/ 8415 w 3930905"/>
                <a:gd name="connsiteY19" fmla="*/ 3131208 h 5117082"/>
                <a:gd name="connsiteX20" fmla="*/ 729277 w 3930905"/>
                <a:gd name="connsiteY20" fmla="*/ 3086329 h 5117082"/>
                <a:gd name="connsiteX21" fmla="*/ 863913 w 3930905"/>
                <a:gd name="connsiteY21" fmla="*/ 2110221 h 5117082"/>
                <a:gd name="connsiteX22" fmla="*/ 221589 w 3930905"/>
                <a:gd name="connsiteY22" fmla="*/ 2107416 h 5117082"/>
                <a:gd name="connsiteX23" fmla="*/ 221588 w 3930905"/>
                <a:gd name="connsiteY23" fmla="*/ 1574484 h 5117082"/>
                <a:gd name="connsiteX24" fmla="*/ 917205 w 3930905"/>
                <a:gd name="connsiteY24" fmla="*/ 1535215 h 5117082"/>
                <a:gd name="connsiteX25" fmla="*/ 1135216 w 3930905"/>
                <a:gd name="connsiteY25" fmla="*/ 168295 h 5117082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32107 w 3623943"/>
                <a:gd name="connsiteY4" fmla="*/ 1360354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32107 w 3623943"/>
                <a:gd name="connsiteY4" fmla="*/ 1360354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83675 w 3623943"/>
                <a:gd name="connsiteY3" fmla="*/ 1849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591737 w 3623943"/>
                <a:gd name="connsiteY3" fmla="*/ 0 h 4989930"/>
                <a:gd name="connsiteX4" fmla="*/ 3162213 w 3623943"/>
                <a:gd name="connsiteY4" fmla="*/ 4679 h 4989930"/>
                <a:gd name="connsiteX5" fmla="*/ 3015277 w 3623943"/>
                <a:gd name="connsiteY5" fmla="*/ 1391233 h 4989930"/>
                <a:gd name="connsiteX6" fmla="*/ 3623943 w 3623943"/>
                <a:gd name="connsiteY6" fmla="*/ 1433307 h 4989930"/>
                <a:gd name="connsiteX7" fmla="*/ 3553820 w 3623943"/>
                <a:gd name="connsiteY7" fmla="*/ 2013923 h 4989930"/>
                <a:gd name="connsiteX8" fmla="*/ 2928324 w 3623943"/>
                <a:gd name="connsiteY8" fmla="*/ 2002704 h 4989930"/>
                <a:gd name="connsiteX9" fmla="*/ 2796494 w 3623943"/>
                <a:gd name="connsiteY9" fmla="*/ 2936738 h 4989930"/>
                <a:gd name="connsiteX10" fmla="*/ 3424793 w 3623943"/>
                <a:gd name="connsiteY10" fmla="*/ 2984421 h 4989930"/>
                <a:gd name="connsiteX11" fmla="*/ 3343451 w 3623943"/>
                <a:gd name="connsiteY11" fmla="*/ 3609916 h 4989930"/>
                <a:gd name="connsiteX12" fmla="*/ 2668549 w 3623943"/>
                <a:gd name="connsiteY12" fmla="*/ 3630017 h 4989930"/>
                <a:gd name="connsiteX13" fmla="*/ 2401002 w 3623943"/>
                <a:gd name="connsiteY13" fmla="*/ 4989929 h 4989930"/>
                <a:gd name="connsiteX14" fmla="*/ 1862459 w 3623943"/>
                <a:gd name="connsiteY14" fmla="*/ 4978712 h 4989930"/>
                <a:gd name="connsiteX15" fmla="*/ 1963436 w 3623943"/>
                <a:gd name="connsiteY15" fmla="*/ 3643575 h 4989930"/>
                <a:gd name="connsiteX16" fmla="*/ 1236965 w 3623943"/>
                <a:gd name="connsiteY16" fmla="*/ 3612721 h 4989930"/>
                <a:gd name="connsiteX17" fmla="*/ 990133 w 3623943"/>
                <a:gd name="connsiteY17" fmla="*/ 4989930 h 4989930"/>
                <a:gd name="connsiteX18" fmla="*/ 481672 w 3623943"/>
                <a:gd name="connsiteY18" fmla="*/ 4970764 h 4989930"/>
                <a:gd name="connsiteX19" fmla="*/ 622691 w 3623943"/>
                <a:gd name="connsiteY19" fmla="*/ 3609916 h 4989930"/>
                <a:gd name="connsiteX20" fmla="*/ 0 w 3623943"/>
                <a:gd name="connsiteY20" fmla="*/ 3595891 h 4989930"/>
                <a:gd name="connsiteX21" fmla="*/ 8415 w 3623943"/>
                <a:gd name="connsiteY21" fmla="*/ 3004056 h 4989930"/>
                <a:gd name="connsiteX22" fmla="*/ 729277 w 3623943"/>
                <a:gd name="connsiteY22" fmla="*/ 2959177 h 4989930"/>
                <a:gd name="connsiteX23" fmla="*/ 863913 w 3623943"/>
                <a:gd name="connsiteY23" fmla="*/ 1983069 h 4989930"/>
                <a:gd name="connsiteX24" fmla="*/ 221589 w 3623943"/>
                <a:gd name="connsiteY24" fmla="*/ 1980264 h 4989930"/>
                <a:gd name="connsiteX25" fmla="*/ 221588 w 3623943"/>
                <a:gd name="connsiteY25" fmla="*/ 1447332 h 4989930"/>
                <a:gd name="connsiteX26" fmla="*/ 917205 w 3623943"/>
                <a:gd name="connsiteY26" fmla="*/ 1408063 h 4989930"/>
                <a:gd name="connsiteX27" fmla="*/ 1135216 w 3623943"/>
                <a:gd name="connsiteY27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591737 w 3623943"/>
                <a:gd name="connsiteY3" fmla="*/ 0 h 4989930"/>
                <a:gd name="connsiteX4" fmla="*/ 3162213 w 3623943"/>
                <a:gd name="connsiteY4" fmla="*/ 4679 h 4989930"/>
                <a:gd name="connsiteX5" fmla="*/ 3015277 w 3623943"/>
                <a:gd name="connsiteY5" fmla="*/ 1391233 h 4989930"/>
                <a:gd name="connsiteX6" fmla="*/ 3623943 w 3623943"/>
                <a:gd name="connsiteY6" fmla="*/ 1433307 h 4989930"/>
                <a:gd name="connsiteX7" fmla="*/ 3553820 w 3623943"/>
                <a:gd name="connsiteY7" fmla="*/ 2013923 h 4989930"/>
                <a:gd name="connsiteX8" fmla="*/ 2928324 w 3623943"/>
                <a:gd name="connsiteY8" fmla="*/ 2002704 h 4989930"/>
                <a:gd name="connsiteX9" fmla="*/ 2796494 w 3623943"/>
                <a:gd name="connsiteY9" fmla="*/ 2936738 h 4989930"/>
                <a:gd name="connsiteX10" fmla="*/ 3424793 w 3623943"/>
                <a:gd name="connsiteY10" fmla="*/ 2984421 h 4989930"/>
                <a:gd name="connsiteX11" fmla="*/ 3343451 w 3623943"/>
                <a:gd name="connsiteY11" fmla="*/ 3609916 h 4989930"/>
                <a:gd name="connsiteX12" fmla="*/ 2668549 w 3623943"/>
                <a:gd name="connsiteY12" fmla="*/ 3630017 h 4989930"/>
                <a:gd name="connsiteX13" fmla="*/ 2401002 w 3623943"/>
                <a:gd name="connsiteY13" fmla="*/ 4989929 h 4989930"/>
                <a:gd name="connsiteX14" fmla="*/ 1862459 w 3623943"/>
                <a:gd name="connsiteY14" fmla="*/ 4978712 h 4989930"/>
                <a:gd name="connsiteX15" fmla="*/ 1963436 w 3623943"/>
                <a:gd name="connsiteY15" fmla="*/ 3643575 h 4989930"/>
                <a:gd name="connsiteX16" fmla="*/ 1236965 w 3623943"/>
                <a:gd name="connsiteY16" fmla="*/ 3612721 h 4989930"/>
                <a:gd name="connsiteX17" fmla="*/ 990133 w 3623943"/>
                <a:gd name="connsiteY17" fmla="*/ 4989930 h 4989930"/>
                <a:gd name="connsiteX18" fmla="*/ 481672 w 3623943"/>
                <a:gd name="connsiteY18" fmla="*/ 4970764 h 4989930"/>
                <a:gd name="connsiteX19" fmla="*/ 622691 w 3623943"/>
                <a:gd name="connsiteY19" fmla="*/ 3609916 h 4989930"/>
                <a:gd name="connsiteX20" fmla="*/ 0 w 3623943"/>
                <a:gd name="connsiteY20" fmla="*/ 3595891 h 4989930"/>
                <a:gd name="connsiteX21" fmla="*/ 8415 w 3623943"/>
                <a:gd name="connsiteY21" fmla="*/ 3004056 h 4989930"/>
                <a:gd name="connsiteX22" fmla="*/ 729277 w 3623943"/>
                <a:gd name="connsiteY22" fmla="*/ 2959177 h 4989930"/>
                <a:gd name="connsiteX23" fmla="*/ 863913 w 3623943"/>
                <a:gd name="connsiteY23" fmla="*/ 1983069 h 4989930"/>
                <a:gd name="connsiteX24" fmla="*/ 221589 w 3623943"/>
                <a:gd name="connsiteY24" fmla="*/ 1980264 h 4989930"/>
                <a:gd name="connsiteX25" fmla="*/ 221588 w 3623943"/>
                <a:gd name="connsiteY25" fmla="*/ 1447332 h 4989930"/>
                <a:gd name="connsiteX26" fmla="*/ 917205 w 3623943"/>
                <a:gd name="connsiteY26" fmla="*/ 1408063 h 4989930"/>
                <a:gd name="connsiteX27" fmla="*/ 1135216 w 3623943"/>
                <a:gd name="connsiteY27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23943" h="4989930">
                  <a:moveTo>
                    <a:pt x="1135216" y="41143"/>
                  </a:moveTo>
                  <a:cubicBezTo>
                    <a:pt x="1367346" y="26493"/>
                    <a:pt x="1122642" y="37089"/>
                    <a:pt x="1848435" y="42073"/>
                  </a:cubicBezTo>
                  <a:cubicBezTo>
                    <a:pt x="1651156" y="1428632"/>
                    <a:pt x="1852175" y="29918"/>
                    <a:pt x="1649286" y="1433307"/>
                  </a:cubicBezTo>
                  <a:lnTo>
                    <a:pt x="2330881" y="1399649"/>
                  </a:lnTo>
                  <a:cubicBezTo>
                    <a:pt x="2600152" y="-39736"/>
                    <a:pt x="2319013" y="1454967"/>
                    <a:pt x="2591737" y="0"/>
                  </a:cubicBezTo>
                  <a:cubicBezTo>
                    <a:pt x="3231617" y="4365"/>
                    <a:pt x="2589651" y="314"/>
                    <a:pt x="3162213" y="4679"/>
                  </a:cubicBezTo>
                  <a:cubicBezTo>
                    <a:pt x="3005606" y="1405264"/>
                    <a:pt x="3165520" y="-13245"/>
                    <a:pt x="3015277" y="1391233"/>
                  </a:cubicBezTo>
                  <a:cubicBezTo>
                    <a:pt x="3653214" y="1432527"/>
                    <a:pt x="3032108" y="1387961"/>
                    <a:pt x="3623943" y="1433307"/>
                  </a:cubicBezTo>
                  <a:cubicBezTo>
                    <a:pt x="3557381" y="2003326"/>
                    <a:pt x="3612256" y="1448734"/>
                    <a:pt x="3553820" y="2013923"/>
                  </a:cubicBezTo>
                  <a:lnTo>
                    <a:pt x="2928324" y="2002704"/>
                  </a:lnTo>
                  <a:cubicBezTo>
                    <a:pt x="2786029" y="2956527"/>
                    <a:pt x="2934870" y="1994756"/>
                    <a:pt x="2796494" y="2936738"/>
                  </a:cubicBezTo>
                  <a:cubicBezTo>
                    <a:pt x="3454532" y="2986914"/>
                    <a:pt x="2798832" y="2932997"/>
                    <a:pt x="3424793" y="2984421"/>
                  </a:cubicBezTo>
                  <a:cubicBezTo>
                    <a:pt x="3405626" y="3122797"/>
                    <a:pt x="3427886" y="2966112"/>
                    <a:pt x="3343451" y="3609916"/>
                  </a:cubicBezTo>
                  <a:lnTo>
                    <a:pt x="2668549" y="3630017"/>
                  </a:lnTo>
                  <a:cubicBezTo>
                    <a:pt x="2410316" y="4974658"/>
                    <a:pt x="2656897" y="3653468"/>
                    <a:pt x="2401002" y="4989929"/>
                  </a:cubicBezTo>
                  <a:cubicBezTo>
                    <a:pt x="1850593" y="4971620"/>
                    <a:pt x="2411286" y="4985256"/>
                    <a:pt x="1862459" y="4978712"/>
                  </a:cubicBezTo>
                  <a:cubicBezTo>
                    <a:pt x="1969800" y="3582257"/>
                    <a:pt x="1855447" y="5002085"/>
                    <a:pt x="1963436" y="3643575"/>
                  </a:cubicBezTo>
                  <a:lnTo>
                    <a:pt x="1236965" y="3612721"/>
                  </a:lnTo>
                  <a:lnTo>
                    <a:pt x="990133" y="4989930"/>
                  </a:lnTo>
                  <a:lnTo>
                    <a:pt x="481672" y="4970764"/>
                  </a:lnTo>
                  <a:cubicBezTo>
                    <a:pt x="624075" y="3552805"/>
                    <a:pt x="475772" y="5014318"/>
                    <a:pt x="622691" y="3609916"/>
                  </a:cubicBezTo>
                  <a:cubicBezTo>
                    <a:pt x="-4544" y="3591139"/>
                    <a:pt x="639986" y="3608046"/>
                    <a:pt x="0" y="3595891"/>
                  </a:cubicBezTo>
                  <a:cubicBezTo>
                    <a:pt x="10752" y="2997510"/>
                    <a:pt x="935" y="3622070"/>
                    <a:pt x="8415" y="3004056"/>
                  </a:cubicBezTo>
                  <a:cubicBezTo>
                    <a:pt x="784569" y="2954892"/>
                    <a:pt x="-6076" y="2999381"/>
                    <a:pt x="729277" y="2959177"/>
                  </a:cubicBezTo>
                  <a:cubicBezTo>
                    <a:pt x="865911" y="1970369"/>
                    <a:pt x="728810" y="2957307"/>
                    <a:pt x="863913" y="1983069"/>
                  </a:cubicBezTo>
                  <a:cubicBezTo>
                    <a:pt x="225925" y="1981121"/>
                    <a:pt x="866718" y="1977927"/>
                    <a:pt x="221589" y="1980264"/>
                  </a:cubicBezTo>
                  <a:cubicBezTo>
                    <a:pt x="217510" y="1362171"/>
                    <a:pt x="222056" y="2003639"/>
                    <a:pt x="221588" y="1447332"/>
                  </a:cubicBezTo>
                  <a:cubicBezTo>
                    <a:pt x="939306" y="1408921"/>
                    <a:pt x="210965" y="1448422"/>
                    <a:pt x="917205" y="1408063"/>
                  </a:cubicBezTo>
                  <a:lnTo>
                    <a:pt x="1135216" y="41143"/>
                  </a:lnTo>
                  <a:close/>
                </a:path>
              </a:pathLst>
            </a:custGeom>
            <a:solidFill>
              <a:srgbClr val="007ABD"/>
            </a:solidFill>
            <a:ln>
              <a:solidFill>
                <a:srgbClr val="007A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10292624" y="14923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0" name="Group 249"/>
          <p:cNvGrpSpPr/>
          <p:nvPr/>
        </p:nvGrpSpPr>
        <p:grpSpPr>
          <a:xfrm>
            <a:off x="1518962" y="3066563"/>
            <a:ext cx="792000" cy="792000"/>
            <a:chOff x="10377829" y="703314"/>
            <a:chExt cx="792000" cy="792000"/>
          </a:xfrm>
        </p:grpSpPr>
        <p:sp>
          <p:nvSpPr>
            <p:cNvPr id="251" name="Freeform 250"/>
            <p:cNvSpPr/>
            <p:nvPr/>
          </p:nvSpPr>
          <p:spPr>
            <a:xfrm>
              <a:off x="10467895" y="846587"/>
              <a:ext cx="611868" cy="505455"/>
            </a:xfrm>
            <a:custGeom>
              <a:avLst/>
              <a:gdLst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542877"/>
                <a:gd name="connsiteY0" fmla="*/ 164096 h 3370815"/>
                <a:gd name="connsiteX1" fmla="*/ 2263254 w 4542877"/>
                <a:gd name="connsiteY1" fmla="*/ 1148498 h 3370815"/>
                <a:gd name="connsiteX2" fmla="*/ 3855798 w 4542877"/>
                <a:gd name="connsiteY2" fmla="*/ 295349 h 3370815"/>
                <a:gd name="connsiteX3" fmla="*/ 4442064 w 4542877"/>
                <a:gd name="connsiteY3" fmla="*/ 72218 h 3370815"/>
                <a:gd name="connsiteX4" fmla="*/ 4052678 w 4542877"/>
                <a:gd name="connsiteY4" fmla="*/ 592858 h 3370815"/>
                <a:gd name="connsiteX5" fmla="*/ 4542691 w 4542877"/>
                <a:gd name="connsiteY5" fmla="*/ 448479 h 3370815"/>
                <a:gd name="connsiteX6" fmla="*/ 4096429 w 4542877"/>
                <a:gd name="connsiteY6" fmla="*/ 916616 h 3370815"/>
                <a:gd name="connsiteX7" fmla="*/ 75694 w 4542877"/>
                <a:gd name="connsiteY7" fmla="*/ 3266056 h 3370815"/>
                <a:gd name="connsiteX8" fmla="*/ 1401356 w 4542877"/>
                <a:gd name="connsiteY8" fmla="*/ 2889795 h 3370815"/>
                <a:gd name="connsiteX9" fmla="*/ 565708 w 4542877"/>
                <a:gd name="connsiteY9" fmla="*/ 2246653 h 3370815"/>
                <a:gd name="connsiteX10" fmla="*/ 941968 w 4542877"/>
                <a:gd name="connsiteY10" fmla="*/ 2224777 h 3370815"/>
                <a:gd name="connsiteX11" fmla="*/ 228823 w 4542877"/>
                <a:gd name="connsiteY11" fmla="*/ 1297252 h 3370815"/>
                <a:gd name="connsiteX12" fmla="*/ 622584 w 4542877"/>
                <a:gd name="connsiteY12" fmla="*/ 1428505 h 3370815"/>
                <a:gd name="connsiteX13" fmla="*/ 364452 w 4542877"/>
                <a:gd name="connsiteY13" fmla="*/ 164096 h 3370815"/>
                <a:gd name="connsiteX0" fmla="*/ 364452 w 4542877"/>
                <a:gd name="connsiteY0" fmla="*/ 164096 h 3370815"/>
                <a:gd name="connsiteX1" fmla="*/ 2263254 w 4542877"/>
                <a:gd name="connsiteY1" fmla="*/ 1148498 h 3370815"/>
                <a:gd name="connsiteX2" fmla="*/ 3855798 w 4542877"/>
                <a:gd name="connsiteY2" fmla="*/ 295349 h 3370815"/>
                <a:gd name="connsiteX3" fmla="*/ 4442064 w 4542877"/>
                <a:gd name="connsiteY3" fmla="*/ 72218 h 3370815"/>
                <a:gd name="connsiteX4" fmla="*/ 4052678 w 4542877"/>
                <a:gd name="connsiteY4" fmla="*/ 592858 h 3370815"/>
                <a:gd name="connsiteX5" fmla="*/ 4542691 w 4542877"/>
                <a:gd name="connsiteY5" fmla="*/ 448479 h 3370815"/>
                <a:gd name="connsiteX6" fmla="*/ 4096429 w 4542877"/>
                <a:gd name="connsiteY6" fmla="*/ 916616 h 3370815"/>
                <a:gd name="connsiteX7" fmla="*/ 75694 w 4542877"/>
                <a:gd name="connsiteY7" fmla="*/ 3266056 h 3370815"/>
                <a:gd name="connsiteX8" fmla="*/ 1401356 w 4542877"/>
                <a:gd name="connsiteY8" fmla="*/ 2889795 h 3370815"/>
                <a:gd name="connsiteX9" fmla="*/ 565708 w 4542877"/>
                <a:gd name="connsiteY9" fmla="*/ 2246653 h 3370815"/>
                <a:gd name="connsiteX10" fmla="*/ 941968 w 4542877"/>
                <a:gd name="connsiteY10" fmla="*/ 2224777 h 3370815"/>
                <a:gd name="connsiteX11" fmla="*/ 228823 w 4542877"/>
                <a:gd name="connsiteY11" fmla="*/ 1297252 h 3370815"/>
                <a:gd name="connsiteX12" fmla="*/ 622584 w 4542877"/>
                <a:gd name="connsiteY12" fmla="*/ 1428505 h 3370815"/>
                <a:gd name="connsiteX13" fmla="*/ 364452 w 4542877"/>
                <a:gd name="connsiteY13" fmla="*/ 164096 h 3370815"/>
                <a:gd name="connsiteX0" fmla="*/ 364452 w 4542877"/>
                <a:gd name="connsiteY0" fmla="*/ 164096 h 3714101"/>
                <a:gd name="connsiteX1" fmla="*/ 2263254 w 4542877"/>
                <a:gd name="connsiteY1" fmla="*/ 1148498 h 3714101"/>
                <a:gd name="connsiteX2" fmla="*/ 3855798 w 4542877"/>
                <a:gd name="connsiteY2" fmla="*/ 295349 h 3714101"/>
                <a:gd name="connsiteX3" fmla="*/ 4442064 w 4542877"/>
                <a:gd name="connsiteY3" fmla="*/ 72218 h 3714101"/>
                <a:gd name="connsiteX4" fmla="*/ 4052678 w 4542877"/>
                <a:gd name="connsiteY4" fmla="*/ 592858 h 3714101"/>
                <a:gd name="connsiteX5" fmla="*/ 4542691 w 4542877"/>
                <a:gd name="connsiteY5" fmla="*/ 448479 h 3714101"/>
                <a:gd name="connsiteX6" fmla="*/ 4096429 w 4542877"/>
                <a:gd name="connsiteY6" fmla="*/ 916616 h 3714101"/>
                <a:gd name="connsiteX7" fmla="*/ 75694 w 4542877"/>
                <a:gd name="connsiteY7" fmla="*/ 3266056 h 3714101"/>
                <a:gd name="connsiteX8" fmla="*/ 1401356 w 4542877"/>
                <a:gd name="connsiteY8" fmla="*/ 2889795 h 3714101"/>
                <a:gd name="connsiteX9" fmla="*/ 565708 w 4542877"/>
                <a:gd name="connsiteY9" fmla="*/ 2246653 h 3714101"/>
                <a:gd name="connsiteX10" fmla="*/ 941968 w 4542877"/>
                <a:gd name="connsiteY10" fmla="*/ 2224777 h 3714101"/>
                <a:gd name="connsiteX11" fmla="*/ 228823 w 4542877"/>
                <a:gd name="connsiteY11" fmla="*/ 1297252 h 3714101"/>
                <a:gd name="connsiteX12" fmla="*/ 622584 w 4542877"/>
                <a:gd name="connsiteY12" fmla="*/ 1428505 h 3714101"/>
                <a:gd name="connsiteX13" fmla="*/ 364452 w 4542877"/>
                <a:gd name="connsiteY13" fmla="*/ 164096 h 3714101"/>
                <a:gd name="connsiteX0" fmla="*/ 364452 w 4542877"/>
                <a:gd name="connsiteY0" fmla="*/ 164096 h 3763849"/>
                <a:gd name="connsiteX1" fmla="*/ 2263254 w 4542877"/>
                <a:gd name="connsiteY1" fmla="*/ 1148498 h 3763849"/>
                <a:gd name="connsiteX2" fmla="*/ 3855798 w 4542877"/>
                <a:gd name="connsiteY2" fmla="*/ 295349 h 3763849"/>
                <a:gd name="connsiteX3" fmla="*/ 4442064 w 4542877"/>
                <a:gd name="connsiteY3" fmla="*/ 72218 h 3763849"/>
                <a:gd name="connsiteX4" fmla="*/ 4052678 w 4542877"/>
                <a:gd name="connsiteY4" fmla="*/ 592858 h 3763849"/>
                <a:gd name="connsiteX5" fmla="*/ 4542691 w 4542877"/>
                <a:gd name="connsiteY5" fmla="*/ 448479 h 3763849"/>
                <a:gd name="connsiteX6" fmla="*/ 4096429 w 4542877"/>
                <a:gd name="connsiteY6" fmla="*/ 916616 h 3763849"/>
                <a:gd name="connsiteX7" fmla="*/ 75694 w 4542877"/>
                <a:gd name="connsiteY7" fmla="*/ 3266056 h 3763849"/>
                <a:gd name="connsiteX8" fmla="*/ 1401356 w 4542877"/>
                <a:gd name="connsiteY8" fmla="*/ 2889795 h 3763849"/>
                <a:gd name="connsiteX9" fmla="*/ 565708 w 4542877"/>
                <a:gd name="connsiteY9" fmla="*/ 2246653 h 3763849"/>
                <a:gd name="connsiteX10" fmla="*/ 941968 w 4542877"/>
                <a:gd name="connsiteY10" fmla="*/ 2224777 h 3763849"/>
                <a:gd name="connsiteX11" fmla="*/ 228823 w 4542877"/>
                <a:gd name="connsiteY11" fmla="*/ 1297252 h 3763849"/>
                <a:gd name="connsiteX12" fmla="*/ 622584 w 4542877"/>
                <a:gd name="connsiteY12" fmla="*/ 1428505 h 3763849"/>
                <a:gd name="connsiteX13" fmla="*/ 364452 w 4542877"/>
                <a:gd name="connsiteY13" fmla="*/ 164096 h 3763849"/>
                <a:gd name="connsiteX0" fmla="*/ 364452 w 4542877"/>
                <a:gd name="connsiteY0" fmla="*/ 164096 h 3690279"/>
                <a:gd name="connsiteX1" fmla="*/ 2263254 w 4542877"/>
                <a:gd name="connsiteY1" fmla="*/ 1148498 h 3690279"/>
                <a:gd name="connsiteX2" fmla="*/ 3855798 w 4542877"/>
                <a:gd name="connsiteY2" fmla="*/ 295349 h 3690279"/>
                <a:gd name="connsiteX3" fmla="*/ 4442064 w 4542877"/>
                <a:gd name="connsiteY3" fmla="*/ 72218 h 3690279"/>
                <a:gd name="connsiteX4" fmla="*/ 4052678 w 4542877"/>
                <a:gd name="connsiteY4" fmla="*/ 592858 h 3690279"/>
                <a:gd name="connsiteX5" fmla="*/ 4542691 w 4542877"/>
                <a:gd name="connsiteY5" fmla="*/ 448479 h 3690279"/>
                <a:gd name="connsiteX6" fmla="*/ 4096429 w 4542877"/>
                <a:gd name="connsiteY6" fmla="*/ 916616 h 3690279"/>
                <a:gd name="connsiteX7" fmla="*/ 75694 w 4542877"/>
                <a:gd name="connsiteY7" fmla="*/ 3266056 h 3690279"/>
                <a:gd name="connsiteX8" fmla="*/ 1401356 w 4542877"/>
                <a:gd name="connsiteY8" fmla="*/ 2889795 h 3690279"/>
                <a:gd name="connsiteX9" fmla="*/ 565708 w 4542877"/>
                <a:gd name="connsiteY9" fmla="*/ 2246653 h 3690279"/>
                <a:gd name="connsiteX10" fmla="*/ 941968 w 4542877"/>
                <a:gd name="connsiteY10" fmla="*/ 2224777 h 3690279"/>
                <a:gd name="connsiteX11" fmla="*/ 228823 w 4542877"/>
                <a:gd name="connsiteY11" fmla="*/ 1297252 h 3690279"/>
                <a:gd name="connsiteX12" fmla="*/ 622584 w 4542877"/>
                <a:gd name="connsiteY12" fmla="*/ 1428505 h 3690279"/>
                <a:gd name="connsiteX13" fmla="*/ 364452 w 4542877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88501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75024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75024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89191 w 4467183"/>
                <a:gd name="connsiteY4" fmla="*/ 62966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783341 w 4467183"/>
                <a:gd name="connsiteY4" fmla="*/ 682589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67183" h="3690279">
                  <a:moveTo>
                    <a:pt x="288758" y="164096"/>
                  </a:moveTo>
                  <a:cubicBezTo>
                    <a:pt x="955963" y="957451"/>
                    <a:pt x="1605669" y="1126623"/>
                    <a:pt x="2187560" y="1148498"/>
                  </a:cubicBezTo>
                  <a:cubicBezTo>
                    <a:pt x="2152559" y="-479047"/>
                    <a:pt x="3683852" y="15342"/>
                    <a:pt x="3780104" y="295349"/>
                  </a:cubicBezTo>
                  <a:cubicBezTo>
                    <a:pt x="4361995" y="67843"/>
                    <a:pt x="3782292" y="289515"/>
                    <a:pt x="4366370" y="72218"/>
                  </a:cubicBezTo>
                  <a:cubicBezTo>
                    <a:pt x="4247878" y="289394"/>
                    <a:pt x="4050953" y="418623"/>
                    <a:pt x="3783341" y="682589"/>
                  </a:cubicBezTo>
                  <a:cubicBezTo>
                    <a:pt x="4277000" y="530919"/>
                    <a:pt x="3965317" y="591399"/>
                    <a:pt x="4466997" y="448479"/>
                  </a:cubicBezTo>
                  <a:cubicBezTo>
                    <a:pt x="4474289" y="502439"/>
                    <a:pt x="4266470" y="753278"/>
                    <a:pt x="4020735" y="916616"/>
                  </a:cubicBezTo>
                  <a:cubicBezTo>
                    <a:pt x="4041881" y="3280639"/>
                    <a:pt x="1687337" y="4350357"/>
                    <a:pt x="0" y="3266056"/>
                  </a:cubicBezTo>
                  <a:cubicBezTo>
                    <a:pt x="487097" y="3367413"/>
                    <a:pt x="1296614" y="3026809"/>
                    <a:pt x="1378283" y="2856908"/>
                  </a:cubicBezTo>
                  <a:cubicBezTo>
                    <a:pt x="1372450" y="2844511"/>
                    <a:pt x="754709" y="2917504"/>
                    <a:pt x="490014" y="2246653"/>
                  </a:cubicBezTo>
                  <a:cubicBezTo>
                    <a:pt x="1034716" y="2223319"/>
                    <a:pt x="552858" y="2251758"/>
                    <a:pt x="934222" y="2229152"/>
                  </a:cubicBezTo>
                  <a:cubicBezTo>
                    <a:pt x="125554" y="1913414"/>
                    <a:pt x="140733" y="1368712"/>
                    <a:pt x="153129" y="1306002"/>
                  </a:cubicBezTo>
                  <a:lnTo>
                    <a:pt x="612665" y="1454815"/>
                  </a:lnTo>
                  <a:cubicBezTo>
                    <a:pt x="-20998" y="920322"/>
                    <a:pt x="228342" y="227427"/>
                    <a:pt x="288758" y="16409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Rectangle 251"/>
            <p:cNvSpPr/>
            <p:nvPr/>
          </p:nvSpPr>
          <p:spPr>
            <a:xfrm>
              <a:off x="10377829" y="70331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3" name="Group 252"/>
          <p:cNvGrpSpPr/>
          <p:nvPr/>
        </p:nvGrpSpPr>
        <p:grpSpPr>
          <a:xfrm>
            <a:off x="1423237" y="3712676"/>
            <a:ext cx="792000" cy="792000"/>
            <a:chOff x="9824124" y="493090"/>
            <a:chExt cx="792000" cy="792000"/>
          </a:xfrm>
        </p:grpSpPr>
        <p:grpSp>
          <p:nvGrpSpPr>
            <p:cNvPr id="254" name="Group 253"/>
            <p:cNvGrpSpPr/>
            <p:nvPr/>
          </p:nvGrpSpPr>
          <p:grpSpPr>
            <a:xfrm>
              <a:off x="9830991" y="663799"/>
              <a:ext cx="778267" cy="450582"/>
              <a:chOff x="6998302" y="6372735"/>
              <a:chExt cx="920782" cy="533091"/>
            </a:xfrm>
          </p:grpSpPr>
          <p:sp>
            <p:nvSpPr>
              <p:cNvPr id="256" name="Freeform 13"/>
              <p:cNvSpPr>
                <a:spLocks noEditPoints="1"/>
              </p:cNvSpPr>
              <p:nvPr/>
            </p:nvSpPr>
            <p:spPr bwMode="auto">
              <a:xfrm>
                <a:off x="6998302" y="6427309"/>
                <a:ext cx="561949" cy="478517"/>
              </a:xfrm>
              <a:custGeom>
                <a:avLst/>
                <a:gdLst>
                  <a:gd name="T0" fmla="*/ 344 w 414"/>
                  <a:gd name="T1" fmla="*/ 55 h 353"/>
                  <a:gd name="T2" fmla="*/ 296 w 414"/>
                  <a:gd name="T3" fmla="*/ 9 h 353"/>
                  <a:gd name="T4" fmla="*/ 206 w 414"/>
                  <a:gd name="T5" fmla="*/ 45 h 353"/>
                  <a:gd name="T6" fmla="*/ 0 w 414"/>
                  <a:gd name="T7" fmla="*/ 174 h 353"/>
                  <a:gd name="T8" fmla="*/ 158 w 414"/>
                  <a:gd name="T9" fmla="*/ 278 h 353"/>
                  <a:gd name="T10" fmla="*/ 160 w 414"/>
                  <a:gd name="T11" fmla="*/ 278 h 353"/>
                  <a:gd name="T12" fmla="*/ 160 w 414"/>
                  <a:gd name="T13" fmla="*/ 332 h 353"/>
                  <a:gd name="T14" fmla="*/ 133 w 414"/>
                  <a:gd name="T15" fmla="*/ 337 h 353"/>
                  <a:gd name="T16" fmla="*/ 128 w 414"/>
                  <a:gd name="T17" fmla="*/ 347 h 353"/>
                  <a:gd name="T18" fmla="*/ 137 w 414"/>
                  <a:gd name="T19" fmla="*/ 352 h 353"/>
                  <a:gd name="T20" fmla="*/ 137 w 414"/>
                  <a:gd name="T21" fmla="*/ 352 h 353"/>
                  <a:gd name="T22" fmla="*/ 176 w 414"/>
                  <a:gd name="T23" fmla="*/ 346 h 353"/>
                  <a:gd name="T24" fmla="*/ 215 w 414"/>
                  <a:gd name="T25" fmla="*/ 352 h 353"/>
                  <a:gd name="T26" fmla="*/ 218 w 414"/>
                  <a:gd name="T27" fmla="*/ 352 h 353"/>
                  <a:gd name="T28" fmla="*/ 224 w 414"/>
                  <a:gd name="T29" fmla="*/ 347 h 353"/>
                  <a:gd name="T30" fmla="*/ 245 w 414"/>
                  <a:gd name="T31" fmla="*/ 352 h 353"/>
                  <a:gd name="T32" fmla="*/ 248 w 414"/>
                  <a:gd name="T33" fmla="*/ 352 h 353"/>
                  <a:gd name="T34" fmla="*/ 255 w 414"/>
                  <a:gd name="T35" fmla="*/ 347 h 353"/>
                  <a:gd name="T36" fmla="*/ 250 w 414"/>
                  <a:gd name="T37" fmla="*/ 337 h 353"/>
                  <a:gd name="T38" fmla="*/ 207 w 414"/>
                  <a:gd name="T39" fmla="*/ 331 h 353"/>
                  <a:gd name="T40" fmla="*/ 207 w 414"/>
                  <a:gd name="T41" fmla="*/ 271 h 353"/>
                  <a:gd name="T42" fmla="*/ 343 w 414"/>
                  <a:gd name="T43" fmla="*/ 112 h 353"/>
                  <a:gd name="T44" fmla="*/ 414 w 414"/>
                  <a:gd name="T45" fmla="*/ 83 h 353"/>
                  <a:gd name="T46" fmla="*/ 344 w 414"/>
                  <a:gd name="T47" fmla="*/ 55 h 353"/>
                  <a:gd name="T48" fmla="*/ 192 w 414"/>
                  <a:gd name="T49" fmla="*/ 332 h 353"/>
                  <a:gd name="T50" fmla="*/ 192 w 414"/>
                  <a:gd name="T51" fmla="*/ 332 h 353"/>
                  <a:gd name="T52" fmla="*/ 191 w 414"/>
                  <a:gd name="T53" fmla="*/ 332 h 353"/>
                  <a:gd name="T54" fmla="*/ 176 w 414"/>
                  <a:gd name="T55" fmla="*/ 331 h 353"/>
                  <a:gd name="T56" fmla="*/ 175 w 414"/>
                  <a:gd name="T57" fmla="*/ 331 h 353"/>
                  <a:gd name="T58" fmla="*/ 175 w 414"/>
                  <a:gd name="T59" fmla="*/ 277 h 353"/>
                  <a:gd name="T60" fmla="*/ 192 w 414"/>
                  <a:gd name="T61" fmla="*/ 275 h 353"/>
                  <a:gd name="T62" fmla="*/ 192 w 414"/>
                  <a:gd name="T63" fmla="*/ 332 h 353"/>
                  <a:gd name="T64" fmla="*/ 286 w 414"/>
                  <a:gd name="T65" fmla="*/ 82 h 353"/>
                  <a:gd name="T66" fmla="*/ 271 w 414"/>
                  <a:gd name="T67" fmla="*/ 67 h 353"/>
                  <a:gd name="T68" fmla="*/ 286 w 414"/>
                  <a:gd name="T69" fmla="*/ 52 h 353"/>
                  <a:gd name="T70" fmla="*/ 301 w 414"/>
                  <a:gd name="T71" fmla="*/ 67 h 353"/>
                  <a:gd name="T72" fmla="*/ 286 w 414"/>
                  <a:gd name="T73" fmla="*/ 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53">
                    <a:moveTo>
                      <a:pt x="344" y="55"/>
                    </a:moveTo>
                    <a:cubicBezTo>
                      <a:pt x="336" y="33"/>
                      <a:pt x="319" y="16"/>
                      <a:pt x="296" y="9"/>
                    </a:cubicBezTo>
                    <a:cubicBezTo>
                      <a:pt x="263" y="0"/>
                      <a:pt x="228" y="11"/>
                      <a:pt x="206" y="45"/>
                    </a:cubicBezTo>
                    <a:cubicBezTo>
                      <a:pt x="145" y="140"/>
                      <a:pt x="71" y="200"/>
                      <a:pt x="0" y="174"/>
                    </a:cubicBezTo>
                    <a:cubicBezTo>
                      <a:pt x="0" y="174"/>
                      <a:pt x="50" y="278"/>
                      <a:pt x="158" y="278"/>
                    </a:cubicBezTo>
                    <a:cubicBezTo>
                      <a:pt x="159" y="278"/>
                      <a:pt x="160" y="278"/>
                      <a:pt x="160" y="278"/>
                    </a:cubicBezTo>
                    <a:cubicBezTo>
                      <a:pt x="160" y="332"/>
                      <a:pt x="160" y="332"/>
                      <a:pt x="160" y="332"/>
                    </a:cubicBezTo>
                    <a:cubicBezTo>
                      <a:pt x="150" y="333"/>
                      <a:pt x="140" y="335"/>
                      <a:pt x="133" y="337"/>
                    </a:cubicBezTo>
                    <a:cubicBezTo>
                      <a:pt x="129" y="339"/>
                      <a:pt x="127" y="343"/>
                      <a:pt x="128" y="347"/>
                    </a:cubicBezTo>
                    <a:cubicBezTo>
                      <a:pt x="129" y="351"/>
                      <a:pt x="134" y="353"/>
                      <a:pt x="137" y="352"/>
                    </a:cubicBezTo>
                    <a:cubicBezTo>
                      <a:pt x="137" y="352"/>
                      <a:pt x="137" y="352"/>
                      <a:pt x="137" y="352"/>
                    </a:cubicBezTo>
                    <a:cubicBezTo>
                      <a:pt x="147" y="348"/>
                      <a:pt x="161" y="346"/>
                      <a:pt x="176" y="346"/>
                    </a:cubicBezTo>
                    <a:cubicBezTo>
                      <a:pt x="192" y="346"/>
                      <a:pt x="206" y="348"/>
                      <a:pt x="215" y="352"/>
                    </a:cubicBezTo>
                    <a:cubicBezTo>
                      <a:pt x="216" y="352"/>
                      <a:pt x="217" y="352"/>
                      <a:pt x="218" y="352"/>
                    </a:cubicBezTo>
                    <a:cubicBezTo>
                      <a:pt x="221" y="352"/>
                      <a:pt x="223" y="350"/>
                      <a:pt x="224" y="347"/>
                    </a:cubicBezTo>
                    <a:cubicBezTo>
                      <a:pt x="232" y="348"/>
                      <a:pt x="240" y="350"/>
                      <a:pt x="245" y="352"/>
                    </a:cubicBezTo>
                    <a:cubicBezTo>
                      <a:pt x="246" y="352"/>
                      <a:pt x="247" y="352"/>
                      <a:pt x="248" y="352"/>
                    </a:cubicBezTo>
                    <a:cubicBezTo>
                      <a:pt x="251" y="352"/>
                      <a:pt x="254" y="350"/>
                      <a:pt x="255" y="347"/>
                    </a:cubicBezTo>
                    <a:cubicBezTo>
                      <a:pt x="256" y="343"/>
                      <a:pt x="254" y="339"/>
                      <a:pt x="250" y="337"/>
                    </a:cubicBezTo>
                    <a:cubicBezTo>
                      <a:pt x="239" y="334"/>
                      <a:pt x="224" y="331"/>
                      <a:pt x="207" y="331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283" y="251"/>
                      <a:pt x="323" y="185"/>
                      <a:pt x="343" y="112"/>
                    </a:cubicBezTo>
                    <a:cubicBezTo>
                      <a:pt x="414" y="83"/>
                      <a:pt x="414" y="83"/>
                      <a:pt x="414" y="83"/>
                    </a:cubicBezTo>
                    <a:lnTo>
                      <a:pt x="344" y="55"/>
                    </a:lnTo>
                    <a:close/>
                    <a:moveTo>
                      <a:pt x="192" y="332"/>
                    </a:moveTo>
                    <a:cubicBezTo>
                      <a:pt x="192" y="332"/>
                      <a:pt x="192" y="332"/>
                      <a:pt x="192" y="332"/>
                    </a:cubicBezTo>
                    <a:cubicBezTo>
                      <a:pt x="192" y="332"/>
                      <a:pt x="192" y="332"/>
                      <a:pt x="191" y="332"/>
                    </a:cubicBezTo>
                    <a:cubicBezTo>
                      <a:pt x="187" y="331"/>
                      <a:pt x="181" y="331"/>
                      <a:pt x="176" y="331"/>
                    </a:cubicBezTo>
                    <a:cubicBezTo>
                      <a:pt x="176" y="331"/>
                      <a:pt x="176" y="331"/>
                      <a:pt x="175" y="331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81" y="276"/>
                      <a:pt x="187" y="276"/>
                      <a:pt x="192" y="275"/>
                    </a:cubicBezTo>
                    <a:lnTo>
                      <a:pt x="192" y="332"/>
                    </a:lnTo>
                    <a:close/>
                    <a:moveTo>
                      <a:pt x="286" y="82"/>
                    </a:moveTo>
                    <a:cubicBezTo>
                      <a:pt x="278" y="82"/>
                      <a:pt x="271" y="75"/>
                      <a:pt x="271" y="67"/>
                    </a:cubicBezTo>
                    <a:cubicBezTo>
                      <a:pt x="271" y="59"/>
                      <a:pt x="278" y="52"/>
                      <a:pt x="286" y="52"/>
                    </a:cubicBezTo>
                    <a:cubicBezTo>
                      <a:pt x="294" y="52"/>
                      <a:pt x="301" y="59"/>
                      <a:pt x="301" y="67"/>
                    </a:cubicBezTo>
                    <a:cubicBezTo>
                      <a:pt x="301" y="75"/>
                      <a:pt x="294" y="82"/>
                      <a:pt x="286" y="82"/>
                    </a:cubicBezTo>
                    <a:close/>
                  </a:path>
                </a:pathLst>
              </a:custGeom>
              <a:solidFill>
                <a:srgbClr val="007ABD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124342" tIns="62170" rIns="124342" bIns="6217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822725"/>
                <a:endParaRPr lang="en-US" sz="160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j-lt"/>
                </a:endParaRPr>
              </a:p>
            </p:txBody>
          </p:sp>
          <p:grpSp>
            <p:nvGrpSpPr>
              <p:cNvPr id="257" name="Group 256"/>
              <p:cNvGrpSpPr/>
              <p:nvPr/>
            </p:nvGrpSpPr>
            <p:grpSpPr>
              <a:xfrm>
                <a:off x="7601993" y="6372735"/>
                <a:ext cx="317091" cy="203564"/>
                <a:chOff x="6254175" y="1734688"/>
                <a:chExt cx="425108" cy="272909"/>
              </a:xfrm>
            </p:grpSpPr>
            <p:cxnSp>
              <p:nvCxnSpPr>
                <p:cNvPr id="258" name="Straight Connector 257"/>
                <p:cNvCxnSpPr/>
                <p:nvPr/>
              </p:nvCxnSpPr>
              <p:spPr>
                <a:xfrm flipV="1">
                  <a:off x="6254175" y="1734688"/>
                  <a:ext cx="217786" cy="174016"/>
                </a:xfrm>
                <a:prstGeom prst="line">
                  <a:avLst/>
                </a:prstGeom>
                <a:ln w="19050">
                  <a:solidFill>
                    <a:srgbClr val="007ABD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Straight Connector 258"/>
                <p:cNvCxnSpPr/>
                <p:nvPr/>
              </p:nvCxnSpPr>
              <p:spPr>
                <a:xfrm flipH="1">
                  <a:off x="6264641" y="2007597"/>
                  <a:ext cx="275789" cy="0"/>
                </a:xfrm>
                <a:prstGeom prst="line">
                  <a:avLst/>
                </a:prstGeom>
                <a:ln w="19050">
                  <a:solidFill>
                    <a:srgbClr val="007ABD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Straight Connector 259"/>
                <p:cNvCxnSpPr/>
                <p:nvPr/>
              </p:nvCxnSpPr>
              <p:spPr>
                <a:xfrm flipV="1">
                  <a:off x="6264640" y="1839711"/>
                  <a:ext cx="414643" cy="114790"/>
                </a:xfrm>
                <a:prstGeom prst="line">
                  <a:avLst/>
                </a:prstGeom>
                <a:ln w="19050">
                  <a:solidFill>
                    <a:srgbClr val="007ABD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5" name="Rectangle 254"/>
            <p:cNvSpPr/>
            <p:nvPr/>
          </p:nvSpPr>
          <p:spPr>
            <a:xfrm>
              <a:off x="9824124" y="4930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61" name="Group 260"/>
          <p:cNvGrpSpPr/>
          <p:nvPr/>
        </p:nvGrpSpPr>
        <p:grpSpPr>
          <a:xfrm>
            <a:off x="-59830" y="3055432"/>
            <a:ext cx="792000" cy="792000"/>
            <a:chOff x="10319379" y="598363"/>
            <a:chExt cx="792000" cy="792000"/>
          </a:xfrm>
        </p:grpSpPr>
        <p:sp>
          <p:nvSpPr>
            <p:cNvPr id="262" name="Freeform 31"/>
            <p:cNvSpPr>
              <a:spLocks noEditPoints="1"/>
            </p:cNvSpPr>
            <p:nvPr/>
          </p:nvSpPr>
          <p:spPr bwMode="auto">
            <a:xfrm>
              <a:off x="10437834" y="663407"/>
              <a:ext cx="555091" cy="661913"/>
            </a:xfrm>
            <a:custGeom>
              <a:avLst/>
              <a:gdLst>
                <a:gd name="T0" fmla="*/ 455 w 971"/>
                <a:gd name="T1" fmla="*/ 0 h 912"/>
                <a:gd name="T2" fmla="*/ 911 w 971"/>
                <a:gd name="T3" fmla="*/ 268 h 912"/>
                <a:gd name="T4" fmla="*/ 825 w 971"/>
                <a:gd name="T5" fmla="*/ 425 h 912"/>
                <a:gd name="T6" fmla="*/ 971 w 971"/>
                <a:gd name="T7" fmla="*/ 617 h 912"/>
                <a:gd name="T8" fmla="*/ 629 w 971"/>
                <a:gd name="T9" fmla="*/ 516 h 912"/>
                <a:gd name="T10" fmla="*/ 455 w 971"/>
                <a:gd name="T11" fmla="*/ 536 h 912"/>
                <a:gd name="T12" fmla="*/ 0 w 971"/>
                <a:gd name="T13" fmla="*/ 268 h 912"/>
                <a:gd name="T14" fmla="*/ 455 w 971"/>
                <a:gd name="T15" fmla="*/ 0 h 912"/>
                <a:gd name="T16" fmla="*/ 291 w 971"/>
                <a:gd name="T17" fmla="*/ 565 h 912"/>
                <a:gd name="T18" fmla="*/ 34 w 971"/>
                <a:gd name="T19" fmla="*/ 716 h 912"/>
                <a:gd name="T20" fmla="*/ 82 w 971"/>
                <a:gd name="T21" fmla="*/ 804 h 912"/>
                <a:gd name="T22" fmla="*/ 0 w 971"/>
                <a:gd name="T23" fmla="*/ 912 h 912"/>
                <a:gd name="T24" fmla="*/ 193 w 971"/>
                <a:gd name="T25" fmla="*/ 855 h 912"/>
                <a:gd name="T26" fmla="*/ 291 w 971"/>
                <a:gd name="T27" fmla="*/ 867 h 912"/>
                <a:gd name="T28" fmla="*/ 547 w 971"/>
                <a:gd name="T29" fmla="*/ 716 h 912"/>
                <a:gd name="T30" fmla="*/ 291 w 971"/>
                <a:gd name="T31" fmla="*/ 565 h 912"/>
                <a:gd name="T32" fmla="*/ 565 w 971"/>
                <a:gd name="T33" fmla="*/ 686 h 912"/>
                <a:gd name="T34" fmla="*/ 727 w 971"/>
                <a:gd name="T35" fmla="*/ 781 h 912"/>
                <a:gd name="T36" fmla="*/ 789 w 971"/>
                <a:gd name="T37" fmla="*/ 774 h 912"/>
                <a:gd name="T38" fmla="*/ 911 w 971"/>
                <a:gd name="T39" fmla="*/ 810 h 912"/>
                <a:gd name="T40" fmla="*/ 859 w 971"/>
                <a:gd name="T41" fmla="*/ 741 h 912"/>
                <a:gd name="T42" fmla="*/ 889 w 971"/>
                <a:gd name="T43" fmla="*/ 686 h 912"/>
                <a:gd name="T44" fmla="*/ 727 w 971"/>
                <a:gd name="T45" fmla="*/ 590 h 912"/>
                <a:gd name="T46" fmla="*/ 565 w 971"/>
                <a:gd name="T47" fmla="*/ 686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1" h="912">
                  <a:moveTo>
                    <a:pt x="455" y="0"/>
                  </a:moveTo>
                  <a:cubicBezTo>
                    <a:pt x="707" y="0"/>
                    <a:pt x="911" y="120"/>
                    <a:pt x="911" y="268"/>
                  </a:cubicBezTo>
                  <a:cubicBezTo>
                    <a:pt x="911" y="327"/>
                    <a:pt x="879" y="381"/>
                    <a:pt x="825" y="425"/>
                  </a:cubicBezTo>
                  <a:cubicBezTo>
                    <a:pt x="971" y="617"/>
                    <a:pt x="971" y="617"/>
                    <a:pt x="971" y="617"/>
                  </a:cubicBezTo>
                  <a:cubicBezTo>
                    <a:pt x="629" y="516"/>
                    <a:pt x="629" y="516"/>
                    <a:pt x="629" y="516"/>
                  </a:cubicBezTo>
                  <a:cubicBezTo>
                    <a:pt x="575" y="529"/>
                    <a:pt x="517" y="536"/>
                    <a:pt x="455" y="536"/>
                  </a:cubicBezTo>
                  <a:cubicBezTo>
                    <a:pt x="204" y="536"/>
                    <a:pt x="0" y="416"/>
                    <a:pt x="0" y="268"/>
                  </a:cubicBezTo>
                  <a:cubicBezTo>
                    <a:pt x="0" y="120"/>
                    <a:pt x="204" y="0"/>
                    <a:pt x="455" y="0"/>
                  </a:cubicBezTo>
                  <a:close/>
                  <a:moveTo>
                    <a:pt x="291" y="565"/>
                  </a:moveTo>
                  <a:cubicBezTo>
                    <a:pt x="149" y="565"/>
                    <a:pt x="34" y="633"/>
                    <a:pt x="34" y="716"/>
                  </a:cubicBezTo>
                  <a:cubicBezTo>
                    <a:pt x="34" y="749"/>
                    <a:pt x="52" y="779"/>
                    <a:pt x="82" y="804"/>
                  </a:cubicBezTo>
                  <a:cubicBezTo>
                    <a:pt x="0" y="912"/>
                    <a:pt x="0" y="912"/>
                    <a:pt x="0" y="912"/>
                  </a:cubicBezTo>
                  <a:cubicBezTo>
                    <a:pt x="193" y="855"/>
                    <a:pt x="193" y="855"/>
                    <a:pt x="193" y="855"/>
                  </a:cubicBezTo>
                  <a:cubicBezTo>
                    <a:pt x="223" y="863"/>
                    <a:pt x="256" y="867"/>
                    <a:pt x="291" y="867"/>
                  </a:cubicBezTo>
                  <a:cubicBezTo>
                    <a:pt x="432" y="867"/>
                    <a:pt x="547" y="799"/>
                    <a:pt x="547" y="716"/>
                  </a:cubicBezTo>
                  <a:cubicBezTo>
                    <a:pt x="547" y="633"/>
                    <a:pt x="432" y="565"/>
                    <a:pt x="291" y="565"/>
                  </a:cubicBezTo>
                  <a:close/>
                  <a:moveTo>
                    <a:pt x="565" y="686"/>
                  </a:moveTo>
                  <a:cubicBezTo>
                    <a:pt x="565" y="738"/>
                    <a:pt x="638" y="781"/>
                    <a:pt x="727" y="781"/>
                  </a:cubicBezTo>
                  <a:cubicBezTo>
                    <a:pt x="749" y="781"/>
                    <a:pt x="770" y="779"/>
                    <a:pt x="789" y="774"/>
                  </a:cubicBezTo>
                  <a:cubicBezTo>
                    <a:pt x="911" y="810"/>
                    <a:pt x="911" y="810"/>
                    <a:pt x="911" y="810"/>
                  </a:cubicBezTo>
                  <a:cubicBezTo>
                    <a:pt x="859" y="741"/>
                    <a:pt x="859" y="741"/>
                    <a:pt x="859" y="741"/>
                  </a:cubicBezTo>
                  <a:cubicBezTo>
                    <a:pt x="878" y="726"/>
                    <a:pt x="889" y="707"/>
                    <a:pt x="889" y="686"/>
                  </a:cubicBezTo>
                  <a:cubicBezTo>
                    <a:pt x="889" y="633"/>
                    <a:pt x="817" y="590"/>
                    <a:pt x="727" y="590"/>
                  </a:cubicBezTo>
                  <a:cubicBezTo>
                    <a:pt x="638" y="590"/>
                    <a:pt x="565" y="633"/>
                    <a:pt x="565" y="68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67199" tIns="33599" rIns="67199" bIns="33599" numCol="1" anchor="t" anchorCtr="0" compatLnSpc="1">
              <a:prstTxWarp prst="textNoShape">
                <a:avLst/>
              </a:prstTxWarp>
            </a:bodyPr>
            <a:lstStyle/>
            <a:p>
              <a:pPr defTabSz="671919">
                <a:defRPr/>
              </a:pPr>
              <a:endParaRPr lang="en-US" sz="1800" b="1" kern="0" dirty="0">
                <a:solidFill>
                  <a:sysClr val="windowText" lastClr="000000"/>
                </a:solidFill>
                <a:latin typeface="+mj-lt"/>
                <a:cs typeface="Segoe UI" panose="020B0502040204020203" pitchFamily="34" charset="0"/>
              </a:endParaRP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10319379" y="5983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64" name="Group 263"/>
          <p:cNvGrpSpPr/>
          <p:nvPr/>
        </p:nvGrpSpPr>
        <p:grpSpPr>
          <a:xfrm>
            <a:off x="945241" y="4329987"/>
            <a:ext cx="792000" cy="792000"/>
            <a:chOff x="2713863" y="-3194081"/>
            <a:chExt cx="792000" cy="792000"/>
          </a:xfrm>
        </p:grpSpPr>
        <p:sp>
          <p:nvSpPr>
            <p:cNvPr id="265" name="Freeform 6"/>
            <p:cNvSpPr>
              <a:spLocks/>
            </p:cNvSpPr>
            <p:nvPr/>
          </p:nvSpPr>
          <p:spPr bwMode="black">
            <a:xfrm>
              <a:off x="2902341" y="-3137838"/>
              <a:ext cx="415044" cy="679514"/>
            </a:xfrm>
            <a:custGeom>
              <a:avLst/>
              <a:gdLst/>
              <a:ahLst/>
              <a:cxnLst/>
              <a:rect l="l" t="t" r="r" b="b"/>
              <a:pathLst>
                <a:path w="504048" h="961272">
                  <a:moveTo>
                    <a:pt x="252787" y="143227"/>
                  </a:moveTo>
                  <a:cubicBezTo>
                    <a:pt x="208292" y="143227"/>
                    <a:pt x="172221" y="179298"/>
                    <a:pt x="172221" y="223793"/>
                  </a:cubicBezTo>
                  <a:cubicBezTo>
                    <a:pt x="172221" y="268288"/>
                    <a:pt x="208292" y="304359"/>
                    <a:pt x="252787" y="304359"/>
                  </a:cubicBezTo>
                  <a:cubicBezTo>
                    <a:pt x="297282" y="304359"/>
                    <a:pt x="333353" y="268288"/>
                    <a:pt x="333353" y="223793"/>
                  </a:cubicBezTo>
                  <a:cubicBezTo>
                    <a:pt x="333353" y="179298"/>
                    <a:pt x="297282" y="143227"/>
                    <a:pt x="252787" y="143227"/>
                  </a:cubicBezTo>
                  <a:close/>
                  <a:moveTo>
                    <a:pt x="251531" y="0"/>
                  </a:moveTo>
                  <a:cubicBezTo>
                    <a:pt x="390613" y="0"/>
                    <a:pt x="504048" y="112858"/>
                    <a:pt x="504048" y="252445"/>
                  </a:cubicBezTo>
                  <a:cubicBezTo>
                    <a:pt x="504048" y="255415"/>
                    <a:pt x="504048" y="258385"/>
                    <a:pt x="504048" y="261355"/>
                  </a:cubicBezTo>
                  <a:cubicBezTo>
                    <a:pt x="504048" y="278185"/>
                    <a:pt x="502075" y="296005"/>
                    <a:pt x="498130" y="314814"/>
                  </a:cubicBezTo>
                  <a:cubicBezTo>
                    <a:pt x="498130" y="314814"/>
                    <a:pt x="498130" y="314814"/>
                    <a:pt x="250544" y="961272"/>
                  </a:cubicBezTo>
                  <a:cubicBezTo>
                    <a:pt x="250544" y="961272"/>
                    <a:pt x="250544" y="961272"/>
                    <a:pt x="4932" y="314814"/>
                  </a:cubicBezTo>
                  <a:cubicBezTo>
                    <a:pt x="1973" y="299965"/>
                    <a:pt x="0" y="285115"/>
                    <a:pt x="0" y="271255"/>
                  </a:cubicBezTo>
                  <a:cubicBezTo>
                    <a:pt x="0" y="265315"/>
                    <a:pt x="0" y="259375"/>
                    <a:pt x="0" y="252445"/>
                  </a:cubicBezTo>
                  <a:cubicBezTo>
                    <a:pt x="0" y="112858"/>
                    <a:pt x="112449" y="0"/>
                    <a:pt x="251531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399" tIns="45700" rIns="91399" bIns="457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40428"/>
              <a:endParaRPr lang="en-US" sz="1600" spc="-122" dirty="0">
                <a:solidFill>
                  <a:srgbClr val="282828">
                    <a:lumMod val="50000"/>
                  </a:srgbClr>
                </a:solidFill>
                <a:latin typeface="+mj-lt"/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2713863" y="-319408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67" name="Group 266"/>
          <p:cNvGrpSpPr/>
          <p:nvPr/>
        </p:nvGrpSpPr>
        <p:grpSpPr>
          <a:xfrm>
            <a:off x="119277" y="4378786"/>
            <a:ext cx="792000" cy="792000"/>
            <a:chOff x="3609130" y="-4043843"/>
            <a:chExt cx="792000" cy="792000"/>
          </a:xfrm>
        </p:grpSpPr>
        <p:sp>
          <p:nvSpPr>
            <p:cNvPr id="268" name="Freeform 114"/>
            <p:cNvSpPr>
              <a:spLocks noEditPoints="1"/>
            </p:cNvSpPr>
            <p:nvPr/>
          </p:nvSpPr>
          <p:spPr bwMode="black">
            <a:xfrm>
              <a:off x="3693160" y="-3894401"/>
              <a:ext cx="623941" cy="493117"/>
            </a:xfrm>
            <a:custGeom>
              <a:avLst/>
              <a:gdLst>
                <a:gd name="T0" fmla="*/ 22 w 75"/>
                <a:gd name="T1" fmla="*/ 22 h 59"/>
                <a:gd name="T2" fmla="*/ 33 w 75"/>
                <a:gd name="T3" fmla="*/ 11 h 59"/>
                <a:gd name="T4" fmla="*/ 22 w 75"/>
                <a:gd name="T5" fmla="*/ 0 h 59"/>
                <a:gd name="T6" fmla="*/ 11 w 75"/>
                <a:gd name="T7" fmla="*/ 11 h 59"/>
                <a:gd name="T8" fmla="*/ 22 w 75"/>
                <a:gd name="T9" fmla="*/ 22 h 59"/>
                <a:gd name="T10" fmla="*/ 45 w 75"/>
                <a:gd name="T11" fmla="*/ 22 h 59"/>
                <a:gd name="T12" fmla="*/ 56 w 75"/>
                <a:gd name="T13" fmla="*/ 11 h 59"/>
                <a:gd name="T14" fmla="*/ 45 w 75"/>
                <a:gd name="T15" fmla="*/ 0 h 59"/>
                <a:gd name="T16" fmla="*/ 34 w 75"/>
                <a:gd name="T17" fmla="*/ 11 h 59"/>
                <a:gd name="T18" fmla="*/ 45 w 75"/>
                <a:gd name="T19" fmla="*/ 22 h 59"/>
                <a:gd name="T20" fmla="*/ 3 w 75"/>
                <a:gd name="T21" fmla="*/ 25 h 59"/>
                <a:gd name="T22" fmla="*/ 0 w 75"/>
                <a:gd name="T23" fmla="*/ 27 h 59"/>
                <a:gd name="T24" fmla="*/ 0 w 75"/>
                <a:gd name="T25" fmla="*/ 38 h 59"/>
                <a:gd name="T26" fmla="*/ 3 w 75"/>
                <a:gd name="T27" fmla="*/ 41 h 59"/>
                <a:gd name="T28" fmla="*/ 5 w 75"/>
                <a:gd name="T29" fmla="*/ 38 h 59"/>
                <a:gd name="T30" fmla="*/ 5 w 75"/>
                <a:gd name="T31" fmla="*/ 27 h 59"/>
                <a:gd name="T32" fmla="*/ 3 w 75"/>
                <a:gd name="T33" fmla="*/ 25 h 59"/>
                <a:gd name="T34" fmla="*/ 75 w 75"/>
                <a:gd name="T35" fmla="*/ 23 h 59"/>
                <a:gd name="T36" fmla="*/ 75 w 75"/>
                <a:gd name="T37" fmla="*/ 56 h 59"/>
                <a:gd name="T38" fmla="*/ 73 w 75"/>
                <a:gd name="T39" fmla="*/ 57 h 59"/>
                <a:gd name="T40" fmla="*/ 65 w 75"/>
                <a:gd name="T41" fmla="*/ 51 h 59"/>
                <a:gd name="T42" fmla="*/ 64 w 75"/>
                <a:gd name="T43" fmla="*/ 49 h 59"/>
                <a:gd name="T44" fmla="*/ 60 w 75"/>
                <a:gd name="T45" fmla="*/ 49 h 59"/>
                <a:gd name="T46" fmla="*/ 60 w 75"/>
                <a:gd name="T47" fmla="*/ 56 h 59"/>
                <a:gd name="T48" fmla="*/ 57 w 75"/>
                <a:gd name="T49" fmla="*/ 59 h 59"/>
                <a:gd name="T50" fmla="*/ 11 w 75"/>
                <a:gd name="T51" fmla="*/ 59 h 59"/>
                <a:gd name="T52" fmla="*/ 8 w 75"/>
                <a:gd name="T53" fmla="*/ 55 h 59"/>
                <a:gd name="T54" fmla="*/ 8 w 75"/>
                <a:gd name="T55" fmla="*/ 27 h 59"/>
                <a:gd name="T56" fmla="*/ 11 w 75"/>
                <a:gd name="T57" fmla="*/ 23 h 59"/>
                <a:gd name="T58" fmla="*/ 57 w 75"/>
                <a:gd name="T59" fmla="*/ 23 h 59"/>
                <a:gd name="T60" fmla="*/ 60 w 75"/>
                <a:gd name="T61" fmla="*/ 27 h 59"/>
                <a:gd name="T62" fmla="*/ 60 w 75"/>
                <a:gd name="T63" fmla="*/ 30 h 59"/>
                <a:gd name="T64" fmla="*/ 64 w 75"/>
                <a:gd name="T65" fmla="*/ 30 h 59"/>
                <a:gd name="T66" fmla="*/ 65 w 75"/>
                <a:gd name="T67" fmla="*/ 29 h 59"/>
                <a:gd name="T68" fmla="*/ 73 w 75"/>
                <a:gd name="T69" fmla="*/ 22 h 59"/>
                <a:gd name="T70" fmla="*/ 75 w 75"/>
                <a:gd name="T71" fmla="*/ 2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" h="59">
                  <a:moveTo>
                    <a:pt x="22" y="22"/>
                  </a:moveTo>
                  <a:cubicBezTo>
                    <a:pt x="28" y="22"/>
                    <a:pt x="33" y="17"/>
                    <a:pt x="33" y="11"/>
                  </a:cubicBezTo>
                  <a:cubicBezTo>
                    <a:pt x="33" y="5"/>
                    <a:pt x="28" y="0"/>
                    <a:pt x="22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17"/>
                    <a:pt x="16" y="22"/>
                    <a:pt x="22" y="22"/>
                  </a:cubicBezTo>
                  <a:moveTo>
                    <a:pt x="45" y="22"/>
                  </a:moveTo>
                  <a:cubicBezTo>
                    <a:pt x="51" y="22"/>
                    <a:pt x="56" y="17"/>
                    <a:pt x="56" y="11"/>
                  </a:cubicBezTo>
                  <a:cubicBezTo>
                    <a:pt x="56" y="5"/>
                    <a:pt x="51" y="0"/>
                    <a:pt x="45" y="0"/>
                  </a:cubicBezTo>
                  <a:cubicBezTo>
                    <a:pt x="39" y="0"/>
                    <a:pt x="34" y="5"/>
                    <a:pt x="34" y="11"/>
                  </a:cubicBezTo>
                  <a:cubicBezTo>
                    <a:pt x="34" y="17"/>
                    <a:pt x="39" y="22"/>
                    <a:pt x="45" y="22"/>
                  </a:cubicBezTo>
                  <a:moveTo>
                    <a:pt x="3" y="25"/>
                  </a:moveTo>
                  <a:cubicBezTo>
                    <a:pt x="1" y="25"/>
                    <a:pt x="0" y="26"/>
                    <a:pt x="0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1" y="41"/>
                    <a:pt x="3" y="41"/>
                  </a:cubicBezTo>
                  <a:cubicBezTo>
                    <a:pt x="4" y="41"/>
                    <a:pt x="5" y="39"/>
                    <a:pt x="5" y="3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6"/>
                    <a:pt x="4" y="25"/>
                    <a:pt x="3" y="25"/>
                  </a:cubicBezTo>
                  <a:moveTo>
                    <a:pt x="75" y="23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4" y="58"/>
                    <a:pt x="73" y="57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4" y="50"/>
                    <a:pt x="64" y="50"/>
                    <a:pt x="64" y="4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59" y="59"/>
                    <a:pt x="57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9"/>
                    <a:pt x="8" y="57"/>
                    <a:pt x="8" y="5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5"/>
                    <a:pt x="9" y="23"/>
                    <a:pt x="11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9" y="23"/>
                    <a:pt x="60" y="25"/>
                    <a:pt x="60" y="27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29"/>
                    <a:pt x="65" y="2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4" y="21"/>
                    <a:pt x="75" y="21"/>
                    <a:pt x="75" y="23"/>
                  </a:cubicBezTo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69959" tIns="34979" rIns="69959" bIns="34979" numCol="1" anchor="t" anchorCtr="0" compatLnSpc="1">
              <a:prstTxWarp prst="textNoShape">
                <a:avLst/>
              </a:prstTxWarp>
            </a:bodyPr>
            <a:lstStyle/>
            <a:p>
              <a:endParaRPr lang="nl-NL" sz="16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3609130" y="-404384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5133904" y="53314"/>
            <a:ext cx="1473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Growth/Results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272" name="Group 271"/>
          <p:cNvGrpSpPr/>
          <p:nvPr/>
        </p:nvGrpSpPr>
        <p:grpSpPr>
          <a:xfrm>
            <a:off x="5022262" y="1079232"/>
            <a:ext cx="792000" cy="792000"/>
            <a:chOff x="1457863" y="-1065220"/>
            <a:chExt cx="792000" cy="792000"/>
          </a:xfrm>
        </p:grpSpPr>
        <p:sp>
          <p:nvSpPr>
            <p:cNvPr id="273" name="Freeform 21"/>
            <p:cNvSpPr>
              <a:spLocks noChangeAspect="1" noEditPoints="1"/>
            </p:cNvSpPr>
            <p:nvPr/>
          </p:nvSpPr>
          <p:spPr bwMode="auto">
            <a:xfrm>
              <a:off x="1503973" y="-986241"/>
              <a:ext cx="699781" cy="634042"/>
            </a:xfrm>
            <a:custGeom>
              <a:avLst/>
              <a:gdLst>
                <a:gd name="T0" fmla="*/ 382 w 482"/>
                <a:gd name="T1" fmla="*/ 437 h 437"/>
                <a:gd name="T2" fmla="*/ 0 w 482"/>
                <a:gd name="T3" fmla="*/ 242 h 437"/>
                <a:gd name="T4" fmla="*/ 482 w 482"/>
                <a:gd name="T5" fmla="*/ 242 h 437"/>
                <a:gd name="T6" fmla="*/ 461 w 482"/>
                <a:gd name="T7" fmla="*/ 242 h 437"/>
                <a:gd name="T8" fmla="*/ 415 w 482"/>
                <a:gd name="T9" fmla="*/ 229 h 437"/>
                <a:gd name="T10" fmla="*/ 415 w 482"/>
                <a:gd name="T11" fmla="*/ 255 h 437"/>
                <a:gd name="T12" fmla="*/ 425 w 482"/>
                <a:gd name="T13" fmla="*/ 365 h 437"/>
                <a:gd name="T14" fmla="*/ 397 w 482"/>
                <a:gd name="T15" fmla="*/ 316 h 437"/>
                <a:gd name="T16" fmla="*/ 425 w 482"/>
                <a:gd name="T17" fmla="*/ 365 h 437"/>
                <a:gd name="T18" fmla="*/ 56 w 482"/>
                <a:gd name="T19" fmla="*/ 363 h 437"/>
                <a:gd name="T20" fmla="*/ 85 w 482"/>
                <a:gd name="T21" fmla="*/ 316 h 437"/>
                <a:gd name="T22" fmla="*/ 20 w 482"/>
                <a:gd name="T23" fmla="*/ 242 h 437"/>
                <a:gd name="T24" fmla="*/ 69 w 482"/>
                <a:gd name="T25" fmla="*/ 255 h 437"/>
                <a:gd name="T26" fmla="*/ 69 w 482"/>
                <a:gd name="T27" fmla="*/ 229 h 437"/>
                <a:gd name="T28" fmla="*/ 20 w 482"/>
                <a:gd name="T29" fmla="*/ 242 h 437"/>
                <a:gd name="T30" fmla="*/ 44 w 482"/>
                <a:gd name="T31" fmla="*/ 144 h 437"/>
                <a:gd name="T32" fmla="*/ 100 w 482"/>
                <a:gd name="T33" fmla="*/ 144 h 437"/>
                <a:gd name="T34" fmla="*/ 143 w 482"/>
                <a:gd name="T35" fmla="*/ 44 h 437"/>
                <a:gd name="T36" fmla="*/ 143 w 482"/>
                <a:gd name="T37" fmla="*/ 98 h 437"/>
                <a:gd name="T38" fmla="*/ 143 w 482"/>
                <a:gd name="T39" fmla="*/ 44 h 437"/>
                <a:gd name="T40" fmla="*/ 228 w 482"/>
                <a:gd name="T41" fmla="*/ 21 h 437"/>
                <a:gd name="T42" fmla="*/ 241 w 482"/>
                <a:gd name="T43" fmla="*/ 67 h 437"/>
                <a:gd name="T44" fmla="*/ 254 w 482"/>
                <a:gd name="T45" fmla="*/ 21 h 437"/>
                <a:gd name="T46" fmla="*/ 364 w 482"/>
                <a:gd name="T47" fmla="*/ 57 h 437"/>
                <a:gd name="T48" fmla="*/ 315 w 482"/>
                <a:gd name="T49" fmla="*/ 85 h 437"/>
                <a:gd name="T50" fmla="*/ 364 w 482"/>
                <a:gd name="T51" fmla="*/ 57 h 437"/>
                <a:gd name="T52" fmla="*/ 425 w 482"/>
                <a:gd name="T53" fmla="*/ 119 h 437"/>
                <a:gd name="T54" fmla="*/ 397 w 482"/>
                <a:gd name="T55" fmla="*/ 167 h 437"/>
                <a:gd name="T56" fmla="*/ 241 w 482"/>
                <a:gd name="T57" fmla="*/ 280 h 437"/>
                <a:gd name="T58" fmla="*/ 241 w 482"/>
                <a:gd name="T59" fmla="*/ 203 h 437"/>
                <a:gd name="T60" fmla="*/ 241 w 482"/>
                <a:gd name="T61" fmla="*/ 280 h 437"/>
                <a:gd name="T62" fmla="*/ 238 w 482"/>
                <a:gd name="T63" fmla="*/ 196 h 437"/>
                <a:gd name="T64" fmla="*/ 254 w 482"/>
                <a:gd name="T65" fmla="*/ 196 h 437"/>
                <a:gd name="T66" fmla="*/ 300 w 482"/>
                <a:gd name="T67" fmla="*/ 41 h 437"/>
                <a:gd name="T68" fmla="*/ 143 w 482"/>
                <a:gd name="T69" fmla="*/ 378 h 437"/>
                <a:gd name="T70" fmla="*/ 167 w 482"/>
                <a:gd name="T71" fmla="*/ 406 h 437"/>
                <a:gd name="T72" fmla="*/ 338 w 482"/>
                <a:gd name="T73" fmla="*/ 383 h 437"/>
                <a:gd name="T74" fmla="*/ 315 w 482"/>
                <a:gd name="T75" fmla="*/ 35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2" h="437">
                  <a:moveTo>
                    <a:pt x="482" y="242"/>
                  </a:moveTo>
                  <a:cubicBezTo>
                    <a:pt x="482" y="322"/>
                    <a:pt x="443" y="391"/>
                    <a:pt x="382" y="437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38" y="391"/>
                    <a:pt x="0" y="322"/>
                    <a:pt x="0" y="242"/>
                  </a:cubicBezTo>
                  <a:cubicBezTo>
                    <a:pt x="0" y="108"/>
                    <a:pt x="108" y="0"/>
                    <a:pt x="241" y="0"/>
                  </a:cubicBezTo>
                  <a:cubicBezTo>
                    <a:pt x="372" y="0"/>
                    <a:pt x="482" y="108"/>
                    <a:pt x="482" y="242"/>
                  </a:cubicBezTo>
                  <a:close/>
                  <a:moveTo>
                    <a:pt x="461" y="255"/>
                  </a:moveTo>
                  <a:cubicBezTo>
                    <a:pt x="461" y="250"/>
                    <a:pt x="461" y="247"/>
                    <a:pt x="461" y="242"/>
                  </a:cubicBezTo>
                  <a:cubicBezTo>
                    <a:pt x="461" y="237"/>
                    <a:pt x="461" y="232"/>
                    <a:pt x="461" y="229"/>
                  </a:cubicBezTo>
                  <a:cubicBezTo>
                    <a:pt x="415" y="229"/>
                    <a:pt x="415" y="229"/>
                    <a:pt x="415" y="229"/>
                  </a:cubicBezTo>
                  <a:cubicBezTo>
                    <a:pt x="415" y="232"/>
                    <a:pt x="415" y="237"/>
                    <a:pt x="415" y="242"/>
                  </a:cubicBezTo>
                  <a:cubicBezTo>
                    <a:pt x="415" y="247"/>
                    <a:pt x="415" y="252"/>
                    <a:pt x="415" y="255"/>
                  </a:cubicBezTo>
                  <a:cubicBezTo>
                    <a:pt x="461" y="255"/>
                    <a:pt x="461" y="255"/>
                    <a:pt x="461" y="255"/>
                  </a:cubicBezTo>
                  <a:close/>
                  <a:moveTo>
                    <a:pt x="425" y="365"/>
                  </a:moveTo>
                  <a:cubicBezTo>
                    <a:pt x="430" y="358"/>
                    <a:pt x="436" y="350"/>
                    <a:pt x="438" y="340"/>
                  </a:cubicBezTo>
                  <a:cubicBezTo>
                    <a:pt x="397" y="316"/>
                    <a:pt x="397" y="316"/>
                    <a:pt x="397" y="316"/>
                  </a:cubicBezTo>
                  <a:cubicBezTo>
                    <a:pt x="395" y="324"/>
                    <a:pt x="389" y="332"/>
                    <a:pt x="384" y="340"/>
                  </a:cubicBezTo>
                  <a:cubicBezTo>
                    <a:pt x="425" y="365"/>
                    <a:pt x="425" y="365"/>
                    <a:pt x="425" y="365"/>
                  </a:cubicBezTo>
                  <a:close/>
                  <a:moveTo>
                    <a:pt x="44" y="340"/>
                  </a:moveTo>
                  <a:cubicBezTo>
                    <a:pt x="49" y="347"/>
                    <a:pt x="51" y="355"/>
                    <a:pt x="56" y="363"/>
                  </a:cubicBezTo>
                  <a:cubicBezTo>
                    <a:pt x="97" y="340"/>
                    <a:pt x="97" y="340"/>
                    <a:pt x="97" y="340"/>
                  </a:cubicBezTo>
                  <a:cubicBezTo>
                    <a:pt x="92" y="332"/>
                    <a:pt x="90" y="324"/>
                    <a:pt x="85" y="316"/>
                  </a:cubicBezTo>
                  <a:cubicBezTo>
                    <a:pt x="44" y="340"/>
                    <a:pt x="44" y="340"/>
                    <a:pt x="44" y="340"/>
                  </a:cubicBezTo>
                  <a:close/>
                  <a:moveTo>
                    <a:pt x="20" y="242"/>
                  </a:moveTo>
                  <a:cubicBezTo>
                    <a:pt x="20" y="247"/>
                    <a:pt x="20" y="252"/>
                    <a:pt x="20" y="255"/>
                  </a:cubicBezTo>
                  <a:cubicBezTo>
                    <a:pt x="69" y="255"/>
                    <a:pt x="69" y="255"/>
                    <a:pt x="69" y="255"/>
                  </a:cubicBezTo>
                  <a:cubicBezTo>
                    <a:pt x="69" y="252"/>
                    <a:pt x="69" y="247"/>
                    <a:pt x="69" y="242"/>
                  </a:cubicBezTo>
                  <a:cubicBezTo>
                    <a:pt x="69" y="237"/>
                    <a:pt x="69" y="232"/>
                    <a:pt x="69" y="229"/>
                  </a:cubicBezTo>
                  <a:cubicBezTo>
                    <a:pt x="20" y="229"/>
                    <a:pt x="20" y="229"/>
                    <a:pt x="20" y="229"/>
                  </a:cubicBezTo>
                  <a:cubicBezTo>
                    <a:pt x="20" y="232"/>
                    <a:pt x="20" y="237"/>
                    <a:pt x="20" y="242"/>
                  </a:cubicBezTo>
                  <a:close/>
                  <a:moveTo>
                    <a:pt x="56" y="119"/>
                  </a:moveTo>
                  <a:cubicBezTo>
                    <a:pt x="51" y="126"/>
                    <a:pt x="49" y="137"/>
                    <a:pt x="44" y="144"/>
                  </a:cubicBezTo>
                  <a:cubicBezTo>
                    <a:pt x="85" y="167"/>
                    <a:pt x="85" y="167"/>
                    <a:pt x="85" y="167"/>
                  </a:cubicBezTo>
                  <a:cubicBezTo>
                    <a:pt x="90" y="160"/>
                    <a:pt x="92" y="152"/>
                    <a:pt x="100" y="144"/>
                  </a:cubicBezTo>
                  <a:cubicBezTo>
                    <a:pt x="56" y="119"/>
                    <a:pt x="56" y="119"/>
                    <a:pt x="56" y="119"/>
                  </a:cubicBezTo>
                  <a:close/>
                  <a:moveTo>
                    <a:pt x="143" y="44"/>
                  </a:moveTo>
                  <a:cubicBezTo>
                    <a:pt x="133" y="49"/>
                    <a:pt x="126" y="52"/>
                    <a:pt x="118" y="57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51" y="93"/>
                    <a:pt x="159" y="90"/>
                    <a:pt x="167" y="85"/>
                  </a:cubicBezTo>
                  <a:cubicBezTo>
                    <a:pt x="143" y="44"/>
                    <a:pt x="143" y="44"/>
                    <a:pt x="143" y="44"/>
                  </a:cubicBezTo>
                  <a:close/>
                  <a:moveTo>
                    <a:pt x="241" y="21"/>
                  </a:moveTo>
                  <a:cubicBezTo>
                    <a:pt x="236" y="21"/>
                    <a:pt x="231" y="21"/>
                    <a:pt x="228" y="21"/>
                  </a:cubicBezTo>
                  <a:cubicBezTo>
                    <a:pt x="228" y="70"/>
                    <a:pt x="228" y="70"/>
                    <a:pt x="228" y="70"/>
                  </a:cubicBezTo>
                  <a:cubicBezTo>
                    <a:pt x="231" y="67"/>
                    <a:pt x="236" y="67"/>
                    <a:pt x="241" y="67"/>
                  </a:cubicBezTo>
                  <a:cubicBezTo>
                    <a:pt x="246" y="67"/>
                    <a:pt x="251" y="67"/>
                    <a:pt x="254" y="70"/>
                  </a:cubicBezTo>
                  <a:cubicBezTo>
                    <a:pt x="254" y="21"/>
                    <a:pt x="254" y="21"/>
                    <a:pt x="254" y="21"/>
                  </a:cubicBezTo>
                  <a:cubicBezTo>
                    <a:pt x="251" y="21"/>
                    <a:pt x="246" y="21"/>
                    <a:pt x="241" y="21"/>
                  </a:cubicBezTo>
                  <a:close/>
                  <a:moveTo>
                    <a:pt x="364" y="57"/>
                  </a:moveTo>
                  <a:cubicBezTo>
                    <a:pt x="356" y="52"/>
                    <a:pt x="346" y="47"/>
                    <a:pt x="338" y="44"/>
                  </a:cubicBezTo>
                  <a:cubicBezTo>
                    <a:pt x="315" y="85"/>
                    <a:pt x="315" y="85"/>
                    <a:pt x="315" y="85"/>
                  </a:cubicBezTo>
                  <a:cubicBezTo>
                    <a:pt x="323" y="88"/>
                    <a:pt x="331" y="93"/>
                    <a:pt x="338" y="98"/>
                  </a:cubicBezTo>
                  <a:cubicBezTo>
                    <a:pt x="364" y="57"/>
                    <a:pt x="364" y="57"/>
                    <a:pt x="364" y="57"/>
                  </a:cubicBezTo>
                  <a:close/>
                  <a:moveTo>
                    <a:pt x="438" y="142"/>
                  </a:moveTo>
                  <a:cubicBezTo>
                    <a:pt x="436" y="134"/>
                    <a:pt x="430" y="126"/>
                    <a:pt x="425" y="11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89" y="149"/>
                    <a:pt x="392" y="160"/>
                    <a:pt x="397" y="167"/>
                  </a:cubicBezTo>
                  <a:cubicBezTo>
                    <a:pt x="438" y="142"/>
                    <a:pt x="438" y="142"/>
                    <a:pt x="438" y="142"/>
                  </a:cubicBezTo>
                  <a:close/>
                  <a:moveTo>
                    <a:pt x="241" y="280"/>
                  </a:moveTo>
                  <a:cubicBezTo>
                    <a:pt x="264" y="280"/>
                    <a:pt x="279" y="262"/>
                    <a:pt x="279" y="242"/>
                  </a:cubicBezTo>
                  <a:cubicBezTo>
                    <a:pt x="279" y="221"/>
                    <a:pt x="264" y="203"/>
                    <a:pt x="241" y="203"/>
                  </a:cubicBezTo>
                  <a:cubicBezTo>
                    <a:pt x="220" y="203"/>
                    <a:pt x="202" y="221"/>
                    <a:pt x="202" y="242"/>
                  </a:cubicBezTo>
                  <a:cubicBezTo>
                    <a:pt x="202" y="262"/>
                    <a:pt x="220" y="280"/>
                    <a:pt x="241" y="280"/>
                  </a:cubicBezTo>
                  <a:close/>
                  <a:moveTo>
                    <a:pt x="300" y="41"/>
                  </a:moveTo>
                  <a:cubicBezTo>
                    <a:pt x="238" y="196"/>
                    <a:pt x="238" y="196"/>
                    <a:pt x="238" y="196"/>
                  </a:cubicBezTo>
                  <a:cubicBezTo>
                    <a:pt x="241" y="196"/>
                    <a:pt x="241" y="196"/>
                    <a:pt x="241" y="196"/>
                  </a:cubicBezTo>
                  <a:cubicBezTo>
                    <a:pt x="246" y="196"/>
                    <a:pt x="251" y="196"/>
                    <a:pt x="254" y="196"/>
                  </a:cubicBezTo>
                  <a:cubicBezTo>
                    <a:pt x="259" y="198"/>
                    <a:pt x="264" y="201"/>
                    <a:pt x="269" y="203"/>
                  </a:cubicBezTo>
                  <a:cubicBezTo>
                    <a:pt x="300" y="41"/>
                    <a:pt x="300" y="41"/>
                    <a:pt x="300" y="41"/>
                  </a:cubicBezTo>
                  <a:close/>
                  <a:moveTo>
                    <a:pt x="167" y="355"/>
                  </a:moveTo>
                  <a:cubicBezTo>
                    <a:pt x="154" y="355"/>
                    <a:pt x="143" y="368"/>
                    <a:pt x="143" y="378"/>
                  </a:cubicBezTo>
                  <a:cubicBezTo>
                    <a:pt x="143" y="383"/>
                    <a:pt x="143" y="383"/>
                    <a:pt x="143" y="383"/>
                  </a:cubicBezTo>
                  <a:cubicBezTo>
                    <a:pt x="143" y="396"/>
                    <a:pt x="154" y="406"/>
                    <a:pt x="167" y="406"/>
                  </a:cubicBezTo>
                  <a:cubicBezTo>
                    <a:pt x="315" y="406"/>
                    <a:pt x="315" y="406"/>
                    <a:pt x="315" y="406"/>
                  </a:cubicBezTo>
                  <a:cubicBezTo>
                    <a:pt x="328" y="406"/>
                    <a:pt x="338" y="396"/>
                    <a:pt x="338" y="383"/>
                  </a:cubicBezTo>
                  <a:cubicBezTo>
                    <a:pt x="338" y="378"/>
                    <a:pt x="338" y="378"/>
                    <a:pt x="338" y="378"/>
                  </a:cubicBezTo>
                  <a:cubicBezTo>
                    <a:pt x="338" y="368"/>
                    <a:pt x="328" y="355"/>
                    <a:pt x="315" y="355"/>
                  </a:cubicBezTo>
                  <a:cubicBezTo>
                    <a:pt x="167" y="355"/>
                    <a:pt x="167" y="355"/>
                    <a:pt x="167" y="355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grpSp>
          <p:nvGrpSpPr>
            <p:cNvPr id="274" name="Group 273"/>
            <p:cNvGrpSpPr/>
            <p:nvPr/>
          </p:nvGrpSpPr>
          <p:grpSpPr>
            <a:xfrm>
              <a:off x="1457863" y="-1065220"/>
              <a:ext cx="792000" cy="792000"/>
              <a:chOff x="1301691" y="-1022413"/>
              <a:chExt cx="792000" cy="792000"/>
            </a:xfrm>
          </p:grpSpPr>
          <p:sp>
            <p:nvSpPr>
              <p:cNvPr id="275" name="Rectangle 274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76" name="Rectangle 275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277" name="Group 276"/>
          <p:cNvGrpSpPr/>
          <p:nvPr/>
        </p:nvGrpSpPr>
        <p:grpSpPr>
          <a:xfrm>
            <a:off x="6093792" y="330621"/>
            <a:ext cx="792000" cy="792000"/>
            <a:chOff x="3154367" y="-1698631"/>
            <a:chExt cx="792000" cy="792000"/>
          </a:xfrm>
        </p:grpSpPr>
        <p:sp>
          <p:nvSpPr>
            <p:cNvPr id="278" name="Freeform 5"/>
            <p:cNvSpPr>
              <a:spLocks/>
            </p:cNvSpPr>
            <p:nvPr/>
          </p:nvSpPr>
          <p:spPr bwMode="auto">
            <a:xfrm>
              <a:off x="3207671" y="-1586144"/>
              <a:ext cx="685393" cy="567027"/>
            </a:xfrm>
            <a:custGeom>
              <a:avLst/>
              <a:gdLst>
                <a:gd name="T0" fmla="*/ 1216 w 1216"/>
                <a:gd name="T1" fmla="*/ 407 h 1006"/>
                <a:gd name="T2" fmla="*/ 1119 w 1216"/>
                <a:gd name="T3" fmla="*/ 0 h 1006"/>
                <a:gd name="T4" fmla="*/ 715 w 1216"/>
                <a:gd name="T5" fmla="*/ 98 h 1006"/>
                <a:gd name="T6" fmla="*/ 829 w 1216"/>
                <a:gd name="T7" fmla="*/ 169 h 1006"/>
                <a:gd name="T8" fmla="*/ 706 w 1216"/>
                <a:gd name="T9" fmla="*/ 369 h 1006"/>
                <a:gd name="T10" fmla="*/ 383 w 1216"/>
                <a:gd name="T11" fmla="*/ 276 h 1006"/>
                <a:gd name="T12" fmla="*/ 0 w 1216"/>
                <a:gd name="T13" fmla="*/ 821 h 1006"/>
                <a:gd name="T14" fmla="*/ 264 w 1216"/>
                <a:gd name="T15" fmla="*/ 1006 h 1006"/>
                <a:gd name="T16" fmla="*/ 513 w 1216"/>
                <a:gd name="T17" fmla="*/ 652 h 1006"/>
                <a:gd name="T18" fmla="*/ 853 w 1216"/>
                <a:gd name="T19" fmla="*/ 750 h 1006"/>
                <a:gd name="T20" fmla="*/ 1104 w 1216"/>
                <a:gd name="T21" fmla="*/ 338 h 1006"/>
                <a:gd name="T22" fmla="*/ 1216 w 1216"/>
                <a:gd name="T23" fmla="*/ 4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6" h="1006">
                  <a:moveTo>
                    <a:pt x="1216" y="407"/>
                  </a:moveTo>
                  <a:lnTo>
                    <a:pt x="1119" y="0"/>
                  </a:lnTo>
                  <a:lnTo>
                    <a:pt x="715" y="98"/>
                  </a:lnTo>
                  <a:lnTo>
                    <a:pt x="829" y="169"/>
                  </a:lnTo>
                  <a:lnTo>
                    <a:pt x="706" y="369"/>
                  </a:lnTo>
                  <a:lnTo>
                    <a:pt x="383" y="276"/>
                  </a:lnTo>
                  <a:lnTo>
                    <a:pt x="0" y="821"/>
                  </a:lnTo>
                  <a:lnTo>
                    <a:pt x="264" y="1006"/>
                  </a:lnTo>
                  <a:lnTo>
                    <a:pt x="513" y="652"/>
                  </a:lnTo>
                  <a:lnTo>
                    <a:pt x="853" y="750"/>
                  </a:lnTo>
                  <a:lnTo>
                    <a:pt x="1104" y="338"/>
                  </a:lnTo>
                  <a:lnTo>
                    <a:pt x="1216" y="407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390" tIns="45696" rIns="91390" bIns="45696" numCol="1" anchor="ctr" anchorCtr="0" compatLnSpc="1">
              <a:prstTxWarp prst="textNoShape">
                <a:avLst/>
              </a:prstTxWarp>
            </a:bodyPr>
            <a:lstStyle/>
            <a:p>
              <a:pPr defTabSz="932540"/>
              <a:endParaRPr lang="en-US" sz="1600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79" name="Rectangle 278"/>
            <p:cNvSpPr/>
            <p:nvPr/>
          </p:nvSpPr>
          <p:spPr>
            <a:xfrm>
              <a:off x="3154367" y="-169863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0" name="Group 279"/>
          <p:cNvGrpSpPr/>
          <p:nvPr/>
        </p:nvGrpSpPr>
        <p:grpSpPr>
          <a:xfrm>
            <a:off x="4993223" y="355386"/>
            <a:ext cx="792000" cy="792000"/>
            <a:chOff x="3233398" y="-1705803"/>
            <a:chExt cx="792000" cy="792000"/>
          </a:xfrm>
        </p:grpSpPr>
        <p:sp>
          <p:nvSpPr>
            <p:cNvPr id="281" name="Freeform 27"/>
            <p:cNvSpPr>
              <a:spLocks noEditPoints="1"/>
            </p:cNvSpPr>
            <p:nvPr/>
          </p:nvSpPr>
          <p:spPr bwMode="auto">
            <a:xfrm>
              <a:off x="3306742" y="-1565807"/>
              <a:ext cx="645313" cy="512009"/>
            </a:xfrm>
            <a:custGeom>
              <a:avLst/>
              <a:gdLst>
                <a:gd name="T0" fmla="*/ 42 w 263"/>
                <a:gd name="T1" fmla="*/ 147 h 209"/>
                <a:gd name="T2" fmla="*/ 37 w 263"/>
                <a:gd name="T3" fmla="*/ 209 h 209"/>
                <a:gd name="T4" fmla="*/ 6 w 263"/>
                <a:gd name="T5" fmla="*/ 204 h 209"/>
                <a:gd name="T6" fmla="*/ 16 w 263"/>
                <a:gd name="T7" fmla="*/ 158 h 209"/>
                <a:gd name="T8" fmla="*/ 33 w 263"/>
                <a:gd name="T9" fmla="*/ 158 h 209"/>
                <a:gd name="T10" fmla="*/ 58 w 263"/>
                <a:gd name="T11" fmla="*/ 209 h 209"/>
                <a:gd name="T12" fmla="*/ 89 w 263"/>
                <a:gd name="T13" fmla="*/ 204 h 209"/>
                <a:gd name="T14" fmla="*/ 53 w 263"/>
                <a:gd name="T15" fmla="*/ 135 h 209"/>
                <a:gd name="T16" fmla="*/ 100 w 263"/>
                <a:gd name="T17" fmla="*/ 204 h 209"/>
                <a:gd name="T18" fmla="*/ 131 w 263"/>
                <a:gd name="T19" fmla="*/ 209 h 209"/>
                <a:gd name="T20" fmla="*/ 136 w 263"/>
                <a:gd name="T21" fmla="*/ 111 h 209"/>
                <a:gd name="T22" fmla="*/ 100 w 263"/>
                <a:gd name="T23" fmla="*/ 204 h 209"/>
                <a:gd name="T24" fmla="*/ 155 w 263"/>
                <a:gd name="T25" fmla="*/ 122 h 209"/>
                <a:gd name="T26" fmla="*/ 146 w 263"/>
                <a:gd name="T27" fmla="*/ 204 h 209"/>
                <a:gd name="T28" fmla="*/ 178 w 263"/>
                <a:gd name="T29" fmla="*/ 209 h 209"/>
                <a:gd name="T30" fmla="*/ 182 w 263"/>
                <a:gd name="T31" fmla="*/ 110 h 209"/>
                <a:gd name="T32" fmla="*/ 162 w 263"/>
                <a:gd name="T33" fmla="*/ 124 h 209"/>
                <a:gd name="T34" fmla="*/ 193 w 263"/>
                <a:gd name="T35" fmla="*/ 204 h 209"/>
                <a:gd name="T36" fmla="*/ 224 w 263"/>
                <a:gd name="T37" fmla="*/ 209 h 209"/>
                <a:gd name="T38" fmla="*/ 229 w 263"/>
                <a:gd name="T39" fmla="*/ 66 h 209"/>
                <a:gd name="T40" fmla="*/ 193 w 263"/>
                <a:gd name="T41" fmla="*/ 99 h 209"/>
                <a:gd name="T42" fmla="*/ 259 w 263"/>
                <a:gd name="T43" fmla="*/ 0 h 209"/>
                <a:gd name="T44" fmla="*/ 182 w 263"/>
                <a:gd name="T45" fmla="*/ 9 h 209"/>
                <a:gd name="T46" fmla="*/ 203 w 263"/>
                <a:gd name="T47" fmla="*/ 37 h 209"/>
                <a:gd name="T48" fmla="*/ 165 w 263"/>
                <a:gd name="T49" fmla="*/ 76 h 209"/>
                <a:gd name="T50" fmla="*/ 100 w 263"/>
                <a:gd name="T51" fmla="*/ 18 h 209"/>
                <a:gd name="T52" fmla="*/ 93 w 263"/>
                <a:gd name="T53" fmla="*/ 18 h 209"/>
                <a:gd name="T54" fmla="*/ 2 w 263"/>
                <a:gd name="T55" fmla="*/ 135 h 209"/>
                <a:gd name="T56" fmla="*/ 24 w 263"/>
                <a:gd name="T57" fmla="*/ 155 h 209"/>
                <a:gd name="T58" fmla="*/ 91 w 263"/>
                <a:gd name="T59" fmla="*/ 82 h 209"/>
                <a:gd name="T60" fmla="*/ 99 w 263"/>
                <a:gd name="T61" fmla="*/ 80 h 209"/>
                <a:gd name="T62" fmla="*/ 162 w 263"/>
                <a:gd name="T63" fmla="*/ 117 h 209"/>
                <a:gd name="T64" fmla="*/ 225 w 263"/>
                <a:gd name="T65" fmla="*/ 59 h 209"/>
                <a:gd name="T66" fmla="*/ 232 w 263"/>
                <a:gd name="T67" fmla="*/ 59 h 209"/>
                <a:gd name="T68" fmla="*/ 257 w 263"/>
                <a:gd name="T69" fmla="*/ 84 h 209"/>
                <a:gd name="T70" fmla="*/ 263 w 263"/>
                <a:gd name="T71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3" h="209">
                  <a:moveTo>
                    <a:pt x="33" y="158"/>
                  </a:moveTo>
                  <a:cubicBezTo>
                    <a:pt x="42" y="147"/>
                    <a:pt x="42" y="147"/>
                    <a:pt x="42" y="147"/>
                  </a:cubicBezTo>
                  <a:cubicBezTo>
                    <a:pt x="42" y="204"/>
                    <a:pt x="42" y="204"/>
                    <a:pt x="42" y="204"/>
                  </a:cubicBezTo>
                  <a:cubicBezTo>
                    <a:pt x="42" y="207"/>
                    <a:pt x="40" y="209"/>
                    <a:pt x="37" y="209"/>
                  </a:cubicBezTo>
                  <a:cubicBezTo>
                    <a:pt x="11" y="209"/>
                    <a:pt x="11" y="209"/>
                    <a:pt x="11" y="209"/>
                  </a:cubicBezTo>
                  <a:cubicBezTo>
                    <a:pt x="9" y="209"/>
                    <a:pt x="6" y="207"/>
                    <a:pt x="6" y="204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16" y="158"/>
                    <a:pt x="16" y="158"/>
                    <a:pt x="16" y="158"/>
                  </a:cubicBezTo>
                  <a:cubicBezTo>
                    <a:pt x="18" y="160"/>
                    <a:pt x="21" y="162"/>
                    <a:pt x="24" y="162"/>
                  </a:cubicBezTo>
                  <a:cubicBezTo>
                    <a:pt x="27" y="162"/>
                    <a:pt x="31" y="160"/>
                    <a:pt x="33" y="158"/>
                  </a:cubicBezTo>
                  <a:close/>
                  <a:moveTo>
                    <a:pt x="53" y="204"/>
                  </a:moveTo>
                  <a:cubicBezTo>
                    <a:pt x="53" y="207"/>
                    <a:pt x="55" y="209"/>
                    <a:pt x="58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7" y="209"/>
                    <a:pt x="89" y="207"/>
                    <a:pt x="89" y="20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53" y="135"/>
                    <a:pt x="53" y="135"/>
                    <a:pt x="53" y="135"/>
                  </a:cubicBezTo>
                  <a:lnTo>
                    <a:pt x="53" y="204"/>
                  </a:lnTo>
                  <a:close/>
                  <a:moveTo>
                    <a:pt x="100" y="204"/>
                  </a:moveTo>
                  <a:cubicBezTo>
                    <a:pt x="100" y="207"/>
                    <a:pt x="102" y="209"/>
                    <a:pt x="105" y="209"/>
                  </a:cubicBezTo>
                  <a:cubicBezTo>
                    <a:pt x="131" y="209"/>
                    <a:pt x="131" y="209"/>
                    <a:pt x="131" y="209"/>
                  </a:cubicBezTo>
                  <a:cubicBezTo>
                    <a:pt x="134" y="209"/>
                    <a:pt x="136" y="207"/>
                    <a:pt x="136" y="204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00" y="89"/>
                    <a:pt x="100" y="89"/>
                    <a:pt x="100" y="89"/>
                  </a:cubicBezTo>
                  <a:lnTo>
                    <a:pt x="100" y="204"/>
                  </a:lnTo>
                  <a:close/>
                  <a:moveTo>
                    <a:pt x="162" y="124"/>
                  </a:moveTo>
                  <a:cubicBezTo>
                    <a:pt x="160" y="124"/>
                    <a:pt x="157" y="124"/>
                    <a:pt x="155" y="122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6" y="204"/>
                    <a:pt x="146" y="204"/>
                    <a:pt x="146" y="204"/>
                  </a:cubicBezTo>
                  <a:cubicBezTo>
                    <a:pt x="146" y="207"/>
                    <a:pt x="149" y="209"/>
                    <a:pt x="151" y="209"/>
                  </a:cubicBezTo>
                  <a:cubicBezTo>
                    <a:pt x="178" y="209"/>
                    <a:pt x="178" y="209"/>
                    <a:pt x="178" y="209"/>
                  </a:cubicBezTo>
                  <a:cubicBezTo>
                    <a:pt x="180" y="209"/>
                    <a:pt x="182" y="207"/>
                    <a:pt x="182" y="204"/>
                  </a:cubicBezTo>
                  <a:cubicBezTo>
                    <a:pt x="182" y="110"/>
                    <a:pt x="182" y="110"/>
                    <a:pt x="182" y="110"/>
                  </a:cubicBezTo>
                  <a:cubicBezTo>
                    <a:pt x="172" y="121"/>
                    <a:pt x="172" y="121"/>
                    <a:pt x="172" y="121"/>
                  </a:cubicBezTo>
                  <a:cubicBezTo>
                    <a:pt x="169" y="123"/>
                    <a:pt x="166" y="124"/>
                    <a:pt x="162" y="124"/>
                  </a:cubicBezTo>
                  <a:close/>
                  <a:moveTo>
                    <a:pt x="193" y="99"/>
                  </a:moveTo>
                  <a:cubicBezTo>
                    <a:pt x="193" y="204"/>
                    <a:pt x="193" y="204"/>
                    <a:pt x="193" y="204"/>
                  </a:cubicBezTo>
                  <a:cubicBezTo>
                    <a:pt x="193" y="207"/>
                    <a:pt x="195" y="209"/>
                    <a:pt x="198" y="209"/>
                  </a:cubicBezTo>
                  <a:cubicBezTo>
                    <a:pt x="224" y="209"/>
                    <a:pt x="224" y="209"/>
                    <a:pt x="224" y="209"/>
                  </a:cubicBezTo>
                  <a:cubicBezTo>
                    <a:pt x="227" y="209"/>
                    <a:pt x="229" y="207"/>
                    <a:pt x="229" y="204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8" y="65"/>
                    <a:pt x="228" y="65"/>
                    <a:pt x="228" y="65"/>
                  </a:cubicBezTo>
                  <a:lnTo>
                    <a:pt x="193" y="99"/>
                  </a:lnTo>
                  <a:close/>
                  <a:moveTo>
                    <a:pt x="259" y="0"/>
                  </a:moveTo>
                  <a:cubicBezTo>
                    <a:pt x="259" y="0"/>
                    <a:pt x="259" y="0"/>
                    <a:pt x="259" y="0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1" y="6"/>
                    <a:pt x="180" y="8"/>
                    <a:pt x="182" y="9"/>
                  </a:cubicBezTo>
                  <a:cubicBezTo>
                    <a:pt x="203" y="30"/>
                    <a:pt x="203" y="30"/>
                    <a:pt x="203" y="30"/>
                  </a:cubicBezTo>
                  <a:cubicBezTo>
                    <a:pt x="205" y="32"/>
                    <a:pt x="205" y="35"/>
                    <a:pt x="203" y="37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5"/>
                    <a:pt x="166" y="76"/>
                    <a:pt x="165" y="76"/>
                  </a:cubicBezTo>
                  <a:cubicBezTo>
                    <a:pt x="163" y="76"/>
                    <a:pt x="162" y="75"/>
                    <a:pt x="161" y="75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7"/>
                    <a:pt x="98" y="17"/>
                    <a:pt x="97" y="17"/>
                  </a:cubicBezTo>
                  <a:cubicBezTo>
                    <a:pt x="95" y="17"/>
                    <a:pt x="94" y="17"/>
                    <a:pt x="93" y="18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0" y="129"/>
                    <a:pt x="0" y="133"/>
                    <a:pt x="2" y="135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22" y="154"/>
                    <a:pt x="23" y="155"/>
                    <a:pt x="24" y="155"/>
                  </a:cubicBezTo>
                  <a:cubicBezTo>
                    <a:pt x="25" y="155"/>
                    <a:pt x="27" y="154"/>
                    <a:pt x="28" y="153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0"/>
                    <a:pt x="94" y="80"/>
                    <a:pt x="96" y="80"/>
                  </a:cubicBezTo>
                  <a:cubicBezTo>
                    <a:pt x="97" y="80"/>
                    <a:pt x="98" y="80"/>
                    <a:pt x="99" y="80"/>
                  </a:cubicBezTo>
                  <a:cubicBezTo>
                    <a:pt x="159" y="117"/>
                    <a:pt x="159" y="117"/>
                    <a:pt x="159" y="117"/>
                  </a:cubicBezTo>
                  <a:cubicBezTo>
                    <a:pt x="160" y="117"/>
                    <a:pt x="161" y="117"/>
                    <a:pt x="162" y="117"/>
                  </a:cubicBezTo>
                  <a:cubicBezTo>
                    <a:pt x="164" y="117"/>
                    <a:pt x="166" y="117"/>
                    <a:pt x="167" y="116"/>
                  </a:cubicBezTo>
                  <a:cubicBezTo>
                    <a:pt x="225" y="59"/>
                    <a:pt x="225" y="59"/>
                    <a:pt x="225" y="59"/>
                  </a:cubicBezTo>
                  <a:cubicBezTo>
                    <a:pt x="226" y="58"/>
                    <a:pt x="227" y="58"/>
                    <a:pt x="228" y="58"/>
                  </a:cubicBezTo>
                  <a:cubicBezTo>
                    <a:pt x="230" y="58"/>
                    <a:pt x="231" y="58"/>
                    <a:pt x="232" y="59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6" y="83"/>
                    <a:pt x="257" y="84"/>
                    <a:pt x="257" y="84"/>
                  </a:cubicBezTo>
                  <a:cubicBezTo>
                    <a:pt x="258" y="84"/>
                    <a:pt x="259" y="83"/>
                    <a:pt x="259" y="81"/>
                  </a:cubicBezTo>
                  <a:cubicBezTo>
                    <a:pt x="263" y="5"/>
                    <a:pt x="263" y="5"/>
                    <a:pt x="263" y="5"/>
                  </a:cubicBezTo>
                  <a:cubicBezTo>
                    <a:pt x="263" y="2"/>
                    <a:pt x="261" y="0"/>
                    <a:pt x="259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2" name="Rectangle 281"/>
            <p:cNvSpPr/>
            <p:nvPr/>
          </p:nvSpPr>
          <p:spPr>
            <a:xfrm>
              <a:off x="3233398" y="-170580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3" name="Group 282"/>
          <p:cNvGrpSpPr/>
          <p:nvPr/>
        </p:nvGrpSpPr>
        <p:grpSpPr>
          <a:xfrm>
            <a:off x="5060270" y="2090150"/>
            <a:ext cx="792000" cy="792000"/>
            <a:chOff x="5480319" y="2026822"/>
            <a:chExt cx="792000" cy="792000"/>
          </a:xfrm>
        </p:grpSpPr>
        <p:grpSp>
          <p:nvGrpSpPr>
            <p:cNvPr id="284" name="Group 283"/>
            <p:cNvGrpSpPr/>
            <p:nvPr/>
          </p:nvGrpSpPr>
          <p:grpSpPr>
            <a:xfrm>
              <a:off x="5522701" y="2069206"/>
              <a:ext cx="707236" cy="707232"/>
              <a:chOff x="10062884" y="1347709"/>
              <a:chExt cx="792000" cy="791997"/>
            </a:xfrm>
          </p:grpSpPr>
          <p:grpSp>
            <p:nvGrpSpPr>
              <p:cNvPr id="286" name="Group 285"/>
              <p:cNvGrpSpPr/>
              <p:nvPr/>
            </p:nvGrpSpPr>
            <p:grpSpPr>
              <a:xfrm>
                <a:off x="10062884" y="1347709"/>
                <a:ext cx="792000" cy="519107"/>
                <a:chOff x="3411259" y="4349090"/>
                <a:chExt cx="1040755" cy="640302"/>
              </a:xfrm>
            </p:grpSpPr>
            <p:sp>
              <p:nvSpPr>
                <p:cNvPr id="288" name="Oval 287"/>
                <p:cNvSpPr/>
                <p:nvPr/>
              </p:nvSpPr>
              <p:spPr>
                <a:xfrm>
                  <a:off x="3411259" y="4857089"/>
                  <a:ext cx="62554" cy="6476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89" name="Oval 288"/>
                <p:cNvSpPr/>
                <p:nvPr/>
              </p:nvSpPr>
              <p:spPr>
                <a:xfrm>
                  <a:off x="3475653" y="4603092"/>
                  <a:ext cx="62554" cy="6476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0" name="Oval 289"/>
                <p:cNvSpPr/>
                <p:nvPr/>
              </p:nvSpPr>
              <p:spPr>
                <a:xfrm>
                  <a:off x="3659639" y="4425289"/>
                  <a:ext cx="62554" cy="6476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1" name="Oval 290"/>
                <p:cNvSpPr/>
                <p:nvPr/>
              </p:nvSpPr>
              <p:spPr>
                <a:xfrm>
                  <a:off x="3908024" y="4349090"/>
                  <a:ext cx="62554" cy="6476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2" name="Oval 291"/>
                <p:cNvSpPr/>
                <p:nvPr/>
              </p:nvSpPr>
              <p:spPr>
                <a:xfrm>
                  <a:off x="4168674" y="4425289"/>
                  <a:ext cx="62554" cy="6476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3" name="Oval 292"/>
                <p:cNvSpPr/>
                <p:nvPr/>
              </p:nvSpPr>
              <p:spPr>
                <a:xfrm>
                  <a:off x="4325063" y="4603090"/>
                  <a:ext cx="62554" cy="64768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4" name="Oval 293"/>
                <p:cNvSpPr/>
                <p:nvPr/>
              </p:nvSpPr>
              <p:spPr>
                <a:xfrm>
                  <a:off x="4389460" y="4857090"/>
                  <a:ext cx="62554" cy="64768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5" name="Down Arrow 294"/>
                <p:cNvSpPr/>
                <p:nvPr/>
              </p:nvSpPr>
              <p:spPr>
                <a:xfrm rot="14705180">
                  <a:off x="4031055" y="4660640"/>
                  <a:ext cx="72715" cy="307644"/>
                </a:xfrm>
                <a:prstGeom prst="downArrow">
                  <a:avLst/>
                </a:prstGeom>
                <a:solidFill>
                  <a:srgbClr val="007ABD"/>
                </a:solidFill>
                <a:ln w="25400" cap="flat" cmpd="sng" algn="ctr">
                  <a:solidFill>
                    <a:srgbClr val="007ABD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96" name="Oval 295"/>
                <p:cNvSpPr/>
                <p:nvPr/>
              </p:nvSpPr>
              <p:spPr>
                <a:xfrm>
                  <a:off x="3843628" y="4802003"/>
                  <a:ext cx="180982" cy="187389"/>
                </a:xfrm>
                <a:prstGeom prst="ellipse">
                  <a:avLst/>
                </a:prstGeom>
                <a:solidFill>
                  <a:srgbClr val="007A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287" name="Pie 286"/>
              <p:cNvSpPr/>
              <p:nvPr/>
            </p:nvSpPr>
            <p:spPr>
              <a:xfrm rot="10800000">
                <a:off x="10168248" y="1468823"/>
                <a:ext cx="565504" cy="670883"/>
              </a:xfrm>
              <a:prstGeom prst="pie">
                <a:avLst>
                  <a:gd name="adj1" fmla="val 0"/>
                  <a:gd name="adj2" fmla="val 10800000"/>
                </a:avLst>
              </a:prstGeom>
              <a:noFill/>
              <a:ln w="25400" cap="flat" cmpd="sng" algn="ctr">
                <a:solidFill>
                  <a:srgbClr val="007AB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497"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latin typeface="Calibri" panose="020F0502020204030204"/>
                  </a:rPr>
                  <a:t> </a:t>
                </a:r>
              </a:p>
            </p:txBody>
          </p:sp>
        </p:grpSp>
        <p:sp>
          <p:nvSpPr>
            <p:cNvPr id="285" name="Rectangle 284"/>
            <p:cNvSpPr/>
            <p:nvPr/>
          </p:nvSpPr>
          <p:spPr>
            <a:xfrm>
              <a:off x="5480319" y="202682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6075308" y="1002561"/>
            <a:ext cx="792000" cy="792000"/>
            <a:chOff x="10082667" y="1750000"/>
            <a:chExt cx="792000" cy="792000"/>
          </a:xfrm>
        </p:grpSpPr>
        <p:sp>
          <p:nvSpPr>
            <p:cNvPr id="304" name="Freeform 15"/>
            <p:cNvSpPr>
              <a:spLocks noEditPoints="1"/>
            </p:cNvSpPr>
            <p:nvPr/>
          </p:nvSpPr>
          <p:spPr bwMode="black">
            <a:xfrm>
              <a:off x="10118667" y="1786000"/>
              <a:ext cx="720000" cy="720000"/>
            </a:xfrm>
            <a:custGeom>
              <a:avLst/>
              <a:gdLst>
                <a:gd name="T0" fmla="*/ 455 w 708"/>
                <a:gd name="T1" fmla="*/ 121 h 709"/>
                <a:gd name="T2" fmla="*/ 392 w 708"/>
                <a:gd name="T3" fmla="*/ 121 h 709"/>
                <a:gd name="T4" fmla="*/ 392 w 708"/>
                <a:gd name="T5" fmla="*/ 206 h 709"/>
                <a:gd name="T6" fmla="*/ 316 w 708"/>
                <a:gd name="T7" fmla="*/ 206 h 709"/>
                <a:gd name="T8" fmla="*/ 316 w 708"/>
                <a:gd name="T9" fmla="*/ 121 h 709"/>
                <a:gd name="T10" fmla="*/ 250 w 708"/>
                <a:gd name="T11" fmla="*/ 121 h 709"/>
                <a:gd name="T12" fmla="*/ 354 w 708"/>
                <a:gd name="T13" fmla="*/ 0 h 709"/>
                <a:gd name="T14" fmla="*/ 455 w 708"/>
                <a:gd name="T15" fmla="*/ 121 h 709"/>
                <a:gd name="T16" fmla="*/ 205 w 708"/>
                <a:gd name="T17" fmla="*/ 371 h 709"/>
                <a:gd name="T18" fmla="*/ 139 w 708"/>
                <a:gd name="T19" fmla="*/ 371 h 709"/>
                <a:gd name="T20" fmla="*/ 139 w 708"/>
                <a:gd name="T21" fmla="*/ 456 h 709"/>
                <a:gd name="T22" fmla="*/ 63 w 708"/>
                <a:gd name="T23" fmla="*/ 456 h 709"/>
                <a:gd name="T24" fmla="*/ 63 w 708"/>
                <a:gd name="T25" fmla="*/ 371 h 709"/>
                <a:gd name="T26" fmla="*/ 0 w 708"/>
                <a:gd name="T27" fmla="*/ 371 h 709"/>
                <a:gd name="T28" fmla="*/ 101 w 708"/>
                <a:gd name="T29" fmla="*/ 251 h 709"/>
                <a:gd name="T30" fmla="*/ 205 w 708"/>
                <a:gd name="T31" fmla="*/ 371 h 709"/>
                <a:gd name="T32" fmla="*/ 205 w 708"/>
                <a:gd name="T33" fmla="*/ 503 h 709"/>
                <a:gd name="T34" fmla="*/ 0 w 708"/>
                <a:gd name="T35" fmla="*/ 503 h 709"/>
                <a:gd name="T36" fmla="*/ 0 w 708"/>
                <a:gd name="T37" fmla="*/ 709 h 709"/>
                <a:gd name="T38" fmla="*/ 205 w 708"/>
                <a:gd name="T39" fmla="*/ 709 h 709"/>
                <a:gd name="T40" fmla="*/ 205 w 708"/>
                <a:gd name="T41" fmla="*/ 503 h 709"/>
                <a:gd name="T42" fmla="*/ 708 w 708"/>
                <a:gd name="T43" fmla="*/ 503 h 709"/>
                <a:gd name="T44" fmla="*/ 503 w 708"/>
                <a:gd name="T45" fmla="*/ 503 h 709"/>
                <a:gd name="T46" fmla="*/ 503 w 708"/>
                <a:gd name="T47" fmla="*/ 709 h 709"/>
                <a:gd name="T48" fmla="*/ 708 w 708"/>
                <a:gd name="T49" fmla="*/ 709 h 709"/>
                <a:gd name="T50" fmla="*/ 708 w 708"/>
                <a:gd name="T51" fmla="*/ 503 h 709"/>
                <a:gd name="T52" fmla="*/ 708 w 708"/>
                <a:gd name="T53" fmla="*/ 0 h 709"/>
                <a:gd name="T54" fmla="*/ 503 w 708"/>
                <a:gd name="T55" fmla="*/ 0 h 709"/>
                <a:gd name="T56" fmla="*/ 503 w 708"/>
                <a:gd name="T57" fmla="*/ 206 h 709"/>
                <a:gd name="T58" fmla="*/ 708 w 708"/>
                <a:gd name="T59" fmla="*/ 206 h 709"/>
                <a:gd name="T60" fmla="*/ 708 w 708"/>
                <a:gd name="T61" fmla="*/ 0 h 709"/>
                <a:gd name="T62" fmla="*/ 708 w 708"/>
                <a:gd name="T63" fmla="*/ 251 h 709"/>
                <a:gd name="T64" fmla="*/ 503 w 708"/>
                <a:gd name="T65" fmla="*/ 251 h 709"/>
                <a:gd name="T66" fmla="*/ 503 w 708"/>
                <a:gd name="T67" fmla="*/ 456 h 709"/>
                <a:gd name="T68" fmla="*/ 708 w 708"/>
                <a:gd name="T69" fmla="*/ 456 h 709"/>
                <a:gd name="T70" fmla="*/ 708 w 708"/>
                <a:gd name="T71" fmla="*/ 251 h 709"/>
                <a:gd name="T72" fmla="*/ 455 w 708"/>
                <a:gd name="T73" fmla="*/ 251 h 709"/>
                <a:gd name="T74" fmla="*/ 250 w 708"/>
                <a:gd name="T75" fmla="*/ 251 h 709"/>
                <a:gd name="T76" fmla="*/ 250 w 708"/>
                <a:gd name="T77" fmla="*/ 456 h 709"/>
                <a:gd name="T78" fmla="*/ 455 w 708"/>
                <a:gd name="T79" fmla="*/ 456 h 709"/>
                <a:gd name="T80" fmla="*/ 455 w 708"/>
                <a:gd name="T81" fmla="*/ 251 h 709"/>
                <a:gd name="T82" fmla="*/ 455 w 708"/>
                <a:gd name="T83" fmla="*/ 503 h 709"/>
                <a:gd name="T84" fmla="*/ 250 w 708"/>
                <a:gd name="T85" fmla="*/ 503 h 709"/>
                <a:gd name="T86" fmla="*/ 250 w 708"/>
                <a:gd name="T87" fmla="*/ 709 h 709"/>
                <a:gd name="T88" fmla="*/ 455 w 708"/>
                <a:gd name="T89" fmla="*/ 709 h 709"/>
                <a:gd name="T90" fmla="*/ 455 w 708"/>
                <a:gd name="T91" fmla="*/ 5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8" h="709">
                  <a:moveTo>
                    <a:pt x="455" y="121"/>
                  </a:moveTo>
                  <a:lnTo>
                    <a:pt x="392" y="121"/>
                  </a:lnTo>
                  <a:lnTo>
                    <a:pt x="392" y="206"/>
                  </a:lnTo>
                  <a:lnTo>
                    <a:pt x="316" y="206"/>
                  </a:lnTo>
                  <a:lnTo>
                    <a:pt x="316" y="121"/>
                  </a:lnTo>
                  <a:lnTo>
                    <a:pt x="250" y="121"/>
                  </a:lnTo>
                  <a:lnTo>
                    <a:pt x="354" y="0"/>
                  </a:lnTo>
                  <a:lnTo>
                    <a:pt x="455" y="121"/>
                  </a:lnTo>
                  <a:close/>
                  <a:moveTo>
                    <a:pt x="205" y="371"/>
                  </a:moveTo>
                  <a:lnTo>
                    <a:pt x="139" y="371"/>
                  </a:lnTo>
                  <a:lnTo>
                    <a:pt x="139" y="456"/>
                  </a:lnTo>
                  <a:lnTo>
                    <a:pt x="63" y="456"/>
                  </a:lnTo>
                  <a:lnTo>
                    <a:pt x="63" y="371"/>
                  </a:lnTo>
                  <a:lnTo>
                    <a:pt x="0" y="371"/>
                  </a:lnTo>
                  <a:lnTo>
                    <a:pt x="101" y="251"/>
                  </a:lnTo>
                  <a:lnTo>
                    <a:pt x="205" y="371"/>
                  </a:lnTo>
                  <a:close/>
                  <a:moveTo>
                    <a:pt x="205" y="503"/>
                  </a:moveTo>
                  <a:lnTo>
                    <a:pt x="0" y="503"/>
                  </a:lnTo>
                  <a:lnTo>
                    <a:pt x="0" y="709"/>
                  </a:lnTo>
                  <a:lnTo>
                    <a:pt x="205" y="709"/>
                  </a:lnTo>
                  <a:lnTo>
                    <a:pt x="205" y="503"/>
                  </a:lnTo>
                  <a:close/>
                  <a:moveTo>
                    <a:pt x="708" y="503"/>
                  </a:moveTo>
                  <a:lnTo>
                    <a:pt x="503" y="503"/>
                  </a:lnTo>
                  <a:lnTo>
                    <a:pt x="503" y="709"/>
                  </a:lnTo>
                  <a:lnTo>
                    <a:pt x="708" y="709"/>
                  </a:lnTo>
                  <a:lnTo>
                    <a:pt x="708" y="503"/>
                  </a:lnTo>
                  <a:close/>
                  <a:moveTo>
                    <a:pt x="708" y="0"/>
                  </a:moveTo>
                  <a:lnTo>
                    <a:pt x="503" y="0"/>
                  </a:lnTo>
                  <a:lnTo>
                    <a:pt x="503" y="206"/>
                  </a:lnTo>
                  <a:lnTo>
                    <a:pt x="708" y="206"/>
                  </a:lnTo>
                  <a:lnTo>
                    <a:pt x="708" y="0"/>
                  </a:lnTo>
                  <a:close/>
                  <a:moveTo>
                    <a:pt x="708" y="251"/>
                  </a:moveTo>
                  <a:lnTo>
                    <a:pt x="503" y="251"/>
                  </a:lnTo>
                  <a:lnTo>
                    <a:pt x="503" y="456"/>
                  </a:lnTo>
                  <a:lnTo>
                    <a:pt x="708" y="456"/>
                  </a:lnTo>
                  <a:lnTo>
                    <a:pt x="708" y="251"/>
                  </a:lnTo>
                  <a:close/>
                  <a:moveTo>
                    <a:pt x="455" y="251"/>
                  </a:moveTo>
                  <a:lnTo>
                    <a:pt x="250" y="251"/>
                  </a:lnTo>
                  <a:lnTo>
                    <a:pt x="250" y="456"/>
                  </a:lnTo>
                  <a:lnTo>
                    <a:pt x="455" y="456"/>
                  </a:lnTo>
                  <a:lnTo>
                    <a:pt x="455" y="251"/>
                  </a:lnTo>
                  <a:close/>
                  <a:moveTo>
                    <a:pt x="455" y="503"/>
                  </a:moveTo>
                  <a:lnTo>
                    <a:pt x="250" y="503"/>
                  </a:lnTo>
                  <a:lnTo>
                    <a:pt x="250" y="709"/>
                  </a:lnTo>
                  <a:lnTo>
                    <a:pt x="455" y="709"/>
                  </a:lnTo>
                  <a:lnTo>
                    <a:pt x="455" y="503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Rectangle 304"/>
            <p:cNvSpPr/>
            <p:nvPr/>
          </p:nvSpPr>
          <p:spPr>
            <a:xfrm>
              <a:off x="10082667" y="175000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6068523" y="1881471"/>
            <a:ext cx="792000" cy="792000"/>
            <a:chOff x="9732796" y="1108367"/>
            <a:chExt cx="792000" cy="792000"/>
          </a:xfrm>
        </p:grpSpPr>
        <p:sp>
          <p:nvSpPr>
            <p:cNvPr id="307" name="Freeform 11"/>
            <p:cNvSpPr>
              <a:spLocks noEditPoints="1"/>
            </p:cNvSpPr>
            <p:nvPr/>
          </p:nvSpPr>
          <p:spPr bwMode="black">
            <a:xfrm>
              <a:off x="9768796" y="1144367"/>
              <a:ext cx="720000" cy="720000"/>
            </a:xfrm>
            <a:custGeom>
              <a:avLst/>
              <a:gdLst>
                <a:gd name="T0" fmla="*/ 213 w 709"/>
                <a:gd name="T1" fmla="*/ 522 h 709"/>
                <a:gd name="T2" fmla="*/ 213 w 709"/>
                <a:gd name="T3" fmla="*/ 709 h 709"/>
                <a:gd name="T4" fmla="*/ 0 w 709"/>
                <a:gd name="T5" fmla="*/ 709 h 709"/>
                <a:gd name="T6" fmla="*/ 0 w 709"/>
                <a:gd name="T7" fmla="*/ 496 h 709"/>
                <a:gd name="T8" fmla="*/ 88 w 709"/>
                <a:gd name="T9" fmla="*/ 496 h 709"/>
                <a:gd name="T10" fmla="*/ 67 w 709"/>
                <a:gd name="T11" fmla="*/ 522 h 709"/>
                <a:gd name="T12" fmla="*/ 213 w 709"/>
                <a:gd name="T13" fmla="*/ 522 h 709"/>
                <a:gd name="T14" fmla="*/ 619 w 709"/>
                <a:gd name="T15" fmla="*/ 496 h 709"/>
                <a:gd name="T16" fmla="*/ 643 w 709"/>
                <a:gd name="T17" fmla="*/ 522 h 709"/>
                <a:gd name="T18" fmla="*/ 496 w 709"/>
                <a:gd name="T19" fmla="*/ 522 h 709"/>
                <a:gd name="T20" fmla="*/ 496 w 709"/>
                <a:gd name="T21" fmla="*/ 709 h 709"/>
                <a:gd name="T22" fmla="*/ 709 w 709"/>
                <a:gd name="T23" fmla="*/ 709 h 709"/>
                <a:gd name="T24" fmla="*/ 709 w 709"/>
                <a:gd name="T25" fmla="*/ 496 h 709"/>
                <a:gd name="T26" fmla="*/ 619 w 709"/>
                <a:gd name="T27" fmla="*/ 496 h 709"/>
                <a:gd name="T28" fmla="*/ 355 w 709"/>
                <a:gd name="T29" fmla="*/ 182 h 709"/>
                <a:gd name="T30" fmla="*/ 381 w 709"/>
                <a:gd name="T31" fmla="*/ 213 h 709"/>
                <a:gd name="T32" fmla="*/ 461 w 709"/>
                <a:gd name="T33" fmla="*/ 213 h 709"/>
                <a:gd name="T34" fmla="*/ 461 w 709"/>
                <a:gd name="T35" fmla="*/ 0 h 709"/>
                <a:gd name="T36" fmla="*/ 248 w 709"/>
                <a:gd name="T37" fmla="*/ 0 h 709"/>
                <a:gd name="T38" fmla="*/ 248 w 709"/>
                <a:gd name="T39" fmla="*/ 213 h 709"/>
                <a:gd name="T40" fmla="*/ 329 w 709"/>
                <a:gd name="T41" fmla="*/ 213 h 709"/>
                <a:gd name="T42" fmla="*/ 355 w 709"/>
                <a:gd name="T43" fmla="*/ 182 h 709"/>
                <a:gd name="T44" fmla="*/ 123 w 709"/>
                <a:gd name="T45" fmla="*/ 248 h 709"/>
                <a:gd name="T46" fmla="*/ 123 w 709"/>
                <a:gd name="T47" fmla="*/ 454 h 709"/>
                <a:gd name="T48" fmla="*/ 298 w 709"/>
                <a:gd name="T49" fmla="*/ 248 h 709"/>
                <a:gd name="T50" fmla="*/ 123 w 709"/>
                <a:gd name="T51" fmla="*/ 248 h 709"/>
                <a:gd name="T52" fmla="*/ 355 w 709"/>
                <a:gd name="T53" fmla="*/ 225 h 709"/>
                <a:gd name="T54" fmla="*/ 128 w 709"/>
                <a:gd name="T55" fmla="*/ 494 h 709"/>
                <a:gd name="T56" fmla="*/ 248 w 709"/>
                <a:gd name="T57" fmla="*/ 494 h 709"/>
                <a:gd name="T58" fmla="*/ 248 w 709"/>
                <a:gd name="T59" fmla="*/ 709 h 709"/>
                <a:gd name="T60" fmla="*/ 461 w 709"/>
                <a:gd name="T61" fmla="*/ 709 h 709"/>
                <a:gd name="T62" fmla="*/ 461 w 709"/>
                <a:gd name="T63" fmla="*/ 494 h 709"/>
                <a:gd name="T64" fmla="*/ 581 w 709"/>
                <a:gd name="T65" fmla="*/ 494 h 709"/>
                <a:gd name="T66" fmla="*/ 355 w 709"/>
                <a:gd name="T67" fmla="*/ 225 h 709"/>
                <a:gd name="T68" fmla="*/ 584 w 709"/>
                <a:gd name="T69" fmla="*/ 248 h 709"/>
                <a:gd name="T70" fmla="*/ 411 w 709"/>
                <a:gd name="T71" fmla="*/ 248 h 709"/>
                <a:gd name="T72" fmla="*/ 584 w 709"/>
                <a:gd name="T73" fmla="*/ 454 h 709"/>
                <a:gd name="T74" fmla="*/ 584 w 709"/>
                <a:gd name="T75" fmla="*/ 248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09" h="709">
                  <a:moveTo>
                    <a:pt x="213" y="522"/>
                  </a:moveTo>
                  <a:lnTo>
                    <a:pt x="213" y="709"/>
                  </a:lnTo>
                  <a:lnTo>
                    <a:pt x="0" y="709"/>
                  </a:lnTo>
                  <a:lnTo>
                    <a:pt x="0" y="496"/>
                  </a:lnTo>
                  <a:lnTo>
                    <a:pt x="88" y="496"/>
                  </a:lnTo>
                  <a:lnTo>
                    <a:pt x="67" y="522"/>
                  </a:lnTo>
                  <a:lnTo>
                    <a:pt x="213" y="522"/>
                  </a:lnTo>
                  <a:close/>
                  <a:moveTo>
                    <a:pt x="619" y="496"/>
                  </a:moveTo>
                  <a:lnTo>
                    <a:pt x="643" y="522"/>
                  </a:lnTo>
                  <a:lnTo>
                    <a:pt x="496" y="522"/>
                  </a:lnTo>
                  <a:lnTo>
                    <a:pt x="496" y="709"/>
                  </a:lnTo>
                  <a:lnTo>
                    <a:pt x="709" y="709"/>
                  </a:lnTo>
                  <a:lnTo>
                    <a:pt x="709" y="496"/>
                  </a:lnTo>
                  <a:lnTo>
                    <a:pt x="619" y="496"/>
                  </a:lnTo>
                  <a:close/>
                  <a:moveTo>
                    <a:pt x="355" y="182"/>
                  </a:moveTo>
                  <a:lnTo>
                    <a:pt x="381" y="213"/>
                  </a:lnTo>
                  <a:lnTo>
                    <a:pt x="461" y="213"/>
                  </a:lnTo>
                  <a:lnTo>
                    <a:pt x="461" y="0"/>
                  </a:lnTo>
                  <a:lnTo>
                    <a:pt x="248" y="0"/>
                  </a:lnTo>
                  <a:lnTo>
                    <a:pt x="248" y="213"/>
                  </a:lnTo>
                  <a:lnTo>
                    <a:pt x="329" y="213"/>
                  </a:lnTo>
                  <a:lnTo>
                    <a:pt x="355" y="182"/>
                  </a:lnTo>
                  <a:close/>
                  <a:moveTo>
                    <a:pt x="123" y="248"/>
                  </a:moveTo>
                  <a:lnTo>
                    <a:pt x="123" y="454"/>
                  </a:lnTo>
                  <a:lnTo>
                    <a:pt x="298" y="248"/>
                  </a:lnTo>
                  <a:lnTo>
                    <a:pt x="123" y="248"/>
                  </a:lnTo>
                  <a:close/>
                  <a:moveTo>
                    <a:pt x="355" y="225"/>
                  </a:moveTo>
                  <a:lnTo>
                    <a:pt x="128" y="494"/>
                  </a:lnTo>
                  <a:lnTo>
                    <a:pt x="248" y="494"/>
                  </a:lnTo>
                  <a:lnTo>
                    <a:pt x="248" y="709"/>
                  </a:lnTo>
                  <a:lnTo>
                    <a:pt x="461" y="709"/>
                  </a:lnTo>
                  <a:lnTo>
                    <a:pt x="461" y="494"/>
                  </a:lnTo>
                  <a:lnTo>
                    <a:pt x="581" y="494"/>
                  </a:lnTo>
                  <a:lnTo>
                    <a:pt x="355" y="225"/>
                  </a:lnTo>
                  <a:close/>
                  <a:moveTo>
                    <a:pt x="584" y="248"/>
                  </a:moveTo>
                  <a:lnTo>
                    <a:pt x="411" y="248"/>
                  </a:lnTo>
                  <a:lnTo>
                    <a:pt x="584" y="454"/>
                  </a:lnTo>
                  <a:lnTo>
                    <a:pt x="584" y="248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8" name="Rectangle 307"/>
            <p:cNvSpPr/>
            <p:nvPr/>
          </p:nvSpPr>
          <p:spPr>
            <a:xfrm>
              <a:off x="9732796" y="110836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157" name="Straight Connector 156"/>
          <p:cNvCxnSpPr/>
          <p:nvPr/>
        </p:nvCxnSpPr>
        <p:spPr>
          <a:xfrm>
            <a:off x="7171943" y="3495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4675863" y="-3768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2304832" y="-3768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0" y="2715348"/>
            <a:ext cx="9140182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796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81732" y="30527"/>
            <a:ext cx="5132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rgbClr val="007ABD"/>
                </a:solidFill>
                <a:latin typeface="NotesStyle-Regular" pitchFamily="50" charset="0"/>
              </a:rPr>
              <a:t>Agri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067395" y="30527"/>
            <a:ext cx="8034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7ABD"/>
                </a:solidFill>
                <a:latin typeface="NotesStyle-Regular" pitchFamily="50" charset="0"/>
              </a:rPr>
              <a:t>Finance</a:t>
            </a:r>
            <a:endParaRPr lang="nl-NL" sz="1600" b="1" dirty="0">
              <a:solidFill>
                <a:srgbClr val="007ABD"/>
              </a:solidFill>
              <a:latin typeface="NotesStyle-Regular" pitchFamily="50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099590" y="749609"/>
            <a:ext cx="792000" cy="792000"/>
            <a:chOff x="3219254" y="-1198441"/>
            <a:chExt cx="792000" cy="792000"/>
          </a:xfrm>
        </p:grpSpPr>
        <p:sp>
          <p:nvSpPr>
            <p:cNvPr id="10" name="Freeform 22"/>
            <p:cNvSpPr>
              <a:spLocks noEditPoints="1"/>
            </p:cNvSpPr>
            <p:nvPr/>
          </p:nvSpPr>
          <p:spPr bwMode="auto">
            <a:xfrm>
              <a:off x="3282371" y="-1095829"/>
              <a:ext cx="665766" cy="586777"/>
            </a:xfrm>
            <a:custGeom>
              <a:avLst/>
              <a:gdLst>
                <a:gd name="T0" fmla="*/ 383 w 400"/>
                <a:gd name="T1" fmla="*/ 129 h 352"/>
                <a:gd name="T2" fmla="*/ 348 w 400"/>
                <a:gd name="T3" fmla="*/ 129 h 352"/>
                <a:gd name="T4" fmla="*/ 334 w 400"/>
                <a:gd name="T5" fmla="*/ 103 h 352"/>
                <a:gd name="T6" fmla="*/ 334 w 400"/>
                <a:gd name="T7" fmla="*/ 0 h 352"/>
                <a:gd name="T8" fmla="*/ 267 w 400"/>
                <a:gd name="T9" fmla="*/ 47 h 352"/>
                <a:gd name="T10" fmla="*/ 192 w 400"/>
                <a:gd name="T11" fmla="*/ 31 h 352"/>
                <a:gd name="T12" fmla="*/ 29 w 400"/>
                <a:gd name="T13" fmla="*/ 149 h 352"/>
                <a:gd name="T14" fmla="*/ 0 w 400"/>
                <a:gd name="T15" fmla="*/ 179 h 352"/>
                <a:gd name="T16" fmla="*/ 29 w 400"/>
                <a:gd name="T17" fmla="*/ 208 h 352"/>
                <a:gd name="T18" fmla="*/ 79 w 400"/>
                <a:gd name="T19" fmla="*/ 287 h 352"/>
                <a:gd name="T20" fmla="*/ 70 w 400"/>
                <a:gd name="T21" fmla="*/ 352 h 352"/>
                <a:gd name="T22" fmla="*/ 141 w 400"/>
                <a:gd name="T23" fmla="*/ 352 h 352"/>
                <a:gd name="T24" fmla="*/ 142 w 400"/>
                <a:gd name="T25" fmla="*/ 320 h 352"/>
                <a:gd name="T26" fmla="*/ 192 w 400"/>
                <a:gd name="T27" fmla="*/ 327 h 352"/>
                <a:gd name="T28" fmla="*/ 242 w 400"/>
                <a:gd name="T29" fmla="*/ 320 h 352"/>
                <a:gd name="T30" fmla="*/ 243 w 400"/>
                <a:gd name="T31" fmla="*/ 352 h 352"/>
                <a:gd name="T32" fmla="*/ 314 w 400"/>
                <a:gd name="T33" fmla="*/ 352 h 352"/>
                <a:gd name="T34" fmla="*/ 305 w 400"/>
                <a:gd name="T35" fmla="*/ 287 h 352"/>
                <a:gd name="T36" fmla="*/ 348 w 400"/>
                <a:gd name="T37" fmla="*/ 228 h 352"/>
                <a:gd name="T38" fmla="*/ 383 w 400"/>
                <a:gd name="T39" fmla="*/ 228 h 352"/>
                <a:gd name="T40" fmla="*/ 400 w 400"/>
                <a:gd name="T41" fmla="*/ 212 h 352"/>
                <a:gd name="T42" fmla="*/ 400 w 400"/>
                <a:gd name="T43" fmla="*/ 146 h 352"/>
                <a:gd name="T44" fmla="*/ 383 w 400"/>
                <a:gd name="T45" fmla="*/ 129 h 352"/>
                <a:gd name="T46" fmla="*/ 254 w 400"/>
                <a:gd name="T47" fmla="*/ 91 h 352"/>
                <a:gd name="T48" fmla="*/ 238 w 400"/>
                <a:gd name="T49" fmla="*/ 102 h 352"/>
                <a:gd name="T50" fmla="*/ 232 w 400"/>
                <a:gd name="T51" fmla="*/ 101 h 352"/>
                <a:gd name="T52" fmla="*/ 151 w 400"/>
                <a:gd name="T53" fmla="*/ 101 h 352"/>
                <a:gd name="T54" fmla="*/ 129 w 400"/>
                <a:gd name="T55" fmla="*/ 91 h 352"/>
                <a:gd name="T56" fmla="*/ 140 w 400"/>
                <a:gd name="T57" fmla="*/ 69 h 352"/>
                <a:gd name="T58" fmla="*/ 244 w 400"/>
                <a:gd name="T59" fmla="*/ 69 h 352"/>
                <a:gd name="T60" fmla="*/ 254 w 400"/>
                <a:gd name="T61" fmla="*/ 91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0" h="352">
                  <a:moveTo>
                    <a:pt x="383" y="129"/>
                  </a:moveTo>
                  <a:cubicBezTo>
                    <a:pt x="348" y="129"/>
                    <a:pt x="348" y="129"/>
                    <a:pt x="348" y="129"/>
                  </a:cubicBezTo>
                  <a:cubicBezTo>
                    <a:pt x="344" y="120"/>
                    <a:pt x="340" y="111"/>
                    <a:pt x="334" y="10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45" y="36"/>
                    <a:pt x="219" y="31"/>
                    <a:pt x="192" y="31"/>
                  </a:cubicBezTo>
                  <a:cubicBezTo>
                    <a:pt x="111" y="31"/>
                    <a:pt x="44" y="81"/>
                    <a:pt x="29" y="149"/>
                  </a:cubicBezTo>
                  <a:cubicBezTo>
                    <a:pt x="13" y="150"/>
                    <a:pt x="0" y="163"/>
                    <a:pt x="0" y="179"/>
                  </a:cubicBezTo>
                  <a:cubicBezTo>
                    <a:pt x="0" y="195"/>
                    <a:pt x="13" y="208"/>
                    <a:pt x="29" y="208"/>
                  </a:cubicBezTo>
                  <a:cubicBezTo>
                    <a:pt x="36" y="239"/>
                    <a:pt x="54" y="267"/>
                    <a:pt x="79" y="287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141" y="352"/>
                    <a:pt x="141" y="352"/>
                    <a:pt x="141" y="352"/>
                  </a:cubicBezTo>
                  <a:cubicBezTo>
                    <a:pt x="142" y="320"/>
                    <a:pt x="142" y="320"/>
                    <a:pt x="142" y="320"/>
                  </a:cubicBezTo>
                  <a:cubicBezTo>
                    <a:pt x="157" y="325"/>
                    <a:pt x="174" y="327"/>
                    <a:pt x="192" y="327"/>
                  </a:cubicBezTo>
                  <a:cubicBezTo>
                    <a:pt x="209" y="327"/>
                    <a:pt x="226" y="325"/>
                    <a:pt x="242" y="320"/>
                  </a:cubicBezTo>
                  <a:cubicBezTo>
                    <a:pt x="243" y="352"/>
                    <a:pt x="243" y="352"/>
                    <a:pt x="243" y="352"/>
                  </a:cubicBezTo>
                  <a:cubicBezTo>
                    <a:pt x="314" y="352"/>
                    <a:pt x="314" y="352"/>
                    <a:pt x="314" y="352"/>
                  </a:cubicBezTo>
                  <a:cubicBezTo>
                    <a:pt x="305" y="287"/>
                    <a:pt x="305" y="287"/>
                    <a:pt x="305" y="287"/>
                  </a:cubicBezTo>
                  <a:cubicBezTo>
                    <a:pt x="324" y="271"/>
                    <a:pt x="339" y="251"/>
                    <a:pt x="348" y="228"/>
                  </a:cubicBezTo>
                  <a:cubicBezTo>
                    <a:pt x="383" y="228"/>
                    <a:pt x="383" y="228"/>
                    <a:pt x="383" y="228"/>
                  </a:cubicBezTo>
                  <a:cubicBezTo>
                    <a:pt x="393" y="228"/>
                    <a:pt x="400" y="221"/>
                    <a:pt x="400" y="212"/>
                  </a:cubicBezTo>
                  <a:cubicBezTo>
                    <a:pt x="400" y="146"/>
                    <a:pt x="400" y="146"/>
                    <a:pt x="400" y="146"/>
                  </a:cubicBezTo>
                  <a:cubicBezTo>
                    <a:pt x="400" y="137"/>
                    <a:pt x="393" y="129"/>
                    <a:pt x="383" y="129"/>
                  </a:cubicBezTo>
                  <a:close/>
                  <a:moveTo>
                    <a:pt x="254" y="91"/>
                  </a:moveTo>
                  <a:cubicBezTo>
                    <a:pt x="251" y="98"/>
                    <a:pt x="245" y="102"/>
                    <a:pt x="238" y="102"/>
                  </a:cubicBezTo>
                  <a:cubicBezTo>
                    <a:pt x="236" y="102"/>
                    <a:pt x="234" y="102"/>
                    <a:pt x="232" y="101"/>
                  </a:cubicBezTo>
                  <a:cubicBezTo>
                    <a:pt x="207" y="92"/>
                    <a:pt x="177" y="92"/>
                    <a:pt x="151" y="101"/>
                  </a:cubicBezTo>
                  <a:cubicBezTo>
                    <a:pt x="142" y="104"/>
                    <a:pt x="133" y="100"/>
                    <a:pt x="129" y="91"/>
                  </a:cubicBezTo>
                  <a:cubicBezTo>
                    <a:pt x="126" y="82"/>
                    <a:pt x="131" y="72"/>
                    <a:pt x="140" y="69"/>
                  </a:cubicBezTo>
                  <a:cubicBezTo>
                    <a:pt x="173" y="57"/>
                    <a:pt x="211" y="57"/>
                    <a:pt x="244" y="69"/>
                  </a:cubicBezTo>
                  <a:cubicBezTo>
                    <a:pt x="253" y="72"/>
                    <a:pt x="257" y="82"/>
                    <a:pt x="254" y="91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219254" y="-119844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2064261" y="310680"/>
            <a:ext cx="792000" cy="792000"/>
            <a:chOff x="909038" y="-1274392"/>
            <a:chExt cx="792000" cy="792000"/>
          </a:xfrm>
        </p:grpSpPr>
        <p:sp>
          <p:nvSpPr>
            <p:cNvPr id="78" name="Freeform 77"/>
            <p:cNvSpPr/>
            <p:nvPr/>
          </p:nvSpPr>
          <p:spPr>
            <a:xfrm>
              <a:off x="939433" y="-1131029"/>
              <a:ext cx="731210" cy="505275"/>
            </a:xfrm>
            <a:custGeom>
              <a:avLst/>
              <a:gdLst>
                <a:gd name="connsiteX0" fmla="*/ 5699566 w 6617641"/>
                <a:gd name="connsiteY0" fmla="*/ 3029980 h 4572866"/>
                <a:gd name="connsiteX1" fmla="*/ 5074755 w 6617641"/>
                <a:gd name="connsiteY1" fmla="*/ 3654791 h 4572866"/>
                <a:gd name="connsiteX2" fmla="*/ 5699566 w 6617641"/>
                <a:gd name="connsiteY2" fmla="*/ 4279601 h 4572866"/>
                <a:gd name="connsiteX3" fmla="*/ 6324376 w 6617641"/>
                <a:gd name="connsiteY3" fmla="*/ 3654791 h 4572866"/>
                <a:gd name="connsiteX4" fmla="*/ 5699566 w 6617641"/>
                <a:gd name="connsiteY4" fmla="*/ 3029980 h 4572866"/>
                <a:gd name="connsiteX5" fmla="*/ 5698844 w 6617641"/>
                <a:gd name="connsiteY5" fmla="*/ 2735271 h 4572866"/>
                <a:gd name="connsiteX6" fmla="*/ 6617641 w 6617641"/>
                <a:gd name="connsiteY6" fmla="*/ 3654069 h 4572866"/>
                <a:gd name="connsiteX7" fmla="*/ 5698844 w 6617641"/>
                <a:gd name="connsiteY7" fmla="*/ 4572866 h 4572866"/>
                <a:gd name="connsiteX8" fmla="*/ 4780046 w 6617641"/>
                <a:gd name="connsiteY8" fmla="*/ 3654069 h 4572866"/>
                <a:gd name="connsiteX9" fmla="*/ 5698844 w 6617641"/>
                <a:gd name="connsiteY9" fmla="*/ 2735271 h 4572866"/>
                <a:gd name="connsiteX10" fmla="*/ 1590423 w 6617641"/>
                <a:gd name="connsiteY10" fmla="*/ 2431244 h 4572866"/>
                <a:gd name="connsiteX11" fmla="*/ 723147 w 6617641"/>
                <a:gd name="connsiteY11" fmla="*/ 3298520 h 4572866"/>
                <a:gd name="connsiteX12" fmla="*/ 1590423 w 6617641"/>
                <a:gd name="connsiteY12" fmla="*/ 4165796 h 4572866"/>
                <a:gd name="connsiteX13" fmla="*/ 2457699 w 6617641"/>
                <a:gd name="connsiteY13" fmla="*/ 3298520 h 4572866"/>
                <a:gd name="connsiteX14" fmla="*/ 1590423 w 6617641"/>
                <a:gd name="connsiteY14" fmla="*/ 2431244 h 4572866"/>
                <a:gd name="connsiteX15" fmla="*/ 1589421 w 6617641"/>
                <a:gd name="connsiteY15" fmla="*/ 2022170 h 4572866"/>
                <a:gd name="connsiteX16" fmla="*/ 2864769 w 6617641"/>
                <a:gd name="connsiteY16" fmla="*/ 3297518 h 4572866"/>
                <a:gd name="connsiteX17" fmla="*/ 1589421 w 6617641"/>
                <a:gd name="connsiteY17" fmla="*/ 4572866 h 4572866"/>
                <a:gd name="connsiteX18" fmla="*/ 314073 w 6617641"/>
                <a:gd name="connsiteY18" fmla="*/ 3297518 h 4572866"/>
                <a:gd name="connsiteX19" fmla="*/ 1589421 w 6617641"/>
                <a:gd name="connsiteY19" fmla="*/ 2022170 h 4572866"/>
                <a:gd name="connsiteX20" fmla="*/ 1298558 w 6617641"/>
                <a:gd name="connsiteY20" fmla="*/ 330503 h 4572866"/>
                <a:gd name="connsiteX21" fmla="*/ 1109442 w 6617641"/>
                <a:gd name="connsiteY21" fmla="*/ 1398192 h 4572866"/>
                <a:gd name="connsiteX22" fmla="*/ 1126441 w 6617641"/>
                <a:gd name="connsiteY22" fmla="*/ 1392521 h 4572866"/>
                <a:gd name="connsiteX23" fmla="*/ 1660356 w 6617641"/>
                <a:gd name="connsiteY23" fmla="*/ 1316046 h 4572866"/>
                <a:gd name="connsiteX24" fmla="*/ 3045823 w 6617641"/>
                <a:gd name="connsiteY24" fmla="*/ 1935060 h 4572866"/>
                <a:gd name="connsiteX25" fmla="*/ 3051855 w 6617641"/>
                <a:gd name="connsiteY25" fmla="*/ 1942701 h 4572866"/>
                <a:gd name="connsiteX26" fmla="*/ 3047029 w 6617641"/>
                <a:gd name="connsiteY26" fmla="*/ 1902425 h 4572866"/>
                <a:gd name="connsiteX27" fmla="*/ 3025155 w 6617641"/>
                <a:gd name="connsiteY27" fmla="*/ 1731297 h 4572866"/>
                <a:gd name="connsiteX28" fmla="*/ 3013360 w 6617641"/>
                <a:gd name="connsiteY28" fmla="*/ 1621391 h 4572866"/>
                <a:gd name="connsiteX29" fmla="*/ 2858704 w 6617641"/>
                <a:gd name="connsiteY29" fmla="*/ 330504 h 4572866"/>
                <a:gd name="connsiteX30" fmla="*/ 667442 w 6617641"/>
                <a:gd name="connsiteY30" fmla="*/ 0 h 4572866"/>
                <a:gd name="connsiteX31" fmla="*/ 3495985 w 6617641"/>
                <a:gd name="connsiteY31" fmla="*/ 0 h 4572866"/>
                <a:gd name="connsiteX32" fmla="*/ 3551070 w 6617641"/>
                <a:gd name="connsiteY32" fmla="*/ 55085 h 4572866"/>
                <a:gd name="connsiteX33" fmla="*/ 3551070 w 6617641"/>
                <a:gd name="connsiteY33" fmla="*/ 275418 h 4572866"/>
                <a:gd name="connsiteX34" fmla="*/ 3495985 w 6617641"/>
                <a:gd name="connsiteY34" fmla="*/ 330503 h 4572866"/>
                <a:gd name="connsiteX35" fmla="*/ 3191571 w 6617641"/>
                <a:gd name="connsiteY35" fmla="*/ 330504 h 4572866"/>
                <a:gd name="connsiteX36" fmla="*/ 3310268 w 6617641"/>
                <a:gd name="connsiteY36" fmla="*/ 1321250 h 4572866"/>
                <a:gd name="connsiteX37" fmla="*/ 4053905 w 6617641"/>
                <a:gd name="connsiteY37" fmla="*/ 1497520 h 4572866"/>
                <a:gd name="connsiteX38" fmla="*/ 4053905 w 6617641"/>
                <a:gd name="connsiteY38" fmla="*/ 545376 h 4572866"/>
                <a:gd name="connsiteX39" fmla="*/ 4647582 w 6617641"/>
                <a:gd name="connsiteY39" fmla="*/ 190533 h 4572866"/>
                <a:gd name="connsiteX40" fmla="*/ 4661230 w 6617641"/>
                <a:gd name="connsiteY40" fmla="*/ 449841 h 4572866"/>
                <a:gd name="connsiteX41" fmla="*/ 4367803 w 6617641"/>
                <a:gd name="connsiteY41" fmla="*/ 668206 h 4572866"/>
                <a:gd name="connsiteX42" fmla="*/ 4361218 w 6617641"/>
                <a:gd name="connsiteY42" fmla="*/ 1570365 h 4572866"/>
                <a:gd name="connsiteX43" fmla="*/ 6238626 w 6617641"/>
                <a:gd name="connsiteY43" fmla="*/ 2015381 h 4572866"/>
                <a:gd name="connsiteX44" fmla="*/ 6238625 w 6617641"/>
                <a:gd name="connsiteY44" fmla="*/ 2520705 h 4572866"/>
                <a:gd name="connsiteX45" fmla="*/ 6210458 w 6617641"/>
                <a:gd name="connsiteY45" fmla="*/ 2531999 h 4572866"/>
                <a:gd name="connsiteX46" fmla="*/ 6168934 w 6617641"/>
                <a:gd name="connsiteY46" fmla="*/ 2516802 h 4572866"/>
                <a:gd name="connsiteX47" fmla="*/ 5796840 w 6617641"/>
                <a:gd name="connsiteY47" fmla="*/ 2460546 h 4572866"/>
                <a:gd name="connsiteX48" fmla="*/ 4552016 w 6617641"/>
                <a:gd name="connsiteY48" fmla="*/ 3583896 h 4572866"/>
                <a:gd name="connsiteX49" fmla="*/ 4549969 w 6617641"/>
                <a:gd name="connsiteY49" fmla="*/ 3624424 h 4572866"/>
                <a:gd name="connsiteX50" fmla="*/ 4482013 w 6617641"/>
                <a:gd name="connsiteY50" fmla="*/ 3651675 h 4572866"/>
                <a:gd name="connsiteX51" fmla="*/ 2990100 w 6617641"/>
                <a:gd name="connsiteY51" fmla="*/ 3675737 h 4572866"/>
                <a:gd name="connsiteX52" fmla="*/ 3168408 w 6617641"/>
                <a:gd name="connsiteY52" fmla="*/ 3187374 h 4572866"/>
                <a:gd name="connsiteX53" fmla="*/ 3169558 w 6617641"/>
                <a:gd name="connsiteY53" fmla="*/ 3007558 h 4572866"/>
                <a:gd name="connsiteX54" fmla="*/ 3150246 w 6617641"/>
                <a:gd name="connsiteY54" fmla="*/ 2878311 h 4572866"/>
                <a:gd name="connsiteX55" fmla="*/ 1641932 w 6617641"/>
                <a:gd name="connsiteY55" fmla="*/ 1641147 h 4572866"/>
                <a:gd name="connsiteX56" fmla="*/ 289858 w 6617641"/>
                <a:gd name="connsiteY56" fmla="*/ 2445868 h 4572866"/>
                <a:gd name="connsiteX57" fmla="*/ 5990 w 6617641"/>
                <a:gd name="connsiteY57" fmla="*/ 2354953 h 4572866"/>
                <a:gd name="connsiteX58" fmla="*/ 656496 w 6617641"/>
                <a:gd name="connsiteY58" fmla="*/ 1606554 h 4572866"/>
                <a:gd name="connsiteX59" fmla="*/ 746294 w 6617641"/>
                <a:gd name="connsiteY59" fmla="*/ 1553451 h 4572866"/>
                <a:gd name="connsiteX60" fmla="*/ 962911 w 6617641"/>
                <a:gd name="connsiteY60" fmla="*/ 330503 h 4572866"/>
                <a:gd name="connsiteX61" fmla="*/ 667442 w 6617641"/>
                <a:gd name="connsiteY61" fmla="*/ 330504 h 4572866"/>
                <a:gd name="connsiteX62" fmla="*/ 612357 w 6617641"/>
                <a:gd name="connsiteY62" fmla="*/ 275418 h 4572866"/>
                <a:gd name="connsiteX63" fmla="*/ 612357 w 6617641"/>
                <a:gd name="connsiteY63" fmla="*/ 55085 h 4572866"/>
                <a:gd name="connsiteX64" fmla="*/ 667442 w 6617641"/>
                <a:gd name="connsiteY64" fmla="*/ 0 h 45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617641" h="4572866">
                  <a:moveTo>
                    <a:pt x="5699566" y="3029980"/>
                  </a:moveTo>
                  <a:cubicBezTo>
                    <a:pt x="5354492" y="3029980"/>
                    <a:pt x="5074755" y="3309717"/>
                    <a:pt x="5074755" y="3654791"/>
                  </a:cubicBezTo>
                  <a:cubicBezTo>
                    <a:pt x="5074755" y="3999864"/>
                    <a:pt x="5354492" y="4279601"/>
                    <a:pt x="5699566" y="4279601"/>
                  </a:cubicBezTo>
                  <a:cubicBezTo>
                    <a:pt x="6044638" y="4279601"/>
                    <a:pt x="6324376" y="3999864"/>
                    <a:pt x="6324376" y="3654791"/>
                  </a:cubicBezTo>
                  <a:cubicBezTo>
                    <a:pt x="6324376" y="3309717"/>
                    <a:pt x="6044638" y="3029980"/>
                    <a:pt x="5699566" y="3029980"/>
                  </a:cubicBezTo>
                  <a:close/>
                  <a:moveTo>
                    <a:pt x="5698844" y="2735271"/>
                  </a:moveTo>
                  <a:cubicBezTo>
                    <a:pt x="6206281" y="2735271"/>
                    <a:pt x="6617641" y="3146631"/>
                    <a:pt x="6617641" y="3654069"/>
                  </a:cubicBezTo>
                  <a:cubicBezTo>
                    <a:pt x="6617641" y="4161506"/>
                    <a:pt x="6206281" y="4572866"/>
                    <a:pt x="5698844" y="4572866"/>
                  </a:cubicBezTo>
                  <a:cubicBezTo>
                    <a:pt x="5191406" y="4572866"/>
                    <a:pt x="4780046" y="4161506"/>
                    <a:pt x="4780046" y="3654069"/>
                  </a:cubicBezTo>
                  <a:cubicBezTo>
                    <a:pt x="4780046" y="3146631"/>
                    <a:pt x="5191406" y="2735271"/>
                    <a:pt x="5698844" y="2735271"/>
                  </a:cubicBezTo>
                  <a:close/>
                  <a:moveTo>
                    <a:pt x="1590423" y="2431244"/>
                  </a:moveTo>
                  <a:cubicBezTo>
                    <a:pt x="1111440" y="2431244"/>
                    <a:pt x="723147" y="2819537"/>
                    <a:pt x="723147" y="3298520"/>
                  </a:cubicBezTo>
                  <a:cubicBezTo>
                    <a:pt x="723147" y="3777503"/>
                    <a:pt x="1111440" y="4165796"/>
                    <a:pt x="1590423" y="4165796"/>
                  </a:cubicBezTo>
                  <a:cubicBezTo>
                    <a:pt x="2069406" y="4165796"/>
                    <a:pt x="2457699" y="3777503"/>
                    <a:pt x="2457699" y="3298520"/>
                  </a:cubicBezTo>
                  <a:cubicBezTo>
                    <a:pt x="2457699" y="2819537"/>
                    <a:pt x="2069406" y="2431244"/>
                    <a:pt x="1590423" y="2431244"/>
                  </a:cubicBezTo>
                  <a:close/>
                  <a:moveTo>
                    <a:pt x="1589421" y="2022170"/>
                  </a:moveTo>
                  <a:cubicBezTo>
                    <a:pt x="2293776" y="2022170"/>
                    <a:pt x="2864769" y="2593163"/>
                    <a:pt x="2864769" y="3297518"/>
                  </a:cubicBezTo>
                  <a:cubicBezTo>
                    <a:pt x="2864769" y="4001873"/>
                    <a:pt x="2293776" y="4572866"/>
                    <a:pt x="1589421" y="4572866"/>
                  </a:cubicBezTo>
                  <a:cubicBezTo>
                    <a:pt x="885066" y="4572866"/>
                    <a:pt x="314073" y="4001873"/>
                    <a:pt x="314073" y="3297518"/>
                  </a:cubicBezTo>
                  <a:cubicBezTo>
                    <a:pt x="314073" y="2593163"/>
                    <a:pt x="885066" y="2022170"/>
                    <a:pt x="1589421" y="2022170"/>
                  </a:cubicBezTo>
                  <a:close/>
                  <a:moveTo>
                    <a:pt x="1298558" y="330503"/>
                  </a:moveTo>
                  <a:lnTo>
                    <a:pt x="1109442" y="1398192"/>
                  </a:lnTo>
                  <a:lnTo>
                    <a:pt x="1126441" y="1392521"/>
                  </a:lnTo>
                  <a:cubicBezTo>
                    <a:pt x="1295104" y="1342820"/>
                    <a:pt x="1474430" y="1316046"/>
                    <a:pt x="1660356" y="1316046"/>
                  </a:cubicBezTo>
                  <a:cubicBezTo>
                    <a:pt x="2218135" y="1316046"/>
                    <a:pt x="2716509" y="1557013"/>
                    <a:pt x="3045823" y="1935060"/>
                  </a:cubicBezTo>
                  <a:lnTo>
                    <a:pt x="3051855" y="1942701"/>
                  </a:lnTo>
                  <a:lnTo>
                    <a:pt x="3047029" y="1902425"/>
                  </a:lnTo>
                  <a:lnTo>
                    <a:pt x="3025155" y="1731297"/>
                  </a:lnTo>
                  <a:lnTo>
                    <a:pt x="3013360" y="1621391"/>
                  </a:lnTo>
                  <a:lnTo>
                    <a:pt x="2858704" y="330504"/>
                  </a:lnTo>
                  <a:close/>
                  <a:moveTo>
                    <a:pt x="667442" y="0"/>
                  </a:moveTo>
                  <a:lnTo>
                    <a:pt x="3495985" y="0"/>
                  </a:lnTo>
                  <a:cubicBezTo>
                    <a:pt x="3526408" y="1"/>
                    <a:pt x="3551070" y="24662"/>
                    <a:pt x="3551070" y="55085"/>
                  </a:cubicBezTo>
                  <a:lnTo>
                    <a:pt x="3551070" y="275418"/>
                  </a:lnTo>
                  <a:cubicBezTo>
                    <a:pt x="3551070" y="305842"/>
                    <a:pt x="3526408" y="330503"/>
                    <a:pt x="3495985" y="330503"/>
                  </a:cubicBezTo>
                  <a:lnTo>
                    <a:pt x="3191571" y="330504"/>
                  </a:lnTo>
                  <a:lnTo>
                    <a:pt x="3310268" y="1321250"/>
                  </a:lnTo>
                  <a:lnTo>
                    <a:pt x="4053905" y="1497520"/>
                  </a:lnTo>
                  <a:lnTo>
                    <a:pt x="4053905" y="545376"/>
                  </a:lnTo>
                  <a:cubicBezTo>
                    <a:pt x="4078924" y="122296"/>
                    <a:pt x="4516792" y="188258"/>
                    <a:pt x="4647582" y="190533"/>
                  </a:cubicBezTo>
                  <a:cubicBezTo>
                    <a:pt x="4716958" y="233751"/>
                    <a:pt x="4737430" y="353169"/>
                    <a:pt x="4661230" y="449841"/>
                  </a:cubicBezTo>
                  <a:cubicBezTo>
                    <a:pt x="4454239" y="465764"/>
                    <a:pt x="4397374" y="427095"/>
                    <a:pt x="4367803" y="668206"/>
                  </a:cubicBezTo>
                  <a:lnTo>
                    <a:pt x="4361218" y="1570365"/>
                  </a:lnTo>
                  <a:lnTo>
                    <a:pt x="6238626" y="2015381"/>
                  </a:lnTo>
                  <a:cubicBezTo>
                    <a:pt x="6238626" y="2207884"/>
                    <a:pt x="6238625" y="2328200"/>
                    <a:pt x="6238625" y="2520705"/>
                  </a:cubicBezTo>
                  <a:lnTo>
                    <a:pt x="6210458" y="2531999"/>
                  </a:lnTo>
                  <a:lnTo>
                    <a:pt x="6168934" y="2516802"/>
                  </a:lnTo>
                  <a:cubicBezTo>
                    <a:pt x="6051390" y="2480242"/>
                    <a:pt x="5926415" y="2460547"/>
                    <a:pt x="5796840" y="2460546"/>
                  </a:cubicBezTo>
                  <a:cubicBezTo>
                    <a:pt x="5148966" y="2460547"/>
                    <a:pt x="4616094" y="2952926"/>
                    <a:pt x="4552016" y="3583896"/>
                  </a:cubicBezTo>
                  <a:lnTo>
                    <a:pt x="4549969" y="3624424"/>
                  </a:lnTo>
                  <a:lnTo>
                    <a:pt x="4482013" y="3651675"/>
                  </a:lnTo>
                  <a:lnTo>
                    <a:pt x="2990100" y="3675737"/>
                  </a:lnTo>
                  <a:cubicBezTo>
                    <a:pt x="3105152" y="3576476"/>
                    <a:pt x="3155487" y="3402982"/>
                    <a:pt x="3168408" y="3187374"/>
                  </a:cubicBezTo>
                  <a:lnTo>
                    <a:pt x="3169558" y="3007558"/>
                  </a:lnTo>
                  <a:lnTo>
                    <a:pt x="3150246" y="2878311"/>
                  </a:lnTo>
                  <a:cubicBezTo>
                    <a:pt x="3010507" y="2172947"/>
                    <a:pt x="2388324" y="1641147"/>
                    <a:pt x="1641932" y="1641147"/>
                  </a:cubicBezTo>
                  <a:cubicBezTo>
                    <a:pt x="1058089" y="1641147"/>
                    <a:pt x="550244" y="1966540"/>
                    <a:pt x="289858" y="2445868"/>
                  </a:cubicBezTo>
                  <a:cubicBezTo>
                    <a:pt x="248847" y="2531725"/>
                    <a:pt x="-45334" y="2528227"/>
                    <a:pt x="5990" y="2354953"/>
                  </a:cubicBezTo>
                  <a:cubicBezTo>
                    <a:pt x="142273" y="2049692"/>
                    <a:pt x="369938" y="1789965"/>
                    <a:pt x="656496" y="1606554"/>
                  </a:cubicBezTo>
                  <a:lnTo>
                    <a:pt x="746294" y="1553451"/>
                  </a:lnTo>
                  <a:lnTo>
                    <a:pt x="962911" y="330503"/>
                  </a:lnTo>
                  <a:lnTo>
                    <a:pt x="667442" y="330504"/>
                  </a:lnTo>
                  <a:cubicBezTo>
                    <a:pt x="637019" y="330504"/>
                    <a:pt x="612357" y="305841"/>
                    <a:pt x="612357" y="275418"/>
                  </a:cubicBezTo>
                  <a:lnTo>
                    <a:pt x="612357" y="55085"/>
                  </a:lnTo>
                  <a:cubicBezTo>
                    <a:pt x="612357" y="24663"/>
                    <a:pt x="637018" y="0"/>
                    <a:pt x="667442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909038" y="-127439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1004723" y="1790138"/>
            <a:ext cx="792000" cy="792000"/>
            <a:chOff x="3346553" y="-1872080"/>
            <a:chExt cx="792000" cy="792000"/>
          </a:xfrm>
        </p:grpSpPr>
        <p:sp>
          <p:nvSpPr>
            <p:cNvPr id="83" name="Freeform 82"/>
            <p:cNvSpPr/>
            <p:nvPr/>
          </p:nvSpPr>
          <p:spPr>
            <a:xfrm>
              <a:off x="3380691" y="-1790926"/>
              <a:ext cx="723724" cy="629693"/>
            </a:xfrm>
            <a:custGeom>
              <a:avLst/>
              <a:gdLst>
                <a:gd name="connsiteX0" fmla="*/ 3079893 w 5545393"/>
                <a:gd name="connsiteY0" fmla="*/ 2888832 h 4824901"/>
                <a:gd name="connsiteX1" fmla="*/ 3249094 w 5545393"/>
                <a:gd name="connsiteY1" fmla="*/ 3075896 h 4824901"/>
                <a:gd name="connsiteX2" fmla="*/ 2835160 w 5545393"/>
                <a:gd name="connsiteY2" fmla="*/ 3578042 h 4824901"/>
                <a:gd name="connsiteX3" fmla="*/ 2771024 w 5545393"/>
                <a:gd name="connsiteY3" fmla="*/ 3575003 h 4824901"/>
                <a:gd name="connsiteX4" fmla="*/ 2399243 w 5545393"/>
                <a:gd name="connsiteY4" fmla="*/ 3111699 h 4824901"/>
                <a:gd name="connsiteX5" fmla="*/ 2549672 w 5545393"/>
                <a:gd name="connsiteY5" fmla="*/ 2893239 h 4824901"/>
                <a:gd name="connsiteX6" fmla="*/ 3079893 w 5545393"/>
                <a:gd name="connsiteY6" fmla="*/ 2888832 h 4824901"/>
                <a:gd name="connsiteX7" fmla="*/ 3646823 w 5545393"/>
                <a:gd name="connsiteY7" fmla="*/ 1746558 h 4824901"/>
                <a:gd name="connsiteX8" fmla="*/ 3811256 w 5545393"/>
                <a:gd name="connsiteY8" fmla="*/ 1910992 h 4824901"/>
                <a:gd name="connsiteX9" fmla="*/ 3646823 w 5545393"/>
                <a:gd name="connsiteY9" fmla="*/ 2075425 h 4824901"/>
                <a:gd name="connsiteX10" fmla="*/ 3482389 w 5545393"/>
                <a:gd name="connsiteY10" fmla="*/ 1910992 h 4824901"/>
                <a:gd name="connsiteX11" fmla="*/ 3646823 w 5545393"/>
                <a:gd name="connsiteY11" fmla="*/ 1746558 h 4824901"/>
                <a:gd name="connsiteX12" fmla="*/ 1965173 w 5545393"/>
                <a:gd name="connsiteY12" fmla="*/ 1746558 h 4824901"/>
                <a:gd name="connsiteX13" fmla="*/ 2129606 w 5545393"/>
                <a:gd name="connsiteY13" fmla="*/ 1910992 h 4824901"/>
                <a:gd name="connsiteX14" fmla="*/ 1965173 w 5545393"/>
                <a:gd name="connsiteY14" fmla="*/ 2075425 h 4824901"/>
                <a:gd name="connsiteX15" fmla="*/ 1800740 w 5545393"/>
                <a:gd name="connsiteY15" fmla="*/ 1910992 h 4824901"/>
                <a:gd name="connsiteX16" fmla="*/ 1965173 w 5545393"/>
                <a:gd name="connsiteY16" fmla="*/ 1746558 h 4824901"/>
                <a:gd name="connsiteX17" fmla="*/ 2860452 w 5545393"/>
                <a:gd name="connsiteY17" fmla="*/ 1098968 h 4824901"/>
                <a:gd name="connsiteX18" fmla="*/ 2676205 w 5545393"/>
                <a:gd name="connsiteY18" fmla="*/ 1100562 h 4824901"/>
                <a:gd name="connsiteX19" fmla="*/ 1810610 w 5545393"/>
                <a:gd name="connsiteY19" fmla="*/ 1415226 h 4824901"/>
                <a:gd name="connsiteX20" fmla="*/ 1606335 w 5545393"/>
                <a:gd name="connsiteY20" fmla="*/ 1797135 h 4824901"/>
                <a:gd name="connsiteX21" fmla="*/ 2307983 w 5545393"/>
                <a:gd name="connsiteY21" fmla="*/ 3600104 h 4824901"/>
                <a:gd name="connsiteX22" fmla="*/ 3240552 w 5545393"/>
                <a:gd name="connsiteY22" fmla="*/ 3635630 h 4824901"/>
                <a:gd name="connsiteX23" fmla="*/ 4013252 w 5545393"/>
                <a:gd name="connsiteY23" fmla="*/ 1734964 h 4824901"/>
                <a:gd name="connsiteX24" fmla="*/ 3826738 w 5545393"/>
                <a:gd name="connsiteY24" fmla="*/ 1406345 h 4824901"/>
                <a:gd name="connsiteX25" fmla="*/ 2860452 w 5545393"/>
                <a:gd name="connsiteY25" fmla="*/ 1098968 h 4824901"/>
                <a:gd name="connsiteX26" fmla="*/ 4318560 w 5545393"/>
                <a:gd name="connsiteY26" fmla="*/ 77 h 4824901"/>
                <a:gd name="connsiteX27" fmla="*/ 5545393 w 5545393"/>
                <a:gd name="connsiteY27" fmla="*/ 531133 h 4824901"/>
                <a:gd name="connsiteX28" fmla="*/ 4093605 w 5545393"/>
                <a:gd name="connsiteY28" fmla="*/ 613840 h 4824901"/>
                <a:gd name="connsiteX29" fmla="*/ 3947808 w 5545393"/>
                <a:gd name="connsiteY29" fmla="*/ 674459 h 4824901"/>
                <a:gd name="connsiteX30" fmla="*/ 4036183 w 5545393"/>
                <a:gd name="connsiteY30" fmla="*/ 705030 h 4824901"/>
                <a:gd name="connsiteX31" fmla="*/ 4628973 w 5545393"/>
                <a:gd name="connsiteY31" fmla="*/ 1022239 h 4824901"/>
                <a:gd name="connsiteX32" fmla="*/ 4729023 w 5545393"/>
                <a:gd name="connsiteY32" fmla="*/ 1099858 h 4824901"/>
                <a:gd name="connsiteX33" fmla="*/ 4758551 w 5545393"/>
                <a:gd name="connsiteY33" fmla="*/ 1120365 h 4824901"/>
                <a:gd name="connsiteX34" fmla="*/ 5397522 w 5545393"/>
                <a:gd name="connsiteY34" fmla="*/ 1461590 h 4824901"/>
                <a:gd name="connsiteX35" fmla="*/ 4513368 w 5545393"/>
                <a:gd name="connsiteY35" fmla="*/ 2045492 h 4824901"/>
                <a:gd name="connsiteX36" fmla="*/ 4478508 w 5545393"/>
                <a:gd name="connsiteY36" fmla="*/ 2213814 h 4824901"/>
                <a:gd name="connsiteX37" fmla="*/ 4364056 w 5545393"/>
                <a:gd name="connsiteY37" fmla="*/ 2449159 h 4824901"/>
                <a:gd name="connsiteX38" fmla="*/ 3245797 w 5545393"/>
                <a:gd name="connsiteY38" fmla="*/ 3953992 h 4824901"/>
                <a:gd name="connsiteX39" fmla="*/ 3243290 w 5545393"/>
                <a:gd name="connsiteY39" fmla="*/ 3955413 h 4824901"/>
                <a:gd name="connsiteX40" fmla="*/ 3222098 w 5545393"/>
                <a:gd name="connsiteY40" fmla="*/ 3974935 h 4824901"/>
                <a:gd name="connsiteX41" fmla="*/ 3009428 w 5545393"/>
                <a:gd name="connsiteY41" fmla="*/ 4824901 h 4824901"/>
                <a:gd name="connsiteX42" fmla="*/ 2903027 w 5545393"/>
                <a:gd name="connsiteY42" fmla="*/ 4575763 h 4824901"/>
                <a:gd name="connsiteX43" fmla="*/ 2884581 w 5545393"/>
                <a:gd name="connsiteY43" fmla="*/ 4501722 h 4824901"/>
                <a:gd name="connsiteX44" fmla="*/ 2856218 w 5545393"/>
                <a:gd name="connsiteY44" fmla="*/ 4591613 h 4824901"/>
                <a:gd name="connsiteX45" fmla="*/ 2784835 w 5545393"/>
                <a:gd name="connsiteY45" fmla="*/ 4713694 h 4824901"/>
                <a:gd name="connsiteX46" fmla="*/ 2758047 w 5545393"/>
                <a:gd name="connsiteY46" fmla="*/ 4302340 h 4824901"/>
                <a:gd name="connsiteX47" fmla="*/ 2746396 w 5545393"/>
                <a:gd name="connsiteY47" fmla="*/ 4219032 h 4824901"/>
                <a:gd name="connsiteX48" fmla="*/ 2745089 w 5545393"/>
                <a:gd name="connsiteY48" fmla="*/ 4203739 h 4824901"/>
                <a:gd name="connsiteX49" fmla="*/ 2744258 w 5545393"/>
                <a:gd name="connsiteY49" fmla="*/ 4203739 h 4824901"/>
                <a:gd name="connsiteX50" fmla="*/ 2746396 w 5545393"/>
                <a:gd name="connsiteY50" fmla="*/ 4219032 h 4824901"/>
                <a:gd name="connsiteX51" fmla="*/ 2748855 w 5545393"/>
                <a:gd name="connsiteY51" fmla="*/ 4247810 h 4824901"/>
                <a:gd name="connsiteX52" fmla="*/ 2693256 w 5545393"/>
                <a:gd name="connsiteY52" fmla="*/ 4725959 h 4824901"/>
                <a:gd name="connsiteX53" fmla="*/ 2666468 w 5545393"/>
                <a:gd name="connsiteY53" fmla="*/ 4314605 h 4824901"/>
                <a:gd name="connsiteX54" fmla="*/ 2659315 w 5545393"/>
                <a:gd name="connsiteY54" fmla="*/ 4263454 h 4824901"/>
                <a:gd name="connsiteX55" fmla="*/ 2649477 w 5545393"/>
                <a:gd name="connsiteY55" fmla="*/ 4428985 h 4824901"/>
                <a:gd name="connsiteX56" fmla="*/ 2640377 w 5545393"/>
                <a:gd name="connsiteY56" fmla="*/ 4713694 h 4824901"/>
                <a:gd name="connsiteX57" fmla="*/ 2599291 w 5545393"/>
                <a:gd name="connsiteY57" fmla="*/ 4593751 h 4824901"/>
                <a:gd name="connsiteX58" fmla="*/ 2581700 w 5545393"/>
                <a:gd name="connsiteY58" fmla="*/ 4498594 h 4824901"/>
                <a:gd name="connsiteX59" fmla="*/ 2570755 w 5545393"/>
                <a:gd name="connsiteY59" fmla="*/ 4539456 h 4824901"/>
                <a:gd name="connsiteX60" fmla="*/ 2444932 w 5545393"/>
                <a:gd name="connsiteY60" fmla="*/ 4791893 h 4824901"/>
                <a:gd name="connsiteX61" fmla="*/ 2406243 w 5545393"/>
                <a:gd name="connsiteY61" fmla="*/ 4018395 h 4824901"/>
                <a:gd name="connsiteX62" fmla="*/ 2366601 w 5545393"/>
                <a:gd name="connsiteY62" fmla="*/ 3978092 h 4824901"/>
                <a:gd name="connsiteX63" fmla="*/ 2329441 w 5545393"/>
                <a:gd name="connsiteY63" fmla="*/ 3957465 h 4824901"/>
                <a:gd name="connsiteX64" fmla="*/ 1238089 w 5545393"/>
                <a:gd name="connsiteY64" fmla="*/ 2409761 h 4824901"/>
                <a:gd name="connsiteX65" fmla="*/ 1127462 w 5545393"/>
                <a:gd name="connsiteY65" fmla="*/ 2144737 h 4824901"/>
                <a:gd name="connsiteX66" fmla="*/ 1110624 w 5545393"/>
                <a:gd name="connsiteY66" fmla="*/ 2087986 h 4824901"/>
                <a:gd name="connsiteX67" fmla="*/ 289683 w 5545393"/>
                <a:gd name="connsiteY67" fmla="*/ 1543872 h 4824901"/>
                <a:gd name="connsiteX68" fmla="*/ 881497 w 5545393"/>
                <a:gd name="connsiteY68" fmla="*/ 1145245 h 4824901"/>
                <a:gd name="connsiteX69" fmla="*/ 909503 w 5545393"/>
                <a:gd name="connsiteY69" fmla="*/ 1115210 h 4824901"/>
                <a:gd name="connsiteX70" fmla="*/ 1005529 w 5545393"/>
                <a:gd name="connsiteY70" fmla="*/ 1022239 h 4824901"/>
                <a:gd name="connsiteX71" fmla="*/ 1598320 w 5545393"/>
                <a:gd name="connsiteY71" fmla="*/ 705030 h 4824901"/>
                <a:gd name="connsiteX72" fmla="*/ 1671057 w 5545393"/>
                <a:gd name="connsiteY72" fmla="*/ 679868 h 4824901"/>
                <a:gd name="connsiteX73" fmla="*/ 1506291 w 5545393"/>
                <a:gd name="connsiteY73" fmla="*/ 613841 h 4824901"/>
                <a:gd name="connsiteX74" fmla="*/ 0 w 5545393"/>
                <a:gd name="connsiteY74" fmla="*/ 531134 h 4824901"/>
                <a:gd name="connsiteX75" fmla="*/ 1272890 w 5545393"/>
                <a:gd name="connsiteY75" fmla="*/ 78 h 4824901"/>
                <a:gd name="connsiteX76" fmla="*/ 1448266 w 5545393"/>
                <a:gd name="connsiteY76" fmla="*/ 6491 h 4824901"/>
                <a:gd name="connsiteX77" fmla="*/ 2477700 w 5545393"/>
                <a:gd name="connsiteY77" fmla="*/ 403647 h 4824901"/>
                <a:gd name="connsiteX78" fmla="*/ 2544017 w 5545393"/>
                <a:gd name="connsiteY78" fmla="*/ 493869 h 4824901"/>
                <a:gd name="connsiteX79" fmla="*/ 2556172 w 5545393"/>
                <a:gd name="connsiteY79" fmla="*/ 492534 h 4824901"/>
                <a:gd name="connsiteX80" fmla="*/ 2817250 w 5545393"/>
                <a:gd name="connsiteY80" fmla="*/ 483050 h 4824901"/>
                <a:gd name="connsiteX81" fmla="*/ 3078329 w 5545393"/>
                <a:gd name="connsiteY81" fmla="*/ 492534 h 4824901"/>
                <a:gd name="connsiteX82" fmla="*/ 3093213 w 5545393"/>
                <a:gd name="connsiteY82" fmla="*/ 494168 h 4824901"/>
                <a:gd name="connsiteX83" fmla="*/ 3157344 w 5545393"/>
                <a:gd name="connsiteY83" fmla="*/ 403646 h 4824901"/>
                <a:gd name="connsiteX84" fmla="*/ 4149530 w 5545393"/>
                <a:gd name="connsiteY84" fmla="*/ 6490 h 4824901"/>
                <a:gd name="connsiteX85" fmla="*/ 4318560 w 5545393"/>
                <a:gd name="connsiteY85" fmla="*/ 77 h 482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545393" h="4824901">
                  <a:moveTo>
                    <a:pt x="3079893" y="2888832"/>
                  </a:moveTo>
                  <a:cubicBezTo>
                    <a:pt x="3196464" y="2883471"/>
                    <a:pt x="3283915" y="2972299"/>
                    <a:pt x="3249094" y="3075896"/>
                  </a:cubicBezTo>
                  <a:cubicBezTo>
                    <a:pt x="3206317" y="3247122"/>
                    <a:pt x="2879348" y="3153776"/>
                    <a:pt x="2835160" y="3578042"/>
                  </a:cubicBezTo>
                  <a:cubicBezTo>
                    <a:pt x="2814840" y="3620399"/>
                    <a:pt x="2793947" y="3598357"/>
                    <a:pt x="2771024" y="3575003"/>
                  </a:cubicBezTo>
                  <a:cubicBezTo>
                    <a:pt x="2680470" y="3137913"/>
                    <a:pt x="2475918" y="3257152"/>
                    <a:pt x="2399243" y="3111699"/>
                  </a:cubicBezTo>
                  <a:cubicBezTo>
                    <a:pt x="2362352" y="2998072"/>
                    <a:pt x="2416339" y="2903199"/>
                    <a:pt x="2549672" y="2893239"/>
                  </a:cubicBezTo>
                  <a:cubicBezTo>
                    <a:pt x="2726765" y="2911125"/>
                    <a:pt x="2843976" y="2953867"/>
                    <a:pt x="3079893" y="2888832"/>
                  </a:cubicBezTo>
                  <a:close/>
                  <a:moveTo>
                    <a:pt x="3646823" y="1746558"/>
                  </a:moveTo>
                  <a:cubicBezTo>
                    <a:pt x="3737637" y="1746558"/>
                    <a:pt x="3811256" y="1820177"/>
                    <a:pt x="3811256" y="1910992"/>
                  </a:cubicBezTo>
                  <a:cubicBezTo>
                    <a:pt x="3811256" y="2001806"/>
                    <a:pt x="3737637" y="2075425"/>
                    <a:pt x="3646823" y="2075425"/>
                  </a:cubicBezTo>
                  <a:cubicBezTo>
                    <a:pt x="3556008" y="2075425"/>
                    <a:pt x="3482389" y="2001806"/>
                    <a:pt x="3482389" y="1910992"/>
                  </a:cubicBezTo>
                  <a:cubicBezTo>
                    <a:pt x="3482389" y="1820177"/>
                    <a:pt x="3556008" y="1746558"/>
                    <a:pt x="3646823" y="1746558"/>
                  </a:cubicBezTo>
                  <a:close/>
                  <a:moveTo>
                    <a:pt x="1965173" y="1746558"/>
                  </a:moveTo>
                  <a:cubicBezTo>
                    <a:pt x="2055988" y="1746558"/>
                    <a:pt x="2129606" y="1820177"/>
                    <a:pt x="2129606" y="1910992"/>
                  </a:cubicBezTo>
                  <a:cubicBezTo>
                    <a:pt x="2129606" y="2001806"/>
                    <a:pt x="2055988" y="2075425"/>
                    <a:pt x="1965173" y="2075425"/>
                  </a:cubicBezTo>
                  <a:cubicBezTo>
                    <a:pt x="1874358" y="2075425"/>
                    <a:pt x="1800740" y="2001806"/>
                    <a:pt x="1800740" y="1910992"/>
                  </a:cubicBezTo>
                  <a:cubicBezTo>
                    <a:pt x="1800740" y="1820177"/>
                    <a:pt x="1874358" y="1746558"/>
                    <a:pt x="1965173" y="1746558"/>
                  </a:cubicBezTo>
                  <a:close/>
                  <a:moveTo>
                    <a:pt x="2860452" y="1098968"/>
                  </a:moveTo>
                  <a:cubicBezTo>
                    <a:pt x="2799786" y="1096629"/>
                    <a:pt x="2738202" y="1097021"/>
                    <a:pt x="2676205" y="1100562"/>
                  </a:cubicBezTo>
                  <a:cubicBezTo>
                    <a:pt x="2378617" y="1117552"/>
                    <a:pt x="2071508" y="1207064"/>
                    <a:pt x="1810610" y="1415226"/>
                  </a:cubicBezTo>
                  <a:cubicBezTo>
                    <a:pt x="1674425" y="1526247"/>
                    <a:pt x="1621137" y="1620984"/>
                    <a:pt x="1606335" y="1797135"/>
                  </a:cubicBezTo>
                  <a:cubicBezTo>
                    <a:pt x="1538243" y="2408486"/>
                    <a:pt x="2035614" y="3293688"/>
                    <a:pt x="2307983" y="3600104"/>
                  </a:cubicBezTo>
                  <a:cubicBezTo>
                    <a:pt x="2571470" y="3888758"/>
                    <a:pt x="2956340" y="3946487"/>
                    <a:pt x="3240552" y="3635630"/>
                  </a:cubicBezTo>
                  <a:cubicBezTo>
                    <a:pt x="3657988" y="3333656"/>
                    <a:pt x="4075422" y="2291544"/>
                    <a:pt x="4013252" y="1734964"/>
                  </a:cubicBezTo>
                  <a:cubicBezTo>
                    <a:pt x="4004369" y="1595819"/>
                    <a:pt x="3962922" y="1521806"/>
                    <a:pt x="3826738" y="1406345"/>
                  </a:cubicBezTo>
                  <a:cubicBezTo>
                    <a:pt x="3664834" y="1265488"/>
                    <a:pt x="3285116" y="1115333"/>
                    <a:pt x="2860452" y="1098968"/>
                  </a:cubicBezTo>
                  <a:close/>
                  <a:moveTo>
                    <a:pt x="4318560" y="77"/>
                  </a:moveTo>
                  <a:cubicBezTo>
                    <a:pt x="5136449" y="-6138"/>
                    <a:pt x="5545393" y="362580"/>
                    <a:pt x="5545393" y="531133"/>
                  </a:cubicBezTo>
                  <a:cubicBezTo>
                    <a:pt x="4889217" y="295425"/>
                    <a:pt x="4445553" y="465733"/>
                    <a:pt x="4093605" y="613840"/>
                  </a:cubicBezTo>
                  <a:lnTo>
                    <a:pt x="3947808" y="674459"/>
                  </a:lnTo>
                  <a:lnTo>
                    <a:pt x="4036183" y="705030"/>
                  </a:lnTo>
                  <a:cubicBezTo>
                    <a:pt x="4254210" y="790036"/>
                    <a:pt x="4453672" y="897135"/>
                    <a:pt x="4628973" y="1022239"/>
                  </a:cubicBezTo>
                  <a:lnTo>
                    <a:pt x="4729023" y="1099858"/>
                  </a:lnTo>
                  <a:lnTo>
                    <a:pt x="4758551" y="1120365"/>
                  </a:lnTo>
                  <a:cubicBezTo>
                    <a:pt x="4945303" y="1242621"/>
                    <a:pt x="5255448" y="1220024"/>
                    <a:pt x="5397522" y="1461590"/>
                  </a:cubicBezTo>
                  <a:cubicBezTo>
                    <a:pt x="5110759" y="1851157"/>
                    <a:pt x="4800130" y="1958271"/>
                    <a:pt x="4513368" y="2045492"/>
                  </a:cubicBezTo>
                  <a:lnTo>
                    <a:pt x="4478508" y="2213814"/>
                  </a:lnTo>
                  <a:lnTo>
                    <a:pt x="4364056" y="2449159"/>
                  </a:lnTo>
                  <a:cubicBezTo>
                    <a:pt x="4083741" y="3014390"/>
                    <a:pt x="3721431" y="3656559"/>
                    <a:pt x="3245797" y="3953992"/>
                  </a:cubicBezTo>
                  <a:lnTo>
                    <a:pt x="3243290" y="3955413"/>
                  </a:lnTo>
                  <a:lnTo>
                    <a:pt x="3222098" y="3974935"/>
                  </a:lnTo>
                  <a:cubicBezTo>
                    <a:pt x="2967184" y="4242138"/>
                    <a:pt x="3015383" y="4696953"/>
                    <a:pt x="3009428" y="4824901"/>
                  </a:cubicBezTo>
                  <a:cubicBezTo>
                    <a:pt x="2967304" y="4760927"/>
                    <a:pt x="2930377" y="4671044"/>
                    <a:pt x="2903027" y="4575763"/>
                  </a:cubicBezTo>
                  <a:lnTo>
                    <a:pt x="2884581" y="4501722"/>
                  </a:lnTo>
                  <a:lnTo>
                    <a:pt x="2856218" y="4591613"/>
                  </a:lnTo>
                  <a:cubicBezTo>
                    <a:pt x="2836629" y="4638240"/>
                    <a:pt x="2812918" y="4680576"/>
                    <a:pt x="2784835" y="4713694"/>
                  </a:cubicBezTo>
                  <a:cubicBezTo>
                    <a:pt x="2780667" y="4644146"/>
                    <a:pt x="2776585" y="4475329"/>
                    <a:pt x="2758047" y="4302340"/>
                  </a:cubicBezTo>
                  <a:lnTo>
                    <a:pt x="2746396" y="4219032"/>
                  </a:lnTo>
                  <a:lnTo>
                    <a:pt x="2745089" y="4203739"/>
                  </a:lnTo>
                  <a:lnTo>
                    <a:pt x="2744258" y="4203739"/>
                  </a:lnTo>
                  <a:lnTo>
                    <a:pt x="2746396" y="4219032"/>
                  </a:lnTo>
                  <a:lnTo>
                    <a:pt x="2748855" y="4247810"/>
                  </a:lnTo>
                  <a:cubicBezTo>
                    <a:pt x="2756865" y="4365918"/>
                    <a:pt x="2753894" y="4548862"/>
                    <a:pt x="2693256" y="4725959"/>
                  </a:cubicBezTo>
                  <a:cubicBezTo>
                    <a:pt x="2689088" y="4656411"/>
                    <a:pt x="2685006" y="4487594"/>
                    <a:pt x="2666468" y="4314605"/>
                  </a:cubicBezTo>
                  <a:lnTo>
                    <a:pt x="2659315" y="4263454"/>
                  </a:lnTo>
                  <a:lnTo>
                    <a:pt x="2649477" y="4428985"/>
                  </a:lnTo>
                  <a:cubicBezTo>
                    <a:pt x="2644005" y="4552956"/>
                    <a:pt x="2642205" y="4661633"/>
                    <a:pt x="2640377" y="4713694"/>
                  </a:cubicBezTo>
                  <a:cubicBezTo>
                    <a:pt x="2624213" y="4681156"/>
                    <a:pt x="2610566" y="4639562"/>
                    <a:pt x="2599291" y="4593751"/>
                  </a:cubicBezTo>
                  <a:lnTo>
                    <a:pt x="2581700" y="4498594"/>
                  </a:lnTo>
                  <a:lnTo>
                    <a:pt x="2570755" y="4539456"/>
                  </a:lnTo>
                  <a:cubicBezTo>
                    <a:pt x="2540760" y="4636277"/>
                    <a:pt x="2499179" y="4727919"/>
                    <a:pt x="2444932" y="4791893"/>
                  </a:cubicBezTo>
                  <a:cubicBezTo>
                    <a:pt x="2437264" y="4663945"/>
                    <a:pt x="2633738" y="4287099"/>
                    <a:pt x="2406243" y="4018395"/>
                  </a:cubicBezTo>
                  <a:lnTo>
                    <a:pt x="2366601" y="3978092"/>
                  </a:lnTo>
                  <a:lnTo>
                    <a:pt x="2329441" y="3957465"/>
                  </a:lnTo>
                  <a:cubicBezTo>
                    <a:pt x="1857462" y="3662147"/>
                    <a:pt x="1519059" y="2986768"/>
                    <a:pt x="1238089" y="2409761"/>
                  </a:cubicBezTo>
                  <a:lnTo>
                    <a:pt x="1127462" y="2144737"/>
                  </a:lnTo>
                  <a:cubicBezTo>
                    <a:pt x="1126766" y="2125001"/>
                    <a:pt x="1111320" y="2107722"/>
                    <a:pt x="1110624" y="2087986"/>
                  </a:cubicBezTo>
                  <a:cubicBezTo>
                    <a:pt x="1090258" y="2019331"/>
                    <a:pt x="405527" y="1711983"/>
                    <a:pt x="289683" y="1543872"/>
                  </a:cubicBezTo>
                  <a:cubicBezTo>
                    <a:pt x="140103" y="1410617"/>
                    <a:pt x="397067" y="1221374"/>
                    <a:pt x="881497" y="1145245"/>
                  </a:cubicBezTo>
                  <a:lnTo>
                    <a:pt x="909503" y="1115210"/>
                  </a:lnTo>
                  <a:cubicBezTo>
                    <a:pt x="949449" y="1084220"/>
                    <a:pt x="965583" y="1053229"/>
                    <a:pt x="1005529" y="1022239"/>
                  </a:cubicBezTo>
                  <a:cubicBezTo>
                    <a:pt x="1180831" y="897135"/>
                    <a:pt x="1380293" y="790036"/>
                    <a:pt x="1598320" y="705030"/>
                  </a:cubicBezTo>
                  <a:lnTo>
                    <a:pt x="1671057" y="679868"/>
                  </a:lnTo>
                  <a:lnTo>
                    <a:pt x="1506291" y="613841"/>
                  </a:lnTo>
                  <a:cubicBezTo>
                    <a:pt x="1141130" y="465734"/>
                    <a:pt x="680810" y="295426"/>
                    <a:pt x="0" y="531134"/>
                  </a:cubicBezTo>
                  <a:cubicBezTo>
                    <a:pt x="0" y="362581"/>
                    <a:pt x="424297" y="-6137"/>
                    <a:pt x="1272890" y="78"/>
                  </a:cubicBezTo>
                  <a:cubicBezTo>
                    <a:pt x="1329463" y="494"/>
                    <a:pt x="1387922" y="2573"/>
                    <a:pt x="1448266" y="6491"/>
                  </a:cubicBezTo>
                  <a:cubicBezTo>
                    <a:pt x="2051711" y="45666"/>
                    <a:pt x="2334414" y="236351"/>
                    <a:pt x="2477700" y="403647"/>
                  </a:cubicBezTo>
                  <a:lnTo>
                    <a:pt x="2544017" y="493869"/>
                  </a:lnTo>
                  <a:lnTo>
                    <a:pt x="2556172" y="492534"/>
                  </a:lnTo>
                  <a:cubicBezTo>
                    <a:pt x="2642034" y="486261"/>
                    <a:pt x="2729129" y="483050"/>
                    <a:pt x="2817250" y="483050"/>
                  </a:cubicBezTo>
                  <a:cubicBezTo>
                    <a:pt x="2905372" y="483050"/>
                    <a:pt x="2992467" y="486261"/>
                    <a:pt x="3078329" y="492534"/>
                  </a:cubicBezTo>
                  <a:lnTo>
                    <a:pt x="3093213" y="494168"/>
                  </a:lnTo>
                  <a:lnTo>
                    <a:pt x="3157344" y="403646"/>
                  </a:lnTo>
                  <a:cubicBezTo>
                    <a:pt x="3295445" y="236349"/>
                    <a:pt x="3567920" y="45665"/>
                    <a:pt x="4149530" y="6490"/>
                  </a:cubicBezTo>
                  <a:cubicBezTo>
                    <a:pt x="4207691" y="2573"/>
                    <a:pt x="4264034" y="492"/>
                    <a:pt x="4318560" y="77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3346553" y="-18720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11831" y="1334490"/>
            <a:ext cx="792000" cy="792000"/>
            <a:chOff x="401878" y="-1205977"/>
            <a:chExt cx="792000" cy="792000"/>
          </a:xfrm>
        </p:grpSpPr>
        <p:sp>
          <p:nvSpPr>
            <p:cNvPr id="88" name="Freeform 87"/>
            <p:cNvSpPr/>
            <p:nvPr/>
          </p:nvSpPr>
          <p:spPr>
            <a:xfrm>
              <a:off x="421745" y="-1054118"/>
              <a:ext cx="752267" cy="488283"/>
            </a:xfrm>
            <a:custGeom>
              <a:avLst/>
              <a:gdLst>
                <a:gd name="connsiteX0" fmla="*/ 2403783 w 5246704"/>
                <a:gd name="connsiteY0" fmla="*/ 2361736 h 3405540"/>
                <a:gd name="connsiteX1" fmla="*/ 2539721 w 5246704"/>
                <a:gd name="connsiteY1" fmla="*/ 2524284 h 3405540"/>
                <a:gd name="connsiteX2" fmla="*/ 2406202 w 5246704"/>
                <a:gd name="connsiteY2" fmla="*/ 2657803 h 3405540"/>
                <a:gd name="connsiteX3" fmla="*/ 2272683 w 5246704"/>
                <a:gd name="connsiteY3" fmla="*/ 2524284 h 3405540"/>
                <a:gd name="connsiteX4" fmla="*/ 2403783 w 5246704"/>
                <a:gd name="connsiteY4" fmla="*/ 2361736 h 3405540"/>
                <a:gd name="connsiteX5" fmla="*/ 2836792 w 5246704"/>
                <a:gd name="connsiteY5" fmla="*/ 2361735 h 3405540"/>
                <a:gd name="connsiteX6" fmla="*/ 2972730 w 5246704"/>
                <a:gd name="connsiteY6" fmla="*/ 2524283 h 3405540"/>
                <a:gd name="connsiteX7" fmla="*/ 2839211 w 5246704"/>
                <a:gd name="connsiteY7" fmla="*/ 2657802 h 3405540"/>
                <a:gd name="connsiteX8" fmla="*/ 2705692 w 5246704"/>
                <a:gd name="connsiteY8" fmla="*/ 2524283 h 3405540"/>
                <a:gd name="connsiteX9" fmla="*/ 2836792 w 5246704"/>
                <a:gd name="connsiteY9" fmla="*/ 2361735 h 3405540"/>
                <a:gd name="connsiteX10" fmla="*/ 2617700 w 5246704"/>
                <a:gd name="connsiteY10" fmla="*/ 1852346 h 3405540"/>
                <a:gd name="connsiteX11" fmla="*/ 2005790 w 5246704"/>
                <a:gd name="connsiteY11" fmla="*/ 2469072 h 3405540"/>
                <a:gd name="connsiteX12" fmla="*/ 2622463 w 5246704"/>
                <a:gd name="connsiteY12" fmla="*/ 2997692 h 3405540"/>
                <a:gd name="connsiteX13" fmla="*/ 3239136 w 5246704"/>
                <a:gd name="connsiteY13" fmla="*/ 2469072 h 3405540"/>
                <a:gd name="connsiteX14" fmla="*/ 2617700 w 5246704"/>
                <a:gd name="connsiteY14" fmla="*/ 1852346 h 3405540"/>
                <a:gd name="connsiteX15" fmla="*/ 2032943 w 5246704"/>
                <a:gd name="connsiteY15" fmla="*/ 1210295 h 3405540"/>
                <a:gd name="connsiteX16" fmla="*/ 1882817 w 5246704"/>
                <a:gd name="connsiteY16" fmla="*/ 1360421 h 3405540"/>
                <a:gd name="connsiteX17" fmla="*/ 2032943 w 5246704"/>
                <a:gd name="connsiteY17" fmla="*/ 1510547 h 3405540"/>
                <a:gd name="connsiteX18" fmla="*/ 2183069 w 5246704"/>
                <a:gd name="connsiteY18" fmla="*/ 1360421 h 3405540"/>
                <a:gd name="connsiteX19" fmla="*/ 2032943 w 5246704"/>
                <a:gd name="connsiteY19" fmla="*/ 1210295 h 3405540"/>
                <a:gd name="connsiteX20" fmla="*/ 3208925 w 5246704"/>
                <a:gd name="connsiteY20" fmla="*/ 1210294 h 3405540"/>
                <a:gd name="connsiteX21" fmla="*/ 3058799 w 5246704"/>
                <a:gd name="connsiteY21" fmla="*/ 1360420 h 3405540"/>
                <a:gd name="connsiteX22" fmla="*/ 3208925 w 5246704"/>
                <a:gd name="connsiteY22" fmla="*/ 1510546 h 3405540"/>
                <a:gd name="connsiteX23" fmla="*/ 3359051 w 5246704"/>
                <a:gd name="connsiteY23" fmla="*/ 1360420 h 3405540"/>
                <a:gd name="connsiteX24" fmla="*/ 3208925 w 5246704"/>
                <a:gd name="connsiteY24" fmla="*/ 1210294 h 3405540"/>
                <a:gd name="connsiteX25" fmla="*/ 1132908 w 5246704"/>
                <a:gd name="connsiteY25" fmla="*/ 434892 h 3405540"/>
                <a:gd name="connsiteX26" fmla="*/ 1103253 w 5246704"/>
                <a:gd name="connsiteY26" fmla="*/ 440968 h 3405540"/>
                <a:gd name="connsiteX27" fmla="*/ 436905 w 5246704"/>
                <a:gd name="connsiteY27" fmla="*/ 1022462 h 3405540"/>
                <a:gd name="connsiteX28" fmla="*/ 1128015 w 5246704"/>
                <a:gd name="connsiteY28" fmla="*/ 1405288 h 3405540"/>
                <a:gd name="connsiteX29" fmla="*/ 1573897 w 5246704"/>
                <a:gd name="connsiteY29" fmla="*/ 952177 h 3405540"/>
                <a:gd name="connsiteX30" fmla="*/ 1132908 w 5246704"/>
                <a:gd name="connsiteY30" fmla="*/ 434892 h 3405540"/>
                <a:gd name="connsiteX31" fmla="*/ 4183633 w 5246704"/>
                <a:gd name="connsiteY31" fmla="*/ 434816 h 3405540"/>
                <a:gd name="connsiteX32" fmla="*/ 3672626 w 5246704"/>
                <a:gd name="connsiteY32" fmla="*/ 945353 h 3405540"/>
                <a:gd name="connsiteX33" fmla="*/ 4189333 w 5246704"/>
                <a:gd name="connsiteY33" fmla="*/ 1405288 h 3405540"/>
                <a:gd name="connsiteX34" fmla="*/ 4809801 w 5246704"/>
                <a:gd name="connsiteY34" fmla="*/ 1022462 h 3405540"/>
                <a:gd name="connsiteX35" fmla="*/ 4211564 w 5246704"/>
                <a:gd name="connsiteY35" fmla="*/ 440969 h 3405540"/>
                <a:gd name="connsiteX36" fmla="*/ 4183633 w 5246704"/>
                <a:gd name="connsiteY36" fmla="*/ 434816 h 3405540"/>
                <a:gd name="connsiteX37" fmla="*/ 2623352 w 5246704"/>
                <a:gd name="connsiteY37" fmla="*/ 0 h 3405540"/>
                <a:gd name="connsiteX38" fmla="*/ 3469090 w 5246704"/>
                <a:gd name="connsiteY38" fmla="*/ 290806 h 3405540"/>
                <a:gd name="connsiteX39" fmla="*/ 3489103 w 5246704"/>
                <a:gd name="connsiteY39" fmla="*/ 307653 h 3405540"/>
                <a:gd name="connsiteX40" fmla="*/ 3547511 w 5246704"/>
                <a:gd name="connsiteY40" fmla="*/ 289004 h 3405540"/>
                <a:gd name="connsiteX41" fmla="*/ 4098715 w 5246704"/>
                <a:gd name="connsiteY41" fmla="*/ 76520 h 3405540"/>
                <a:gd name="connsiteX42" fmla="*/ 4197468 w 5246704"/>
                <a:gd name="connsiteY42" fmla="*/ 77824 h 3405540"/>
                <a:gd name="connsiteX43" fmla="*/ 5218670 w 5246704"/>
                <a:gd name="connsiteY43" fmla="*/ 1002560 h 3405540"/>
                <a:gd name="connsiteX44" fmla="*/ 5067072 w 5246704"/>
                <a:gd name="connsiteY44" fmla="*/ 1142294 h 3405540"/>
                <a:gd name="connsiteX45" fmla="*/ 4191383 w 5246704"/>
                <a:gd name="connsiteY45" fmla="*/ 1653907 h 3405540"/>
                <a:gd name="connsiteX46" fmla="*/ 4133395 w 5246704"/>
                <a:gd name="connsiteY46" fmla="*/ 1644629 h 3405540"/>
                <a:gd name="connsiteX47" fmla="*/ 4136003 w 5246704"/>
                <a:gd name="connsiteY47" fmla="*/ 1702770 h 3405540"/>
                <a:gd name="connsiteX48" fmla="*/ 2623352 w 5246704"/>
                <a:gd name="connsiteY48" fmla="*/ 3405540 h 3405540"/>
                <a:gd name="connsiteX49" fmla="*/ 1110701 w 5246704"/>
                <a:gd name="connsiteY49" fmla="*/ 1702770 h 3405540"/>
                <a:gd name="connsiteX50" fmla="*/ 1113238 w 5246704"/>
                <a:gd name="connsiteY50" fmla="*/ 1646201 h 3405540"/>
                <a:gd name="connsiteX51" fmla="*/ 1064652 w 5246704"/>
                <a:gd name="connsiteY51" fmla="*/ 1653907 h 3405540"/>
                <a:gd name="connsiteX52" fmla="*/ 181220 w 5246704"/>
                <a:gd name="connsiteY52" fmla="*/ 1142294 h 3405540"/>
                <a:gd name="connsiteX53" fmla="*/ 28282 w 5246704"/>
                <a:gd name="connsiteY53" fmla="*/ 1002560 h 3405540"/>
                <a:gd name="connsiteX54" fmla="*/ 1058513 w 5246704"/>
                <a:gd name="connsiteY54" fmla="*/ 77824 h 3405540"/>
                <a:gd name="connsiteX55" fmla="*/ 1156740 w 5246704"/>
                <a:gd name="connsiteY55" fmla="*/ 75121 h 3405540"/>
                <a:gd name="connsiteX56" fmla="*/ 1705337 w 5246704"/>
                <a:gd name="connsiteY56" fmla="*/ 280124 h 3405540"/>
                <a:gd name="connsiteX57" fmla="*/ 1764652 w 5246704"/>
                <a:gd name="connsiteY57" fmla="*/ 301717 h 3405540"/>
                <a:gd name="connsiteX58" fmla="*/ 1777614 w 5246704"/>
                <a:gd name="connsiteY58" fmla="*/ 290806 h 3405540"/>
                <a:gd name="connsiteX59" fmla="*/ 2623352 w 5246704"/>
                <a:gd name="connsiteY59" fmla="*/ 0 h 340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246704" h="3405540">
                  <a:moveTo>
                    <a:pt x="2403783" y="2361736"/>
                  </a:moveTo>
                  <a:cubicBezTo>
                    <a:pt x="2477524" y="2361736"/>
                    <a:pt x="2539721" y="2450543"/>
                    <a:pt x="2539721" y="2524284"/>
                  </a:cubicBezTo>
                  <a:cubicBezTo>
                    <a:pt x="2539721" y="2598025"/>
                    <a:pt x="2479943" y="2657803"/>
                    <a:pt x="2406202" y="2657803"/>
                  </a:cubicBezTo>
                  <a:cubicBezTo>
                    <a:pt x="2332461" y="2657803"/>
                    <a:pt x="2273086" y="2573628"/>
                    <a:pt x="2272683" y="2524284"/>
                  </a:cubicBezTo>
                  <a:cubicBezTo>
                    <a:pt x="2272280" y="2474940"/>
                    <a:pt x="2330042" y="2361736"/>
                    <a:pt x="2403783" y="2361736"/>
                  </a:cubicBezTo>
                  <a:close/>
                  <a:moveTo>
                    <a:pt x="2836792" y="2361735"/>
                  </a:moveTo>
                  <a:cubicBezTo>
                    <a:pt x="2910533" y="2361735"/>
                    <a:pt x="2972730" y="2450542"/>
                    <a:pt x="2972730" y="2524283"/>
                  </a:cubicBezTo>
                  <a:cubicBezTo>
                    <a:pt x="2972730" y="2598024"/>
                    <a:pt x="2912952" y="2657802"/>
                    <a:pt x="2839211" y="2657802"/>
                  </a:cubicBezTo>
                  <a:cubicBezTo>
                    <a:pt x="2765470" y="2657802"/>
                    <a:pt x="2706095" y="2573627"/>
                    <a:pt x="2705692" y="2524283"/>
                  </a:cubicBezTo>
                  <a:cubicBezTo>
                    <a:pt x="2705289" y="2474939"/>
                    <a:pt x="2763051" y="2361735"/>
                    <a:pt x="2836792" y="2361735"/>
                  </a:cubicBezTo>
                  <a:close/>
                  <a:moveTo>
                    <a:pt x="2617700" y="1852346"/>
                  </a:moveTo>
                  <a:cubicBezTo>
                    <a:pt x="2277121" y="1852346"/>
                    <a:pt x="2007377" y="2211506"/>
                    <a:pt x="2005790" y="2469072"/>
                  </a:cubicBezTo>
                  <a:cubicBezTo>
                    <a:pt x="2004203" y="2726638"/>
                    <a:pt x="2281884" y="2997692"/>
                    <a:pt x="2622463" y="2997692"/>
                  </a:cubicBezTo>
                  <a:cubicBezTo>
                    <a:pt x="2963042" y="2997692"/>
                    <a:pt x="3239136" y="2761021"/>
                    <a:pt x="3239136" y="2469072"/>
                  </a:cubicBezTo>
                  <a:cubicBezTo>
                    <a:pt x="3239136" y="2177123"/>
                    <a:pt x="2958279" y="1852346"/>
                    <a:pt x="2617700" y="1852346"/>
                  </a:cubicBezTo>
                  <a:close/>
                  <a:moveTo>
                    <a:pt x="2032943" y="1210295"/>
                  </a:moveTo>
                  <a:cubicBezTo>
                    <a:pt x="1950031" y="1210295"/>
                    <a:pt x="1882817" y="1277509"/>
                    <a:pt x="1882817" y="1360421"/>
                  </a:cubicBezTo>
                  <a:cubicBezTo>
                    <a:pt x="1882817" y="1443333"/>
                    <a:pt x="1950031" y="1510547"/>
                    <a:pt x="2032943" y="1510547"/>
                  </a:cubicBezTo>
                  <a:cubicBezTo>
                    <a:pt x="2115855" y="1510547"/>
                    <a:pt x="2183069" y="1443333"/>
                    <a:pt x="2183069" y="1360421"/>
                  </a:cubicBezTo>
                  <a:cubicBezTo>
                    <a:pt x="2183069" y="1277509"/>
                    <a:pt x="2115855" y="1210295"/>
                    <a:pt x="2032943" y="1210295"/>
                  </a:cubicBezTo>
                  <a:close/>
                  <a:moveTo>
                    <a:pt x="3208925" y="1210294"/>
                  </a:moveTo>
                  <a:cubicBezTo>
                    <a:pt x="3126013" y="1210294"/>
                    <a:pt x="3058799" y="1277508"/>
                    <a:pt x="3058799" y="1360420"/>
                  </a:cubicBezTo>
                  <a:cubicBezTo>
                    <a:pt x="3058799" y="1443332"/>
                    <a:pt x="3126013" y="1510546"/>
                    <a:pt x="3208925" y="1510546"/>
                  </a:cubicBezTo>
                  <a:cubicBezTo>
                    <a:pt x="3291837" y="1510546"/>
                    <a:pt x="3359051" y="1443332"/>
                    <a:pt x="3359051" y="1360420"/>
                  </a:cubicBezTo>
                  <a:cubicBezTo>
                    <a:pt x="3359051" y="1277508"/>
                    <a:pt x="3291837" y="1210294"/>
                    <a:pt x="3208925" y="1210294"/>
                  </a:cubicBezTo>
                  <a:close/>
                  <a:moveTo>
                    <a:pt x="1132908" y="434892"/>
                  </a:moveTo>
                  <a:cubicBezTo>
                    <a:pt x="1123083" y="434861"/>
                    <a:pt x="1113201" y="436806"/>
                    <a:pt x="1103253" y="440968"/>
                  </a:cubicBezTo>
                  <a:cubicBezTo>
                    <a:pt x="885128" y="518978"/>
                    <a:pt x="483492" y="960230"/>
                    <a:pt x="436905" y="1022462"/>
                  </a:cubicBezTo>
                  <a:cubicBezTo>
                    <a:pt x="448547" y="1163735"/>
                    <a:pt x="947410" y="1466558"/>
                    <a:pt x="1128015" y="1405288"/>
                  </a:cubicBezTo>
                  <a:cubicBezTo>
                    <a:pt x="1289468" y="1334374"/>
                    <a:pt x="1491279" y="1097134"/>
                    <a:pt x="1573897" y="952177"/>
                  </a:cubicBezTo>
                  <a:cubicBezTo>
                    <a:pt x="1415087" y="880395"/>
                    <a:pt x="1280289" y="435360"/>
                    <a:pt x="1132908" y="434892"/>
                  </a:cubicBezTo>
                  <a:close/>
                  <a:moveTo>
                    <a:pt x="4183633" y="434816"/>
                  </a:moveTo>
                  <a:cubicBezTo>
                    <a:pt x="4038529" y="434534"/>
                    <a:pt x="3815204" y="873571"/>
                    <a:pt x="3672626" y="945353"/>
                  </a:cubicBezTo>
                  <a:cubicBezTo>
                    <a:pt x="3746799" y="1090309"/>
                    <a:pt x="4044383" y="1334374"/>
                    <a:pt x="4189333" y="1405288"/>
                  </a:cubicBezTo>
                  <a:cubicBezTo>
                    <a:pt x="4351478" y="1466558"/>
                    <a:pt x="4799349" y="1163735"/>
                    <a:pt x="4809801" y="1022462"/>
                  </a:cubicBezTo>
                  <a:cubicBezTo>
                    <a:pt x="4767976" y="960230"/>
                    <a:pt x="4407393" y="518978"/>
                    <a:pt x="4211564" y="440969"/>
                  </a:cubicBezTo>
                  <a:cubicBezTo>
                    <a:pt x="4202633" y="436806"/>
                    <a:pt x="4193307" y="434835"/>
                    <a:pt x="4183633" y="434816"/>
                  </a:cubicBezTo>
                  <a:close/>
                  <a:moveTo>
                    <a:pt x="2623352" y="0"/>
                  </a:moveTo>
                  <a:cubicBezTo>
                    <a:pt x="2936632" y="0"/>
                    <a:pt x="3227669" y="107206"/>
                    <a:pt x="3469090" y="290806"/>
                  </a:cubicBezTo>
                  <a:lnTo>
                    <a:pt x="3489103" y="307653"/>
                  </a:lnTo>
                  <a:lnTo>
                    <a:pt x="3547511" y="289004"/>
                  </a:lnTo>
                  <a:cubicBezTo>
                    <a:pt x="3800433" y="198117"/>
                    <a:pt x="3911473" y="90224"/>
                    <a:pt x="4098715" y="76520"/>
                  </a:cubicBezTo>
                  <a:cubicBezTo>
                    <a:pt x="4129285" y="74283"/>
                    <a:pt x="4161887" y="74556"/>
                    <a:pt x="4197468" y="77824"/>
                  </a:cubicBezTo>
                  <a:cubicBezTo>
                    <a:pt x="4548795" y="146829"/>
                    <a:pt x="4966621" y="997594"/>
                    <a:pt x="5218670" y="1002560"/>
                  </a:cubicBezTo>
                  <a:cubicBezTo>
                    <a:pt x="5289743" y="1012289"/>
                    <a:pt x="5220789" y="1114226"/>
                    <a:pt x="5067072" y="1142294"/>
                  </a:cubicBezTo>
                  <a:cubicBezTo>
                    <a:pt x="4940822" y="1173073"/>
                    <a:pt x="4717088" y="1701323"/>
                    <a:pt x="4191383" y="1653907"/>
                  </a:cubicBezTo>
                  <a:lnTo>
                    <a:pt x="4133395" y="1644629"/>
                  </a:lnTo>
                  <a:lnTo>
                    <a:pt x="4136003" y="1702770"/>
                  </a:lnTo>
                  <a:cubicBezTo>
                    <a:pt x="4136003" y="2643184"/>
                    <a:pt x="3458766" y="3405540"/>
                    <a:pt x="2623352" y="3405540"/>
                  </a:cubicBezTo>
                  <a:cubicBezTo>
                    <a:pt x="1787938" y="3405540"/>
                    <a:pt x="1110701" y="2643184"/>
                    <a:pt x="1110701" y="1702770"/>
                  </a:cubicBezTo>
                  <a:lnTo>
                    <a:pt x="1113238" y="1646201"/>
                  </a:lnTo>
                  <a:lnTo>
                    <a:pt x="1064652" y="1653907"/>
                  </a:lnTo>
                  <a:cubicBezTo>
                    <a:pt x="534299" y="1701323"/>
                    <a:pt x="308587" y="1173073"/>
                    <a:pt x="181220" y="1142294"/>
                  </a:cubicBezTo>
                  <a:cubicBezTo>
                    <a:pt x="26144" y="1114226"/>
                    <a:pt x="-43420" y="1012289"/>
                    <a:pt x="28282" y="1002560"/>
                  </a:cubicBezTo>
                  <a:cubicBezTo>
                    <a:pt x="282559" y="997594"/>
                    <a:pt x="704080" y="146829"/>
                    <a:pt x="1058513" y="77824"/>
                  </a:cubicBezTo>
                  <a:cubicBezTo>
                    <a:pt x="1094409" y="74556"/>
                    <a:pt x="1126766" y="73750"/>
                    <a:pt x="1156740" y="75121"/>
                  </a:cubicBezTo>
                  <a:cubicBezTo>
                    <a:pt x="1340331" y="83519"/>
                    <a:pt x="1434548" y="173606"/>
                    <a:pt x="1705337" y="280124"/>
                  </a:cubicBezTo>
                  <a:lnTo>
                    <a:pt x="1764652" y="301717"/>
                  </a:lnTo>
                  <a:lnTo>
                    <a:pt x="1777614" y="290806"/>
                  </a:lnTo>
                  <a:cubicBezTo>
                    <a:pt x="2019035" y="107206"/>
                    <a:pt x="2310072" y="0"/>
                    <a:pt x="2623352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401878" y="-120597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1049667" y="712291"/>
            <a:ext cx="792000" cy="792000"/>
            <a:chOff x="2255424" y="-1199640"/>
            <a:chExt cx="792000" cy="792000"/>
          </a:xfrm>
        </p:grpSpPr>
        <p:sp>
          <p:nvSpPr>
            <p:cNvPr id="87" name="Freeform 86"/>
            <p:cNvSpPr/>
            <p:nvPr/>
          </p:nvSpPr>
          <p:spPr>
            <a:xfrm>
              <a:off x="2286786" y="-1122049"/>
              <a:ext cx="729276" cy="636819"/>
            </a:xfrm>
            <a:custGeom>
              <a:avLst/>
              <a:gdLst>
                <a:gd name="connsiteX0" fmla="*/ 2509760 w 3700130"/>
                <a:gd name="connsiteY0" fmla="*/ 2415150 h 3231029"/>
                <a:gd name="connsiteX1" fmla="*/ 2009583 w 3700130"/>
                <a:gd name="connsiteY1" fmla="*/ 2759442 h 3231029"/>
                <a:gd name="connsiteX2" fmla="*/ 2509760 w 3700130"/>
                <a:gd name="connsiteY2" fmla="*/ 3103735 h 3231029"/>
                <a:gd name="connsiteX3" fmla="*/ 1187489 w 3700130"/>
                <a:gd name="connsiteY3" fmla="*/ 2415150 h 3231029"/>
                <a:gd name="connsiteX4" fmla="*/ 1187489 w 3700130"/>
                <a:gd name="connsiteY4" fmla="*/ 3103735 h 3231029"/>
                <a:gd name="connsiteX5" fmla="*/ 1687666 w 3700130"/>
                <a:gd name="connsiteY5" fmla="*/ 2759443 h 3231029"/>
                <a:gd name="connsiteX6" fmla="*/ 1343269 w 3700130"/>
                <a:gd name="connsiteY6" fmla="*/ 2283079 h 3231029"/>
                <a:gd name="connsiteX7" fmla="*/ 1848625 w 3700130"/>
                <a:gd name="connsiteY7" fmla="*/ 2661747 h 3231029"/>
                <a:gd name="connsiteX8" fmla="*/ 2353981 w 3700130"/>
                <a:gd name="connsiteY8" fmla="*/ 2283079 h 3231029"/>
                <a:gd name="connsiteX9" fmla="*/ 1848625 w 3700130"/>
                <a:gd name="connsiteY9" fmla="*/ 1225377 h 3231029"/>
                <a:gd name="connsiteX10" fmla="*/ 1529608 w 3700130"/>
                <a:gd name="connsiteY10" fmla="*/ 1624574 h 3231029"/>
                <a:gd name="connsiteX11" fmla="*/ 2167641 w 3700130"/>
                <a:gd name="connsiteY11" fmla="*/ 1624574 h 3231029"/>
                <a:gd name="connsiteX12" fmla="*/ 1843152 w 3700130"/>
                <a:gd name="connsiteY12" fmla="*/ 553084 h 3231029"/>
                <a:gd name="connsiteX13" fmla="*/ 2758263 w 3700130"/>
                <a:gd name="connsiteY13" fmla="*/ 1143063 h 3231029"/>
                <a:gd name="connsiteX14" fmla="*/ 3182765 w 3700130"/>
                <a:gd name="connsiteY14" fmla="*/ 1907054 h 3231029"/>
                <a:gd name="connsiteX15" fmla="*/ 3329763 w 3700130"/>
                <a:gd name="connsiteY15" fmla="*/ 3231029 h 3231029"/>
                <a:gd name="connsiteX16" fmla="*/ 2340396 w 3700130"/>
                <a:gd name="connsiteY16" fmla="*/ 3231029 h 3231029"/>
                <a:gd name="connsiteX17" fmla="*/ 1848624 w 3700130"/>
                <a:gd name="connsiteY17" fmla="*/ 2862540 h 3231029"/>
                <a:gd name="connsiteX18" fmla="*/ 1356853 w 3700130"/>
                <a:gd name="connsiteY18" fmla="*/ 3231029 h 3231029"/>
                <a:gd name="connsiteX19" fmla="*/ 367488 w 3700130"/>
                <a:gd name="connsiteY19" fmla="*/ 3231029 h 3231029"/>
                <a:gd name="connsiteX20" fmla="*/ 481788 w 3700130"/>
                <a:gd name="connsiteY20" fmla="*/ 2011829 h 3231029"/>
                <a:gd name="connsiteX21" fmla="*/ 996138 w 3700130"/>
                <a:gd name="connsiteY21" fmla="*/ 1126004 h 3231029"/>
                <a:gd name="connsiteX22" fmla="*/ 1843152 w 3700130"/>
                <a:gd name="connsiteY22" fmla="*/ 553084 h 3231029"/>
                <a:gd name="connsiteX23" fmla="*/ 1884684 w 3700130"/>
                <a:gd name="connsiteY23" fmla="*/ 0 h 3231029"/>
                <a:gd name="connsiteX24" fmla="*/ 3072810 w 3700130"/>
                <a:gd name="connsiteY24" fmla="*/ 722633 h 3231029"/>
                <a:gd name="connsiteX25" fmla="*/ 3700130 w 3700130"/>
                <a:gd name="connsiteY25" fmla="*/ 1785890 h 3231029"/>
                <a:gd name="connsiteX26" fmla="*/ 3423683 w 3700130"/>
                <a:gd name="connsiteY26" fmla="*/ 1929429 h 3231029"/>
                <a:gd name="connsiteX27" fmla="*/ 2838893 w 3700130"/>
                <a:gd name="connsiteY27" fmla="*/ 945917 h 3231029"/>
                <a:gd name="connsiteX28" fmla="*/ 1884684 w 3700130"/>
                <a:gd name="connsiteY28" fmla="*/ 323153 h 3231029"/>
                <a:gd name="connsiteX29" fmla="*/ 893135 w 3700130"/>
                <a:gd name="connsiteY29" fmla="*/ 892754 h 3231029"/>
                <a:gd name="connsiteX30" fmla="*/ 276446 w 3700130"/>
                <a:gd name="connsiteY30" fmla="*/ 1929430 h 3231029"/>
                <a:gd name="connsiteX31" fmla="*/ 0 w 3700130"/>
                <a:gd name="connsiteY31" fmla="*/ 1791206 h 3231029"/>
                <a:gd name="connsiteX32" fmla="*/ 643269 w 3700130"/>
                <a:gd name="connsiteY32" fmla="*/ 733266 h 3231029"/>
                <a:gd name="connsiteX33" fmla="*/ 1884684 w 3700130"/>
                <a:gd name="connsiteY33" fmla="*/ 0 h 323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00130" h="3231029">
                  <a:moveTo>
                    <a:pt x="2509760" y="2415150"/>
                  </a:moveTo>
                  <a:lnTo>
                    <a:pt x="2009583" y="2759442"/>
                  </a:lnTo>
                  <a:lnTo>
                    <a:pt x="2509760" y="3103735"/>
                  </a:lnTo>
                  <a:close/>
                  <a:moveTo>
                    <a:pt x="1187489" y="2415150"/>
                  </a:moveTo>
                  <a:lnTo>
                    <a:pt x="1187489" y="3103735"/>
                  </a:lnTo>
                  <a:lnTo>
                    <a:pt x="1687666" y="2759443"/>
                  </a:lnTo>
                  <a:close/>
                  <a:moveTo>
                    <a:pt x="1343269" y="2283079"/>
                  </a:moveTo>
                  <a:lnTo>
                    <a:pt x="1848625" y="2661747"/>
                  </a:lnTo>
                  <a:lnTo>
                    <a:pt x="2353981" y="2283079"/>
                  </a:lnTo>
                  <a:close/>
                  <a:moveTo>
                    <a:pt x="1848625" y="1225377"/>
                  </a:moveTo>
                  <a:lnTo>
                    <a:pt x="1529608" y="1624574"/>
                  </a:lnTo>
                  <a:lnTo>
                    <a:pt x="2167641" y="1624574"/>
                  </a:lnTo>
                  <a:close/>
                  <a:moveTo>
                    <a:pt x="1843152" y="553084"/>
                  </a:moveTo>
                  <a:lnTo>
                    <a:pt x="2758263" y="1143063"/>
                  </a:lnTo>
                  <a:cubicBezTo>
                    <a:pt x="2992123" y="1558941"/>
                    <a:pt x="2849958" y="1296696"/>
                    <a:pt x="3182765" y="1907054"/>
                  </a:cubicBezTo>
                  <a:lnTo>
                    <a:pt x="3329763" y="3231029"/>
                  </a:lnTo>
                  <a:lnTo>
                    <a:pt x="2340396" y="3231029"/>
                  </a:lnTo>
                  <a:lnTo>
                    <a:pt x="1848624" y="2862540"/>
                  </a:lnTo>
                  <a:lnTo>
                    <a:pt x="1356853" y="3231029"/>
                  </a:lnTo>
                  <a:lnTo>
                    <a:pt x="367488" y="3231029"/>
                  </a:lnTo>
                  <a:lnTo>
                    <a:pt x="481788" y="2011829"/>
                  </a:lnTo>
                  <a:cubicBezTo>
                    <a:pt x="642434" y="1687979"/>
                    <a:pt x="480935" y="2010573"/>
                    <a:pt x="996138" y="1126004"/>
                  </a:cubicBezTo>
                  <a:cubicBezTo>
                    <a:pt x="1698997" y="630396"/>
                    <a:pt x="1151548" y="1016799"/>
                    <a:pt x="1843152" y="553084"/>
                  </a:cubicBezTo>
                  <a:close/>
                  <a:moveTo>
                    <a:pt x="1884684" y="0"/>
                  </a:moveTo>
                  <a:cubicBezTo>
                    <a:pt x="2639595" y="444795"/>
                    <a:pt x="2567764" y="389480"/>
                    <a:pt x="3072810" y="722633"/>
                  </a:cubicBezTo>
                  <a:lnTo>
                    <a:pt x="3700130" y="1785890"/>
                  </a:lnTo>
                  <a:lnTo>
                    <a:pt x="3423683" y="1929429"/>
                  </a:lnTo>
                  <a:cubicBezTo>
                    <a:pt x="2845981" y="956550"/>
                    <a:pt x="3419570" y="1918797"/>
                    <a:pt x="2838893" y="945917"/>
                  </a:cubicBezTo>
                  <a:cubicBezTo>
                    <a:pt x="1901457" y="332139"/>
                    <a:pt x="2837500" y="939651"/>
                    <a:pt x="1884684" y="323153"/>
                  </a:cubicBezTo>
                  <a:lnTo>
                    <a:pt x="893135" y="892754"/>
                  </a:lnTo>
                  <a:lnTo>
                    <a:pt x="276446" y="1929430"/>
                  </a:lnTo>
                  <a:lnTo>
                    <a:pt x="0" y="1791206"/>
                  </a:lnTo>
                  <a:cubicBezTo>
                    <a:pt x="650485" y="722507"/>
                    <a:pt x="633" y="1788295"/>
                    <a:pt x="643269" y="733266"/>
                  </a:cubicBezTo>
                  <a:cubicBezTo>
                    <a:pt x="1881584" y="4238"/>
                    <a:pt x="647068" y="749595"/>
                    <a:pt x="1884684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2255424" y="-119964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2098391" y="1180271"/>
            <a:ext cx="792000" cy="792000"/>
            <a:chOff x="1018478" y="-1982821"/>
            <a:chExt cx="792000" cy="792000"/>
          </a:xfrm>
        </p:grpSpPr>
        <p:sp>
          <p:nvSpPr>
            <p:cNvPr id="82" name="Freeform 81"/>
            <p:cNvSpPr/>
            <p:nvPr/>
          </p:nvSpPr>
          <p:spPr>
            <a:xfrm>
              <a:off x="1122236" y="-1959801"/>
              <a:ext cx="584485" cy="745960"/>
            </a:xfrm>
            <a:custGeom>
              <a:avLst/>
              <a:gdLst>
                <a:gd name="connsiteX0" fmla="*/ 1844100 w 3744357"/>
                <a:gd name="connsiteY0" fmla="*/ 3166086 h 4778805"/>
                <a:gd name="connsiteX1" fmla="*/ 1626878 w 3744357"/>
                <a:gd name="connsiteY1" fmla="*/ 3265586 h 4778805"/>
                <a:gd name="connsiteX2" fmla="*/ 1039028 w 3744357"/>
                <a:gd name="connsiteY2" fmla="*/ 3649267 h 4778805"/>
                <a:gd name="connsiteX3" fmla="*/ 1582000 w 3744357"/>
                <a:gd name="connsiteY3" fmla="*/ 4095837 h 4778805"/>
                <a:gd name="connsiteX4" fmla="*/ 1858153 w 3744357"/>
                <a:gd name="connsiteY4" fmla="*/ 4448668 h 4778805"/>
                <a:gd name="connsiteX5" fmla="*/ 2154202 w 3744357"/>
                <a:gd name="connsiteY5" fmla="*/ 4101448 h 4778805"/>
                <a:gd name="connsiteX6" fmla="*/ 2705328 w 3744357"/>
                <a:gd name="connsiteY6" fmla="*/ 3660488 h 4778805"/>
                <a:gd name="connsiteX7" fmla="*/ 2103712 w 3744357"/>
                <a:gd name="connsiteY7" fmla="*/ 3276806 h 4778805"/>
                <a:gd name="connsiteX8" fmla="*/ 1844100 w 3744357"/>
                <a:gd name="connsiteY8" fmla="*/ 3166086 h 4778805"/>
                <a:gd name="connsiteX9" fmla="*/ 2501720 w 3744357"/>
                <a:gd name="connsiteY9" fmla="*/ 2463001 h 4778805"/>
                <a:gd name="connsiteX10" fmla="*/ 2338789 w 3744357"/>
                <a:gd name="connsiteY10" fmla="*/ 2729701 h 4778805"/>
                <a:gd name="connsiteX11" fmla="*/ 2501720 w 3744357"/>
                <a:gd name="connsiteY11" fmla="*/ 2996401 h 4778805"/>
                <a:gd name="connsiteX12" fmla="*/ 2664651 w 3744357"/>
                <a:gd name="connsiteY12" fmla="*/ 2729701 h 4778805"/>
                <a:gd name="connsiteX13" fmla="*/ 2501720 w 3744357"/>
                <a:gd name="connsiteY13" fmla="*/ 2463001 h 4778805"/>
                <a:gd name="connsiteX14" fmla="*/ 1288645 w 3744357"/>
                <a:gd name="connsiteY14" fmla="*/ 2441074 h 4778805"/>
                <a:gd name="connsiteX15" fmla="*/ 1125714 w 3744357"/>
                <a:gd name="connsiteY15" fmla="*/ 2707774 h 4778805"/>
                <a:gd name="connsiteX16" fmla="*/ 1288645 w 3744357"/>
                <a:gd name="connsiteY16" fmla="*/ 2974474 h 4778805"/>
                <a:gd name="connsiteX17" fmla="*/ 1451576 w 3744357"/>
                <a:gd name="connsiteY17" fmla="*/ 2707774 h 4778805"/>
                <a:gd name="connsiteX18" fmla="*/ 1288645 w 3744357"/>
                <a:gd name="connsiteY18" fmla="*/ 2441074 h 4778805"/>
                <a:gd name="connsiteX19" fmla="*/ 1511545 w 3744357"/>
                <a:gd name="connsiteY19" fmla="*/ 250337 h 4778805"/>
                <a:gd name="connsiteX20" fmla="*/ 1397746 w 3744357"/>
                <a:gd name="connsiteY20" fmla="*/ 375046 h 4778805"/>
                <a:gd name="connsiteX21" fmla="*/ 1750441 w 3744357"/>
                <a:gd name="connsiteY21" fmla="*/ 1083648 h 4778805"/>
                <a:gd name="connsiteX22" fmla="*/ 1219219 w 3744357"/>
                <a:gd name="connsiteY22" fmla="*/ 1041252 h 4778805"/>
                <a:gd name="connsiteX23" fmla="*/ 1558853 w 3744357"/>
                <a:gd name="connsiteY23" fmla="*/ 1754209 h 4778805"/>
                <a:gd name="connsiteX24" fmla="*/ 1937676 w 3744357"/>
                <a:gd name="connsiteY24" fmla="*/ 2595731 h 4778805"/>
                <a:gd name="connsiteX25" fmla="*/ 2333917 w 3744357"/>
                <a:gd name="connsiteY25" fmla="*/ 1346052 h 4778805"/>
                <a:gd name="connsiteX26" fmla="*/ 1511545 w 3744357"/>
                <a:gd name="connsiteY26" fmla="*/ 250337 h 4778805"/>
                <a:gd name="connsiteX27" fmla="*/ 1527186 w 3744357"/>
                <a:gd name="connsiteY27" fmla="*/ 10 h 4778805"/>
                <a:gd name="connsiteX28" fmla="*/ 2586972 w 3744357"/>
                <a:gd name="connsiteY28" fmla="*/ 1535354 h 4778805"/>
                <a:gd name="connsiteX29" fmla="*/ 2585322 w 3744357"/>
                <a:gd name="connsiteY29" fmla="*/ 1566674 h 4778805"/>
                <a:gd name="connsiteX30" fmla="*/ 2759536 w 3744357"/>
                <a:gd name="connsiteY30" fmla="*/ 1696181 h 4778805"/>
                <a:gd name="connsiteX31" fmla="*/ 3230804 w 3744357"/>
                <a:gd name="connsiteY31" fmla="*/ 2535024 h 4778805"/>
                <a:gd name="connsiteX32" fmla="*/ 3247779 w 3744357"/>
                <a:gd name="connsiteY32" fmla="*/ 2654336 h 4778805"/>
                <a:gd name="connsiteX33" fmla="*/ 3258670 w 3744357"/>
                <a:gd name="connsiteY33" fmla="*/ 2647234 h 4778805"/>
                <a:gd name="connsiteX34" fmla="*/ 3744258 w 3744357"/>
                <a:gd name="connsiteY34" fmla="*/ 3443225 h 4778805"/>
                <a:gd name="connsiteX35" fmla="*/ 1887070 w 3744357"/>
                <a:gd name="connsiteY35" fmla="*/ 4778805 h 4778805"/>
                <a:gd name="connsiteX36" fmla="*/ 0 w 3744357"/>
                <a:gd name="connsiteY36" fmla="*/ 3371507 h 4778805"/>
                <a:gd name="connsiteX37" fmla="*/ 497855 w 3744357"/>
                <a:gd name="connsiteY37" fmla="*/ 2890177 h 4778805"/>
                <a:gd name="connsiteX38" fmla="*/ 518332 w 3744357"/>
                <a:gd name="connsiteY38" fmla="*/ 2770767 h 4778805"/>
                <a:gd name="connsiteX39" fmla="*/ 519664 w 3744357"/>
                <a:gd name="connsiteY39" fmla="*/ 2742461 h 4778805"/>
                <a:gd name="connsiteX40" fmla="*/ 521446 w 3744357"/>
                <a:gd name="connsiteY40" fmla="*/ 2647234 h 4778805"/>
                <a:gd name="connsiteX41" fmla="*/ 526895 w 3744357"/>
                <a:gd name="connsiteY41" fmla="*/ 2650589 h 4778805"/>
                <a:gd name="connsiteX42" fmla="*/ 543336 w 3744357"/>
                <a:gd name="connsiteY42" fmla="*/ 2535024 h 4778805"/>
                <a:gd name="connsiteX43" fmla="*/ 1014606 w 3744357"/>
                <a:gd name="connsiteY43" fmla="*/ 1696181 h 4778805"/>
                <a:gd name="connsiteX44" fmla="*/ 1172482 w 3744357"/>
                <a:gd name="connsiteY44" fmla="*/ 1578820 h 4778805"/>
                <a:gd name="connsiteX45" fmla="*/ 1121188 w 3744357"/>
                <a:gd name="connsiteY45" fmla="*/ 1490911 h 4778805"/>
                <a:gd name="connsiteX46" fmla="*/ 1156763 w 3744357"/>
                <a:gd name="connsiteY46" fmla="*/ 722279 h 4778805"/>
                <a:gd name="connsiteX47" fmla="*/ 1263744 w 3744357"/>
                <a:gd name="connsiteY47" fmla="*/ 165468 h 4778805"/>
                <a:gd name="connsiteX48" fmla="*/ 1527186 w 3744357"/>
                <a:gd name="connsiteY48" fmla="*/ 10 h 477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744357" h="4778805">
                  <a:moveTo>
                    <a:pt x="1844100" y="3166086"/>
                  </a:moveTo>
                  <a:cubicBezTo>
                    <a:pt x="1759255" y="3169942"/>
                    <a:pt x="1681476" y="3208836"/>
                    <a:pt x="1626878" y="3265586"/>
                  </a:cubicBezTo>
                  <a:cubicBezTo>
                    <a:pt x="1427926" y="3496893"/>
                    <a:pt x="1087647" y="3499673"/>
                    <a:pt x="1039028" y="3649267"/>
                  </a:cubicBezTo>
                  <a:cubicBezTo>
                    <a:pt x="1052117" y="3821301"/>
                    <a:pt x="1280924" y="3947645"/>
                    <a:pt x="1582000" y="4095837"/>
                  </a:cubicBezTo>
                  <a:cubicBezTo>
                    <a:pt x="1787708" y="4288908"/>
                    <a:pt x="1784290" y="4403789"/>
                    <a:pt x="1858153" y="4448668"/>
                  </a:cubicBezTo>
                  <a:cubicBezTo>
                    <a:pt x="1948846" y="4392570"/>
                    <a:pt x="2028900" y="4230006"/>
                    <a:pt x="2154202" y="4101448"/>
                  </a:cubicBezTo>
                  <a:cubicBezTo>
                    <a:pt x="2380480" y="3871913"/>
                    <a:pt x="2582846" y="3932566"/>
                    <a:pt x="2705328" y="3660488"/>
                  </a:cubicBezTo>
                  <a:cubicBezTo>
                    <a:pt x="2636862" y="3483878"/>
                    <a:pt x="2346819" y="3577399"/>
                    <a:pt x="2103712" y="3276806"/>
                  </a:cubicBezTo>
                  <a:cubicBezTo>
                    <a:pt x="2020854" y="3193410"/>
                    <a:pt x="1928944" y="3162229"/>
                    <a:pt x="1844100" y="3166086"/>
                  </a:cubicBezTo>
                  <a:close/>
                  <a:moveTo>
                    <a:pt x="2501720" y="2463001"/>
                  </a:moveTo>
                  <a:cubicBezTo>
                    <a:pt x="2411736" y="2463001"/>
                    <a:pt x="2338789" y="2582407"/>
                    <a:pt x="2338789" y="2729701"/>
                  </a:cubicBezTo>
                  <a:cubicBezTo>
                    <a:pt x="2338789" y="2876995"/>
                    <a:pt x="2411736" y="2996401"/>
                    <a:pt x="2501720" y="2996401"/>
                  </a:cubicBezTo>
                  <a:cubicBezTo>
                    <a:pt x="2591704" y="2996401"/>
                    <a:pt x="2664651" y="2876995"/>
                    <a:pt x="2664651" y="2729701"/>
                  </a:cubicBezTo>
                  <a:cubicBezTo>
                    <a:pt x="2664651" y="2582407"/>
                    <a:pt x="2591704" y="2463001"/>
                    <a:pt x="2501720" y="2463001"/>
                  </a:cubicBezTo>
                  <a:close/>
                  <a:moveTo>
                    <a:pt x="1288645" y="2441074"/>
                  </a:moveTo>
                  <a:cubicBezTo>
                    <a:pt x="1198661" y="2441074"/>
                    <a:pt x="1125714" y="2560480"/>
                    <a:pt x="1125714" y="2707774"/>
                  </a:cubicBezTo>
                  <a:cubicBezTo>
                    <a:pt x="1125714" y="2855068"/>
                    <a:pt x="1198661" y="2974474"/>
                    <a:pt x="1288645" y="2974474"/>
                  </a:cubicBezTo>
                  <a:cubicBezTo>
                    <a:pt x="1378629" y="2974474"/>
                    <a:pt x="1451576" y="2855068"/>
                    <a:pt x="1451576" y="2707774"/>
                  </a:cubicBezTo>
                  <a:cubicBezTo>
                    <a:pt x="1451576" y="2560480"/>
                    <a:pt x="1378629" y="2441074"/>
                    <a:pt x="1288645" y="2441074"/>
                  </a:cubicBezTo>
                  <a:close/>
                  <a:moveTo>
                    <a:pt x="1511545" y="250337"/>
                  </a:moveTo>
                  <a:cubicBezTo>
                    <a:pt x="1458043" y="257605"/>
                    <a:pt x="1417613" y="296705"/>
                    <a:pt x="1397746" y="375046"/>
                  </a:cubicBezTo>
                  <a:cubicBezTo>
                    <a:pt x="1326626" y="766741"/>
                    <a:pt x="1833898" y="775219"/>
                    <a:pt x="1750441" y="1083648"/>
                  </a:cubicBezTo>
                  <a:cubicBezTo>
                    <a:pt x="1632150" y="1200488"/>
                    <a:pt x="1307030" y="834233"/>
                    <a:pt x="1219219" y="1041252"/>
                  </a:cubicBezTo>
                  <a:cubicBezTo>
                    <a:pt x="1124876" y="1160270"/>
                    <a:pt x="1378150" y="1495129"/>
                    <a:pt x="1558853" y="1754209"/>
                  </a:cubicBezTo>
                  <a:cubicBezTo>
                    <a:pt x="1704722" y="2013289"/>
                    <a:pt x="1804144" y="2663757"/>
                    <a:pt x="1937676" y="2595731"/>
                  </a:cubicBezTo>
                  <a:cubicBezTo>
                    <a:pt x="2219253" y="2498486"/>
                    <a:pt x="2307791" y="1940694"/>
                    <a:pt x="2333917" y="1346052"/>
                  </a:cubicBezTo>
                  <a:cubicBezTo>
                    <a:pt x="2220706" y="785073"/>
                    <a:pt x="1743390" y="218842"/>
                    <a:pt x="1511545" y="250337"/>
                  </a:cubicBezTo>
                  <a:close/>
                  <a:moveTo>
                    <a:pt x="1527186" y="10"/>
                  </a:moveTo>
                  <a:cubicBezTo>
                    <a:pt x="1946665" y="3209"/>
                    <a:pt x="2571220" y="824316"/>
                    <a:pt x="2586972" y="1535354"/>
                  </a:cubicBezTo>
                  <a:lnTo>
                    <a:pt x="2585322" y="1566674"/>
                  </a:lnTo>
                  <a:lnTo>
                    <a:pt x="2759536" y="1696181"/>
                  </a:lnTo>
                  <a:cubicBezTo>
                    <a:pt x="2996629" y="1906079"/>
                    <a:pt x="3166856" y="2199787"/>
                    <a:pt x="3230804" y="2535024"/>
                  </a:cubicBezTo>
                  <a:lnTo>
                    <a:pt x="3247779" y="2654336"/>
                  </a:lnTo>
                  <a:lnTo>
                    <a:pt x="3258670" y="2647234"/>
                  </a:lnTo>
                  <a:cubicBezTo>
                    <a:pt x="3301252" y="3362133"/>
                    <a:pt x="3554505" y="3422645"/>
                    <a:pt x="3744258" y="3443225"/>
                  </a:cubicBezTo>
                  <a:cubicBezTo>
                    <a:pt x="3754717" y="4109264"/>
                    <a:pt x="2939172" y="4778805"/>
                    <a:pt x="1887070" y="4778805"/>
                  </a:cubicBezTo>
                  <a:cubicBezTo>
                    <a:pt x="834968" y="4778805"/>
                    <a:pt x="0" y="4201547"/>
                    <a:pt x="0" y="3371507"/>
                  </a:cubicBezTo>
                  <a:cubicBezTo>
                    <a:pt x="263338" y="3387448"/>
                    <a:pt x="436328" y="3141123"/>
                    <a:pt x="497855" y="2890177"/>
                  </a:cubicBezTo>
                  <a:lnTo>
                    <a:pt x="518332" y="2770767"/>
                  </a:lnTo>
                  <a:lnTo>
                    <a:pt x="519664" y="2742461"/>
                  </a:lnTo>
                  <a:lnTo>
                    <a:pt x="521446" y="2647234"/>
                  </a:lnTo>
                  <a:lnTo>
                    <a:pt x="526895" y="2650589"/>
                  </a:lnTo>
                  <a:lnTo>
                    <a:pt x="543336" y="2535024"/>
                  </a:lnTo>
                  <a:cubicBezTo>
                    <a:pt x="607284" y="2199787"/>
                    <a:pt x="777512" y="1906079"/>
                    <a:pt x="1014606" y="1696181"/>
                  </a:cubicBezTo>
                  <a:lnTo>
                    <a:pt x="1172482" y="1578820"/>
                  </a:lnTo>
                  <a:lnTo>
                    <a:pt x="1121188" y="1490911"/>
                  </a:lnTo>
                  <a:cubicBezTo>
                    <a:pt x="758569" y="817536"/>
                    <a:pt x="1130171" y="759860"/>
                    <a:pt x="1156763" y="722279"/>
                  </a:cubicBezTo>
                  <a:cubicBezTo>
                    <a:pt x="1149655" y="567939"/>
                    <a:pt x="1061403" y="425648"/>
                    <a:pt x="1263744" y="165468"/>
                  </a:cubicBezTo>
                  <a:cubicBezTo>
                    <a:pt x="1330263" y="49529"/>
                    <a:pt x="1422316" y="-790"/>
                    <a:pt x="1527186" y="1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1018478" y="-198282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-40452" y="2181193"/>
            <a:ext cx="792000" cy="792000"/>
            <a:chOff x="716550" y="-1415220"/>
            <a:chExt cx="792000" cy="792000"/>
          </a:xfrm>
        </p:grpSpPr>
        <p:sp>
          <p:nvSpPr>
            <p:cNvPr id="84" name="Freeform 83"/>
            <p:cNvSpPr/>
            <p:nvPr/>
          </p:nvSpPr>
          <p:spPr>
            <a:xfrm>
              <a:off x="762608" y="-1313180"/>
              <a:ext cx="699884" cy="587920"/>
            </a:xfrm>
            <a:custGeom>
              <a:avLst/>
              <a:gdLst>
                <a:gd name="connsiteX0" fmla="*/ 2495017 w 4394828"/>
                <a:gd name="connsiteY0" fmla="*/ 3112582 h 3691763"/>
                <a:gd name="connsiteX1" fmla="*/ 2567645 w 4394828"/>
                <a:gd name="connsiteY1" fmla="*/ 3194735 h 3691763"/>
                <a:gd name="connsiteX2" fmla="*/ 2495017 w 4394828"/>
                <a:gd name="connsiteY2" fmla="*/ 3276888 h 3691763"/>
                <a:gd name="connsiteX3" fmla="*/ 2422389 w 4394828"/>
                <a:gd name="connsiteY3" fmla="*/ 3194735 h 3691763"/>
                <a:gd name="connsiteX4" fmla="*/ 2495017 w 4394828"/>
                <a:gd name="connsiteY4" fmla="*/ 3112582 h 3691763"/>
                <a:gd name="connsiteX5" fmla="*/ 1937804 w 4394828"/>
                <a:gd name="connsiteY5" fmla="*/ 3112582 h 3691763"/>
                <a:gd name="connsiteX6" fmla="*/ 2010432 w 4394828"/>
                <a:gd name="connsiteY6" fmla="*/ 3194735 h 3691763"/>
                <a:gd name="connsiteX7" fmla="*/ 1937804 w 4394828"/>
                <a:gd name="connsiteY7" fmla="*/ 3276888 h 3691763"/>
                <a:gd name="connsiteX8" fmla="*/ 1865176 w 4394828"/>
                <a:gd name="connsiteY8" fmla="*/ 3194735 h 3691763"/>
                <a:gd name="connsiteX9" fmla="*/ 1937804 w 4394828"/>
                <a:gd name="connsiteY9" fmla="*/ 3112582 h 3691763"/>
                <a:gd name="connsiteX10" fmla="*/ 1894514 w 4394828"/>
                <a:gd name="connsiteY10" fmla="*/ 2924281 h 3691763"/>
                <a:gd name="connsiteX11" fmla="*/ 1660890 w 4394828"/>
                <a:gd name="connsiteY11" fmla="*/ 3193074 h 3691763"/>
                <a:gd name="connsiteX12" fmla="*/ 1894514 w 4394828"/>
                <a:gd name="connsiteY12" fmla="*/ 3461867 h 3691763"/>
                <a:gd name="connsiteX13" fmla="*/ 1985451 w 4394828"/>
                <a:gd name="connsiteY13" fmla="*/ 3440744 h 3691763"/>
                <a:gd name="connsiteX14" fmla="*/ 2421244 w 4394828"/>
                <a:gd name="connsiteY14" fmla="*/ 3440744 h 3691763"/>
                <a:gd name="connsiteX15" fmla="*/ 2512181 w 4394828"/>
                <a:gd name="connsiteY15" fmla="*/ 3461867 h 3691763"/>
                <a:gd name="connsiteX16" fmla="*/ 2745805 w 4394828"/>
                <a:gd name="connsiteY16" fmla="*/ 3193074 h 3691763"/>
                <a:gd name="connsiteX17" fmla="*/ 2512181 w 4394828"/>
                <a:gd name="connsiteY17" fmla="*/ 2924281 h 3691763"/>
                <a:gd name="connsiteX18" fmla="*/ 2381560 w 4394828"/>
                <a:gd name="connsiteY18" fmla="*/ 2970186 h 3691763"/>
                <a:gd name="connsiteX19" fmla="*/ 2025136 w 4394828"/>
                <a:gd name="connsiteY19" fmla="*/ 2970186 h 3691763"/>
                <a:gd name="connsiteX20" fmla="*/ 1894514 w 4394828"/>
                <a:gd name="connsiteY20" fmla="*/ 2924281 h 3691763"/>
                <a:gd name="connsiteX21" fmla="*/ 2891501 w 4394828"/>
                <a:gd name="connsiteY21" fmla="*/ 1873831 h 3691763"/>
                <a:gd name="connsiteX22" fmla="*/ 2747122 w 4394828"/>
                <a:gd name="connsiteY22" fmla="*/ 2018210 h 3691763"/>
                <a:gd name="connsiteX23" fmla="*/ 2891501 w 4394828"/>
                <a:gd name="connsiteY23" fmla="*/ 2162589 h 3691763"/>
                <a:gd name="connsiteX24" fmla="*/ 3035880 w 4394828"/>
                <a:gd name="connsiteY24" fmla="*/ 2018210 h 3691763"/>
                <a:gd name="connsiteX25" fmla="*/ 2891501 w 4394828"/>
                <a:gd name="connsiteY25" fmla="*/ 1873831 h 3691763"/>
                <a:gd name="connsiteX26" fmla="*/ 1532554 w 4394828"/>
                <a:gd name="connsiteY26" fmla="*/ 1873831 h 3691763"/>
                <a:gd name="connsiteX27" fmla="*/ 1388175 w 4394828"/>
                <a:gd name="connsiteY27" fmla="*/ 2018210 h 3691763"/>
                <a:gd name="connsiteX28" fmla="*/ 1532554 w 4394828"/>
                <a:gd name="connsiteY28" fmla="*/ 2162589 h 3691763"/>
                <a:gd name="connsiteX29" fmla="*/ 1676933 w 4394828"/>
                <a:gd name="connsiteY29" fmla="*/ 2018210 h 3691763"/>
                <a:gd name="connsiteX30" fmla="*/ 1532554 w 4394828"/>
                <a:gd name="connsiteY30" fmla="*/ 1873831 h 3691763"/>
                <a:gd name="connsiteX31" fmla="*/ 1945571 w 4394828"/>
                <a:gd name="connsiteY31" fmla="*/ 930623 h 3691763"/>
                <a:gd name="connsiteX32" fmla="*/ 1881784 w 4394828"/>
                <a:gd name="connsiteY32" fmla="*/ 937982 h 3691763"/>
                <a:gd name="connsiteX33" fmla="*/ 1706856 w 4394828"/>
                <a:gd name="connsiteY33" fmla="*/ 1144715 h 3691763"/>
                <a:gd name="connsiteX34" fmla="*/ 2048762 w 4394828"/>
                <a:gd name="connsiteY34" fmla="*/ 2623658 h 3691763"/>
                <a:gd name="connsiteX35" fmla="*/ 2353059 w 4394828"/>
                <a:gd name="connsiteY35" fmla="*/ 2637249 h 3691763"/>
                <a:gd name="connsiteX36" fmla="*/ 2747052 w 4394828"/>
                <a:gd name="connsiteY36" fmla="*/ 1149938 h 3691763"/>
                <a:gd name="connsiteX37" fmla="*/ 2577523 w 4394828"/>
                <a:gd name="connsiteY37" fmla="*/ 949909 h 3691763"/>
                <a:gd name="connsiteX38" fmla="*/ 2201984 w 4394828"/>
                <a:gd name="connsiteY38" fmla="*/ 974595 h 3691763"/>
                <a:gd name="connsiteX39" fmla="*/ 1945571 w 4394828"/>
                <a:gd name="connsiteY39" fmla="*/ 930623 h 3691763"/>
                <a:gd name="connsiteX40" fmla="*/ 3817991 w 4394828"/>
                <a:gd name="connsiteY40" fmla="*/ 357 h 3691763"/>
                <a:gd name="connsiteX41" fmla="*/ 3901015 w 4394828"/>
                <a:gd name="connsiteY41" fmla="*/ 73114 h 3691763"/>
                <a:gd name="connsiteX42" fmla="*/ 3715898 w 4394828"/>
                <a:gd name="connsiteY42" fmla="*/ 906013 h 3691763"/>
                <a:gd name="connsiteX43" fmla="*/ 3638080 w 4394828"/>
                <a:gd name="connsiteY43" fmla="*/ 964270 h 3691763"/>
                <a:gd name="connsiteX44" fmla="*/ 3594348 w 4394828"/>
                <a:gd name="connsiteY44" fmla="*/ 1092807 h 3691763"/>
                <a:gd name="connsiteX45" fmla="*/ 3863244 w 4394828"/>
                <a:gd name="connsiteY45" fmla="*/ 1062853 h 3691763"/>
                <a:gd name="connsiteX46" fmla="*/ 4394828 w 4394828"/>
                <a:gd name="connsiteY46" fmla="*/ 1203682 h 3691763"/>
                <a:gd name="connsiteX47" fmla="*/ 3810256 w 4394828"/>
                <a:gd name="connsiteY47" fmla="*/ 1619054 h 3691763"/>
                <a:gd name="connsiteX48" fmla="*/ 3454949 w 4394828"/>
                <a:gd name="connsiteY48" fmla="*/ 1684775 h 3691763"/>
                <a:gd name="connsiteX49" fmla="*/ 3426818 w 4394828"/>
                <a:gd name="connsiteY49" fmla="*/ 1680664 h 3691763"/>
                <a:gd name="connsiteX50" fmla="*/ 3425462 w 4394828"/>
                <a:gd name="connsiteY50" fmla="*/ 1709642 h 3691763"/>
                <a:gd name="connsiteX51" fmla="*/ 2982571 w 4394828"/>
                <a:gd name="connsiteY51" fmla="*/ 2697467 h 3691763"/>
                <a:gd name="connsiteX52" fmla="*/ 2890958 w 4394828"/>
                <a:gd name="connsiteY52" fmla="*/ 2776512 h 3691763"/>
                <a:gd name="connsiteX53" fmla="*/ 2890958 w 4394828"/>
                <a:gd name="connsiteY53" fmla="*/ 3253488 h 3691763"/>
                <a:gd name="connsiteX54" fmla="*/ 2223593 w 4394828"/>
                <a:gd name="connsiteY54" fmla="*/ 3691763 h 3691763"/>
                <a:gd name="connsiteX55" fmla="*/ 1556228 w 4394828"/>
                <a:gd name="connsiteY55" fmla="*/ 3253488 h 3691763"/>
                <a:gd name="connsiteX56" fmla="*/ 1548854 w 4394828"/>
                <a:gd name="connsiteY56" fmla="*/ 2820715 h 3691763"/>
                <a:gd name="connsiteX57" fmla="*/ 1406010 w 4394828"/>
                <a:gd name="connsiteY57" fmla="*/ 2697467 h 3691763"/>
                <a:gd name="connsiteX58" fmla="*/ 963119 w 4394828"/>
                <a:gd name="connsiteY58" fmla="*/ 1709642 h 3691763"/>
                <a:gd name="connsiteX59" fmla="*/ 962670 w 4394828"/>
                <a:gd name="connsiteY59" fmla="*/ 1700051 h 3691763"/>
                <a:gd name="connsiteX60" fmla="*/ 959116 w 4394828"/>
                <a:gd name="connsiteY60" fmla="*/ 1699742 h 3691763"/>
                <a:gd name="connsiteX61" fmla="*/ 663139 w 4394828"/>
                <a:gd name="connsiteY61" fmla="*/ 1633000 h 3691763"/>
                <a:gd name="connsiteX62" fmla="*/ 0 w 4394828"/>
                <a:gd name="connsiteY62" fmla="*/ 1199553 h 3691763"/>
                <a:gd name="connsiteX63" fmla="*/ 783302 w 4394828"/>
                <a:gd name="connsiteY63" fmla="*/ 1093147 h 3691763"/>
                <a:gd name="connsiteX64" fmla="*/ 869540 w 4394828"/>
                <a:gd name="connsiteY64" fmla="*/ 1114289 h 3691763"/>
                <a:gd name="connsiteX65" fmla="*/ 898646 w 4394828"/>
                <a:gd name="connsiteY65" fmla="*/ 1110692 h 3691763"/>
                <a:gd name="connsiteX66" fmla="*/ 870817 w 4394828"/>
                <a:gd name="connsiteY66" fmla="*/ 1027543 h 3691763"/>
                <a:gd name="connsiteX67" fmla="*/ 765918 w 4394828"/>
                <a:gd name="connsiteY67" fmla="*/ 957680 h 3691763"/>
                <a:gd name="connsiteX68" fmla="*/ 545966 w 4394828"/>
                <a:gd name="connsiteY68" fmla="*/ 77283 h 3691763"/>
                <a:gd name="connsiteX69" fmla="*/ 644614 w 4394828"/>
                <a:gd name="connsiteY69" fmla="*/ 377 h 3691763"/>
                <a:gd name="connsiteX70" fmla="*/ 666616 w 4394828"/>
                <a:gd name="connsiteY70" fmla="*/ 81790 h 3691763"/>
                <a:gd name="connsiteX71" fmla="*/ 996481 w 4394828"/>
                <a:gd name="connsiteY71" fmla="*/ 585778 h 3691763"/>
                <a:gd name="connsiteX72" fmla="*/ 1519999 w 4394828"/>
                <a:gd name="connsiteY72" fmla="*/ 536442 h 3691763"/>
                <a:gd name="connsiteX73" fmla="*/ 2998941 w 4394828"/>
                <a:gd name="connsiteY73" fmla="*/ 536442 h 3691763"/>
                <a:gd name="connsiteX74" fmla="*/ 3545272 w 4394828"/>
                <a:gd name="connsiteY74" fmla="*/ 572982 h 3691763"/>
                <a:gd name="connsiteX75" fmla="*/ 3799473 w 4394828"/>
                <a:gd name="connsiteY75" fmla="*/ 77377 h 3691763"/>
                <a:gd name="connsiteX76" fmla="*/ 3817991 w 4394828"/>
                <a:gd name="connsiteY76" fmla="*/ 357 h 369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4394828" h="3691763">
                  <a:moveTo>
                    <a:pt x="2495017" y="3112582"/>
                  </a:moveTo>
                  <a:cubicBezTo>
                    <a:pt x="2535128" y="3112582"/>
                    <a:pt x="2567645" y="3149363"/>
                    <a:pt x="2567645" y="3194735"/>
                  </a:cubicBezTo>
                  <a:cubicBezTo>
                    <a:pt x="2567645" y="3240107"/>
                    <a:pt x="2535128" y="3276888"/>
                    <a:pt x="2495017" y="3276888"/>
                  </a:cubicBezTo>
                  <a:cubicBezTo>
                    <a:pt x="2454906" y="3276888"/>
                    <a:pt x="2422389" y="3240107"/>
                    <a:pt x="2422389" y="3194735"/>
                  </a:cubicBezTo>
                  <a:cubicBezTo>
                    <a:pt x="2422389" y="3149363"/>
                    <a:pt x="2454906" y="3112582"/>
                    <a:pt x="2495017" y="3112582"/>
                  </a:cubicBezTo>
                  <a:close/>
                  <a:moveTo>
                    <a:pt x="1937804" y="3112582"/>
                  </a:moveTo>
                  <a:cubicBezTo>
                    <a:pt x="1977915" y="3112582"/>
                    <a:pt x="2010432" y="3149363"/>
                    <a:pt x="2010432" y="3194735"/>
                  </a:cubicBezTo>
                  <a:cubicBezTo>
                    <a:pt x="2010432" y="3240107"/>
                    <a:pt x="1977915" y="3276888"/>
                    <a:pt x="1937804" y="3276888"/>
                  </a:cubicBezTo>
                  <a:cubicBezTo>
                    <a:pt x="1897693" y="3276888"/>
                    <a:pt x="1865176" y="3240107"/>
                    <a:pt x="1865176" y="3194735"/>
                  </a:cubicBezTo>
                  <a:cubicBezTo>
                    <a:pt x="1865176" y="3149363"/>
                    <a:pt x="1897693" y="3112582"/>
                    <a:pt x="1937804" y="3112582"/>
                  </a:cubicBezTo>
                  <a:close/>
                  <a:moveTo>
                    <a:pt x="1894514" y="2924281"/>
                  </a:moveTo>
                  <a:cubicBezTo>
                    <a:pt x="1765487" y="2924281"/>
                    <a:pt x="1660890" y="3044624"/>
                    <a:pt x="1660890" y="3193074"/>
                  </a:cubicBezTo>
                  <a:cubicBezTo>
                    <a:pt x="1660890" y="3341524"/>
                    <a:pt x="1765487" y="3461867"/>
                    <a:pt x="1894514" y="3461867"/>
                  </a:cubicBezTo>
                  <a:cubicBezTo>
                    <a:pt x="1926771" y="3461867"/>
                    <a:pt x="1957501" y="3454346"/>
                    <a:pt x="1985451" y="3440744"/>
                  </a:cubicBezTo>
                  <a:cubicBezTo>
                    <a:pt x="2133096" y="3414550"/>
                    <a:pt x="2280742" y="3416931"/>
                    <a:pt x="2421244" y="3440744"/>
                  </a:cubicBezTo>
                  <a:cubicBezTo>
                    <a:pt x="2449195" y="3454346"/>
                    <a:pt x="2479924" y="3461867"/>
                    <a:pt x="2512181" y="3461867"/>
                  </a:cubicBezTo>
                  <a:cubicBezTo>
                    <a:pt x="2641208" y="3461867"/>
                    <a:pt x="2745805" y="3341524"/>
                    <a:pt x="2745805" y="3193074"/>
                  </a:cubicBezTo>
                  <a:cubicBezTo>
                    <a:pt x="2745805" y="3044624"/>
                    <a:pt x="2641208" y="2924281"/>
                    <a:pt x="2512181" y="2924281"/>
                  </a:cubicBezTo>
                  <a:cubicBezTo>
                    <a:pt x="2463796" y="2924281"/>
                    <a:pt x="2418846" y="2941204"/>
                    <a:pt x="2381560" y="2970186"/>
                  </a:cubicBezTo>
                  <a:cubicBezTo>
                    <a:pt x="2307996" y="3001142"/>
                    <a:pt x="2136800" y="3001142"/>
                    <a:pt x="2025136" y="2970186"/>
                  </a:cubicBezTo>
                  <a:cubicBezTo>
                    <a:pt x="1987849" y="2941204"/>
                    <a:pt x="1942899" y="2924281"/>
                    <a:pt x="1894514" y="2924281"/>
                  </a:cubicBezTo>
                  <a:close/>
                  <a:moveTo>
                    <a:pt x="2891501" y="1873831"/>
                  </a:moveTo>
                  <a:cubicBezTo>
                    <a:pt x="2811763" y="1873831"/>
                    <a:pt x="2747122" y="1938472"/>
                    <a:pt x="2747122" y="2018210"/>
                  </a:cubicBezTo>
                  <a:cubicBezTo>
                    <a:pt x="2747122" y="2097948"/>
                    <a:pt x="2811763" y="2162589"/>
                    <a:pt x="2891501" y="2162589"/>
                  </a:cubicBezTo>
                  <a:cubicBezTo>
                    <a:pt x="2971239" y="2162589"/>
                    <a:pt x="3035880" y="2097948"/>
                    <a:pt x="3035880" y="2018210"/>
                  </a:cubicBezTo>
                  <a:cubicBezTo>
                    <a:pt x="3035880" y="1938472"/>
                    <a:pt x="2971239" y="1873831"/>
                    <a:pt x="2891501" y="1873831"/>
                  </a:cubicBezTo>
                  <a:close/>
                  <a:moveTo>
                    <a:pt x="1532554" y="1873831"/>
                  </a:moveTo>
                  <a:cubicBezTo>
                    <a:pt x="1452816" y="1873831"/>
                    <a:pt x="1388175" y="1938472"/>
                    <a:pt x="1388175" y="2018210"/>
                  </a:cubicBezTo>
                  <a:cubicBezTo>
                    <a:pt x="1388175" y="2097948"/>
                    <a:pt x="1452816" y="2162589"/>
                    <a:pt x="1532554" y="2162589"/>
                  </a:cubicBezTo>
                  <a:cubicBezTo>
                    <a:pt x="1612292" y="2162589"/>
                    <a:pt x="1676933" y="2097948"/>
                    <a:pt x="1676933" y="2018210"/>
                  </a:cubicBezTo>
                  <a:cubicBezTo>
                    <a:pt x="1676933" y="1938472"/>
                    <a:pt x="1612292" y="1873831"/>
                    <a:pt x="1532554" y="1873831"/>
                  </a:cubicBezTo>
                  <a:close/>
                  <a:moveTo>
                    <a:pt x="1945571" y="930623"/>
                  </a:moveTo>
                  <a:cubicBezTo>
                    <a:pt x="1921271" y="928768"/>
                    <a:pt x="1899599" y="930397"/>
                    <a:pt x="1881784" y="937982"/>
                  </a:cubicBezTo>
                  <a:cubicBezTo>
                    <a:pt x="1802575" y="952420"/>
                    <a:pt x="1692651" y="1054393"/>
                    <a:pt x="1706856" y="1144715"/>
                  </a:cubicBezTo>
                  <a:cubicBezTo>
                    <a:pt x="1787031" y="1423011"/>
                    <a:pt x="1980885" y="2612849"/>
                    <a:pt x="2048762" y="2623658"/>
                  </a:cubicBezTo>
                  <a:cubicBezTo>
                    <a:pt x="2157788" y="2726640"/>
                    <a:pt x="2236013" y="2719204"/>
                    <a:pt x="2353059" y="2637249"/>
                  </a:cubicBezTo>
                  <a:cubicBezTo>
                    <a:pt x="2414444" y="2606977"/>
                    <a:pt x="2642055" y="1435137"/>
                    <a:pt x="2747052" y="1149938"/>
                  </a:cubicBezTo>
                  <a:cubicBezTo>
                    <a:pt x="2764585" y="1019790"/>
                    <a:pt x="2676982" y="973170"/>
                    <a:pt x="2577523" y="949909"/>
                  </a:cubicBezTo>
                  <a:cubicBezTo>
                    <a:pt x="2478064" y="926648"/>
                    <a:pt x="2317940" y="976583"/>
                    <a:pt x="2201984" y="974595"/>
                  </a:cubicBezTo>
                  <a:cubicBezTo>
                    <a:pt x="2115017" y="973104"/>
                    <a:pt x="2018470" y="936188"/>
                    <a:pt x="1945571" y="930623"/>
                  </a:cubicBezTo>
                  <a:close/>
                  <a:moveTo>
                    <a:pt x="3817991" y="357"/>
                  </a:moveTo>
                  <a:cubicBezTo>
                    <a:pt x="3833065" y="3214"/>
                    <a:pt x="3858573" y="23553"/>
                    <a:pt x="3901015" y="73114"/>
                  </a:cubicBezTo>
                  <a:cubicBezTo>
                    <a:pt x="3929825" y="117697"/>
                    <a:pt x="4172014" y="526193"/>
                    <a:pt x="3715898" y="906013"/>
                  </a:cubicBezTo>
                  <a:lnTo>
                    <a:pt x="3638080" y="964270"/>
                  </a:lnTo>
                  <a:lnTo>
                    <a:pt x="3594348" y="1092807"/>
                  </a:lnTo>
                  <a:cubicBezTo>
                    <a:pt x="3631875" y="1109237"/>
                    <a:pt x="3729831" y="1044374"/>
                    <a:pt x="3863244" y="1062853"/>
                  </a:cubicBezTo>
                  <a:cubicBezTo>
                    <a:pt x="3996657" y="1081332"/>
                    <a:pt x="4303671" y="1108444"/>
                    <a:pt x="4394828" y="1203682"/>
                  </a:cubicBezTo>
                  <a:cubicBezTo>
                    <a:pt x="4354141" y="1345415"/>
                    <a:pt x="3999253" y="1576734"/>
                    <a:pt x="3810256" y="1619054"/>
                  </a:cubicBezTo>
                  <a:cubicBezTo>
                    <a:pt x="3715757" y="1640214"/>
                    <a:pt x="3571920" y="1686903"/>
                    <a:pt x="3454949" y="1684775"/>
                  </a:cubicBezTo>
                  <a:lnTo>
                    <a:pt x="3426818" y="1680664"/>
                  </a:lnTo>
                  <a:lnTo>
                    <a:pt x="3425462" y="1709642"/>
                  </a:lnTo>
                  <a:cubicBezTo>
                    <a:pt x="3388095" y="2106316"/>
                    <a:pt x="3223564" y="2456102"/>
                    <a:pt x="2982571" y="2697467"/>
                  </a:cubicBezTo>
                  <a:lnTo>
                    <a:pt x="2890958" y="2776512"/>
                  </a:lnTo>
                  <a:lnTo>
                    <a:pt x="2890958" y="3253488"/>
                  </a:lnTo>
                  <a:cubicBezTo>
                    <a:pt x="2890958" y="3495541"/>
                    <a:pt x="2592169" y="3691763"/>
                    <a:pt x="2223593" y="3691763"/>
                  </a:cubicBezTo>
                  <a:cubicBezTo>
                    <a:pt x="1855017" y="3691763"/>
                    <a:pt x="1556228" y="3495541"/>
                    <a:pt x="1556228" y="3253488"/>
                  </a:cubicBezTo>
                  <a:lnTo>
                    <a:pt x="1548854" y="2820715"/>
                  </a:lnTo>
                  <a:lnTo>
                    <a:pt x="1406010" y="2697467"/>
                  </a:lnTo>
                  <a:cubicBezTo>
                    <a:pt x="1165018" y="2456102"/>
                    <a:pt x="1000486" y="2106316"/>
                    <a:pt x="963119" y="1709642"/>
                  </a:cubicBezTo>
                  <a:cubicBezTo>
                    <a:pt x="962969" y="1706445"/>
                    <a:pt x="962820" y="1703248"/>
                    <a:pt x="962670" y="1700051"/>
                  </a:cubicBezTo>
                  <a:lnTo>
                    <a:pt x="959116" y="1699742"/>
                  </a:lnTo>
                  <a:cubicBezTo>
                    <a:pt x="853563" y="1683912"/>
                    <a:pt x="742676" y="1650863"/>
                    <a:pt x="663139" y="1633000"/>
                  </a:cubicBezTo>
                  <a:cubicBezTo>
                    <a:pt x="451039" y="1585365"/>
                    <a:pt x="48975" y="1343193"/>
                    <a:pt x="0" y="1199553"/>
                  </a:cubicBezTo>
                  <a:cubicBezTo>
                    <a:pt x="132546" y="1075099"/>
                    <a:pt x="571202" y="1045513"/>
                    <a:pt x="783302" y="1093147"/>
                  </a:cubicBezTo>
                  <a:cubicBezTo>
                    <a:pt x="809815" y="1099102"/>
                    <a:pt x="838989" y="1106119"/>
                    <a:pt x="869540" y="1114289"/>
                  </a:cubicBezTo>
                  <a:lnTo>
                    <a:pt x="898646" y="1110692"/>
                  </a:lnTo>
                  <a:lnTo>
                    <a:pt x="870817" y="1027543"/>
                  </a:lnTo>
                  <a:lnTo>
                    <a:pt x="765918" y="957680"/>
                  </a:lnTo>
                  <a:cubicBezTo>
                    <a:pt x="223972" y="556200"/>
                    <a:pt x="511735" y="124409"/>
                    <a:pt x="545966" y="77283"/>
                  </a:cubicBezTo>
                  <a:cubicBezTo>
                    <a:pt x="596395" y="24896"/>
                    <a:pt x="626703" y="3398"/>
                    <a:pt x="644614" y="377"/>
                  </a:cubicBezTo>
                  <a:cubicBezTo>
                    <a:pt x="674466" y="-4658"/>
                    <a:pt x="669881" y="41634"/>
                    <a:pt x="666616" y="81790"/>
                  </a:cubicBezTo>
                  <a:cubicBezTo>
                    <a:pt x="664568" y="342890"/>
                    <a:pt x="802806" y="504915"/>
                    <a:pt x="996481" y="585778"/>
                  </a:cubicBezTo>
                  <a:cubicBezTo>
                    <a:pt x="1171179" y="633725"/>
                    <a:pt x="1332691" y="575807"/>
                    <a:pt x="1519999" y="536442"/>
                  </a:cubicBezTo>
                  <a:cubicBezTo>
                    <a:pt x="1949821" y="640200"/>
                    <a:pt x="2642180" y="586010"/>
                    <a:pt x="2998941" y="536442"/>
                  </a:cubicBezTo>
                  <a:cubicBezTo>
                    <a:pt x="3181051" y="596329"/>
                    <a:pt x="3371113" y="596583"/>
                    <a:pt x="3545272" y="572982"/>
                  </a:cubicBezTo>
                  <a:cubicBezTo>
                    <a:pt x="3708274" y="496481"/>
                    <a:pt x="3801197" y="324391"/>
                    <a:pt x="3799473" y="77377"/>
                  </a:cubicBezTo>
                  <a:cubicBezTo>
                    <a:pt x="3796726" y="39388"/>
                    <a:pt x="3792867" y="-4406"/>
                    <a:pt x="3817991" y="357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716550" y="-141522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2037239" y="2181193"/>
            <a:ext cx="792000" cy="792000"/>
            <a:chOff x="523406" y="-1979113"/>
            <a:chExt cx="792000" cy="792000"/>
          </a:xfrm>
        </p:grpSpPr>
        <p:sp>
          <p:nvSpPr>
            <p:cNvPr id="85" name="Freeform 84"/>
            <p:cNvSpPr/>
            <p:nvPr/>
          </p:nvSpPr>
          <p:spPr>
            <a:xfrm>
              <a:off x="543625" y="-1876354"/>
              <a:ext cx="751562" cy="586483"/>
            </a:xfrm>
            <a:custGeom>
              <a:avLst/>
              <a:gdLst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1114 w 3082823"/>
                <a:gd name="connsiteY46" fmla="*/ 1719693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5877 w 3082823"/>
                <a:gd name="connsiteY46" fmla="*/ 1703024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5877 w 3082823"/>
                <a:gd name="connsiteY46" fmla="*/ 1703024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5884 w 3082823"/>
                <a:gd name="connsiteY46" fmla="*/ 170778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5884 w 3082823"/>
                <a:gd name="connsiteY46" fmla="*/ 170778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3082823" h="2405686">
                  <a:moveTo>
                    <a:pt x="1695557" y="1655538"/>
                  </a:moveTo>
                  <a:cubicBezTo>
                    <a:pt x="1765333" y="1652329"/>
                    <a:pt x="1817679" y="1705499"/>
                    <a:pt x="1796836" y="1767509"/>
                  </a:cubicBezTo>
                  <a:cubicBezTo>
                    <a:pt x="1771231" y="1870000"/>
                    <a:pt x="1575517" y="1814126"/>
                    <a:pt x="1549067" y="2068079"/>
                  </a:cubicBezTo>
                  <a:cubicBezTo>
                    <a:pt x="1536904" y="2093433"/>
                    <a:pt x="1524398" y="2080239"/>
                    <a:pt x="1510677" y="2066260"/>
                  </a:cubicBezTo>
                  <a:cubicBezTo>
                    <a:pt x="1456474" y="1804631"/>
                    <a:pt x="1334035" y="1876004"/>
                    <a:pt x="1288140" y="1788940"/>
                  </a:cubicBezTo>
                  <a:cubicBezTo>
                    <a:pt x="1266058" y="1720926"/>
                    <a:pt x="1298373" y="1664138"/>
                    <a:pt x="1378182" y="1658176"/>
                  </a:cubicBezTo>
                  <a:cubicBezTo>
                    <a:pt x="1484185" y="1668882"/>
                    <a:pt x="1554344" y="1694466"/>
                    <a:pt x="1695557" y="1655538"/>
                  </a:cubicBezTo>
                  <a:close/>
                  <a:moveTo>
                    <a:pt x="2034905" y="971806"/>
                  </a:moveTo>
                  <a:cubicBezTo>
                    <a:pt x="2089264" y="971806"/>
                    <a:pt x="2133330" y="1015872"/>
                    <a:pt x="2133330" y="1070231"/>
                  </a:cubicBezTo>
                  <a:cubicBezTo>
                    <a:pt x="2133330" y="1124590"/>
                    <a:pt x="2089264" y="1168656"/>
                    <a:pt x="2034905" y="1168656"/>
                  </a:cubicBezTo>
                  <a:cubicBezTo>
                    <a:pt x="1980546" y="1168656"/>
                    <a:pt x="1936480" y="1124590"/>
                    <a:pt x="1936480" y="1070231"/>
                  </a:cubicBezTo>
                  <a:cubicBezTo>
                    <a:pt x="1936480" y="1015872"/>
                    <a:pt x="1980546" y="971806"/>
                    <a:pt x="2034905" y="971806"/>
                  </a:cubicBezTo>
                  <a:close/>
                  <a:moveTo>
                    <a:pt x="1028318" y="971806"/>
                  </a:moveTo>
                  <a:cubicBezTo>
                    <a:pt x="1082677" y="971806"/>
                    <a:pt x="1126743" y="1015872"/>
                    <a:pt x="1126743" y="1070231"/>
                  </a:cubicBezTo>
                  <a:cubicBezTo>
                    <a:pt x="1126743" y="1124590"/>
                    <a:pt x="1082677" y="1168656"/>
                    <a:pt x="1028318" y="1168656"/>
                  </a:cubicBezTo>
                  <a:cubicBezTo>
                    <a:pt x="973959" y="1168656"/>
                    <a:pt x="929893" y="1124590"/>
                    <a:pt x="929893" y="1070231"/>
                  </a:cubicBezTo>
                  <a:cubicBezTo>
                    <a:pt x="929893" y="1015872"/>
                    <a:pt x="973959" y="971806"/>
                    <a:pt x="1028318" y="971806"/>
                  </a:cubicBezTo>
                  <a:close/>
                  <a:moveTo>
                    <a:pt x="1564206" y="584177"/>
                  </a:moveTo>
                  <a:cubicBezTo>
                    <a:pt x="1527893" y="582777"/>
                    <a:pt x="1491031" y="583012"/>
                    <a:pt x="1453921" y="585131"/>
                  </a:cubicBezTo>
                  <a:cubicBezTo>
                    <a:pt x="1275794" y="595301"/>
                    <a:pt x="1091967" y="648880"/>
                    <a:pt x="935801" y="773480"/>
                  </a:cubicBezTo>
                  <a:cubicBezTo>
                    <a:pt x="854285" y="839934"/>
                    <a:pt x="822388" y="896641"/>
                    <a:pt x="813528" y="1002080"/>
                  </a:cubicBezTo>
                  <a:cubicBezTo>
                    <a:pt x="772770" y="1368017"/>
                    <a:pt x="1070482" y="1897873"/>
                    <a:pt x="1233514" y="2081285"/>
                  </a:cubicBezTo>
                  <a:cubicBezTo>
                    <a:pt x="1391230" y="2254065"/>
                    <a:pt x="1621602" y="2288620"/>
                    <a:pt x="1791723" y="2102550"/>
                  </a:cubicBezTo>
                  <a:cubicBezTo>
                    <a:pt x="2041588" y="1921797"/>
                    <a:pt x="2291452" y="1298019"/>
                    <a:pt x="2254239" y="964866"/>
                  </a:cubicBezTo>
                  <a:cubicBezTo>
                    <a:pt x="2248922" y="881578"/>
                    <a:pt x="2224113" y="837276"/>
                    <a:pt x="2142597" y="768164"/>
                  </a:cubicBezTo>
                  <a:cubicBezTo>
                    <a:pt x="2045686" y="683851"/>
                    <a:pt x="1818398" y="593973"/>
                    <a:pt x="1564206" y="584177"/>
                  </a:cubicBezTo>
                  <a:close/>
                  <a:moveTo>
                    <a:pt x="1309785" y="66"/>
                  </a:moveTo>
                  <a:cubicBezTo>
                    <a:pt x="1388297" y="2056"/>
                    <a:pt x="1462369" y="48784"/>
                    <a:pt x="1508085" y="122056"/>
                  </a:cubicBezTo>
                  <a:lnTo>
                    <a:pt x="1515110" y="135911"/>
                  </a:lnTo>
                  <a:lnTo>
                    <a:pt x="1545468" y="134986"/>
                  </a:lnTo>
                  <a:lnTo>
                    <a:pt x="1569711" y="136337"/>
                  </a:lnTo>
                  <a:lnTo>
                    <a:pt x="1574807" y="126476"/>
                  </a:lnTo>
                  <a:cubicBezTo>
                    <a:pt x="1621081" y="53555"/>
                    <a:pt x="1695508" y="7394"/>
                    <a:pt x="1774033" y="6004"/>
                  </a:cubicBezTo>
                  <a:cubicBezTo>
                    <a:pt x="1789739" y="5726"/>
                    <a:pt x="1805608" y="7239"/>
                    <a:pt x="1821448" y="10687"/>
                  </a:cubicBezTo>
                  <a:cubicBezTo>
                    <a:pt x="1884811" y="24478"/>
                    <a:pt x="1935721" y="66616"/>
                    <a:pt x="1966809" y="123597"/>
                  </a:cubicBezTo>
                  <a:lnTo>
                    <a:pt x="1975851" y="144621"/>
                  </a:lnTo>
                  <a:lnTo>
                    <a:pt x="2007633" y="131387"/>
                  </a:lnTo>
                  <a:cubicBezTo>
                    <a:pt x="2033103" y="124526"/>
                    <a:pt x="2060183" y="120830"/>
                    <a:pt x="2088259" y="120830"/>
                  </a:cubicBezTo>
                  <a:cubicBezTo>
                    <a:pt x="2238001" y="120830"/>
                    <a:pt x="2359390" y="225966"/>
                    <a:pt x="2359390" y="355658"/>
                  </a:cubicBezTo>
                  <a:lnTo>
                    <a:pt x="2358085" y="366874"/>
                  </a:lnTo>
                  <a:lnTo>
                    <a:pt x="2412119" y="362156"/>
                  </a:lnTo>
                  <a:cubicBezTo>
                    <a:pt x="2561861" y="362156"/>
                    <a:pt x="2695291" y="478561"/>
                    <a:pt x="2683250" y="596984"/>
                  </a:cubicBezTo>
                  <a:cubicBezTo>
                    <a:pt x="2795034" y="670163"/>
                    <a:pt x="2997782" y="656638"/>
                    <a:pt x="3082823" y="801232"/>
                  </a:cubicBezTo>
                  <a:cubicBezTo>
                    <a:pt x="2911175" y="1034416"/>
                    <a:pt x="2725241" y="1098531"/>
                    <a:pt x="2553594" y="1150739"/>
                  </a:cubicBezTo>
                  <a:lnTo>
                    <a:pt x="2532550" y="1252350"/>
                  </a:lnTo>
                  <a:cubicBezTo>
                    <a:pt x="2615328" y="1352495"/>
                    <a:pt x="2628755" y="1422848"/>
                    <a:pt x="2626455" y="1524154"/>
                  </a:cubicBezTo>
                  <a:cubicBezTo>
                    <a:pt x="2600341" y="1727854"/>
                    <a:pt x="2522728" y="1725986"/>
                    <a:pt x="2473503" y="1726836"/>
                  </a:cubicBezTo>
                  <a:cubicBezTo>
                    <a:pt x="2424278" y="1727686"/>
                    <a:pt x="2389199" y="1718075"/>
                    <a:pt x="2373972" y="1714995"/>
                  </a:cubicBezTo>
                  <a:lnTo>
                    <a:pt x="2368083" y="1713187"/>
                  </a:lnTo>
                  <a:lnTo>
                    <a:pt x="2392882" y="1750834"/>
                  </a:lnTo>
                  <a:cubicBezTo>
                    <a:pt x="2410887" y="1786591"/>
                    <a:pt x="2421114" y="1827568"/>
                    <a:pt x="2421114" y="1871121"/>
                  </a:cubicBezTo>
                  <a:cubicBezTo>
                    <a:pt x="2421114" y="2010492"/>
                    <a:pt x="2316386" y="2123475"/>
                    <a:pt x="2187198" y="2123475"/>
                  </a:cubicBezTo>
                  <a:cubicBezTo>
                    <a:pt x="2154901" y="2123475"/>
                    <a:pt x="2124133" y="2116414"/>
                    <a:pt x="2096148" y="2103644"/>
                  </a:cubicBezTo>
                  <a:lnTo>
                    <a:pt x="2073060" y="2090125"/>
                  </a:lnTo>
                  <a:lnTo>
                    <a:pt x="2076100" y="2123474"/>
                  </a:lnTo>
                  <a:cubicBezTo>
                    <a:pt x="2076100" y="2279335"/>
                    <a:pt x="1961851" y="2405686"/>
                    <a:pt x="1820918" y="2405686"/>
                  </a:cubicBezTo>
                  <a:cubicBezTo>
                    <a:pt x="1768068" y="2405686"/>
                    <a:pt x="1718971" y="2387918"/>
                    <a:pt x="1678244" y="2357489"/>
                  </a:cubicBezTo>
                  <a:lnTo>
                    <a:pt x="1673046" y="2352746"/>
                  </a:lnTo>
                  <a:lnTo>
                    <a:pt x="1599509" y="2374031"/>
                  </a:lnTo>
                  <a:cubicBezTo>
                    <a:pt x="1565946" y="2379526"/>
                    <a:pt x="1532161" y="2380972"/>
                    <a:pt x="1498509" y="2378590"/>
                  </a:cubicBezTo>
                  <a:lnTo>
                    <a:pt x="1413494" y="2362969"/>
                  </a:lnTo>
                  <a:lnTo>
                    <a:pt x="1400143" y="2370513"/>
                  </a:lnTo>
                  <a:cubicBezTo>
                    <a:pt x="1367705" y="2384793"/>
                    <a:pt x="1332042" y="2392690"/>
                    <a:pt x="1294606" y="2392690"/>
                  </a:cubicBezTo>
                  <a:cubicBezTo>
                    <a:pt x="1144864" y="2392690"/>
                    <a:pt x="1023475" y="2266339"/>
                    <a:pt x="1023475" y="2110478"/>
                  </a:cubicBezTo>
                  <a:lnTo>
                    <a:pt x="1024153" y="2103483"/>
                  </a:lnTo>
                  <a:lnTo>
                    <a:pt x="976566" y="2118045"/>
                  </a:lnTo>
                  <a:cubicBezTo>
                    <a:pt x="958916" y="2121605"/>
                    <a:pt x="940641" y="2123475"/>
                    <a:pt x="921923" y="2123475"/>
                  </a:cubicBezTo>
                  <a:cubicBezTo>
                    <a:pt x="772181" y="2123475"/>
                    <a:pt x="650792" y="2003808"/>
                    <a:pt x="650792" y="1856192"/>
                  </a:cubicBezTo>
                  <a:cubicBezTo>
                    <a:pt x="650792" y="1819288"/>
                    <a:pt x="658379" y="1784131"/>
                    <a:pt x="672099" y="1752154"/>
                  </a:cubicBezTo>
                  <a:lnTo>
                    <a:pt x="674313" y="1748133"/>
                  </a:lnTo>
                  <a:lnTo>
                    <a:pt x="662333" y="1746943"/>
                  </a:lnTo>
                  <a:cubicBezTo>
                    <a:pt x="538782" y="1722020"/>
                    <a:pt x="442092" y="1638879"/>
                    <a:pt x="422031" y="1485090"/>
                  </a:cubicBezTo>
                  <a:cubicBezTo>
                    <a:pt x="436370" y="1361994"/>
                    <a:pt x="447450" y="1360349"/>
                    <a:pt x="520951" y="1293580"/>
                  </a:cubicBezTo>
                  <a:lnTo>
                    <a:pt x="516810" y="1176175"/>
                  </a:lnTo>
                  <a:cubicBezTo>
                    <a:pt x="504619" y="1135080"/>
                    <a:pt x="94759" y="951110"/>
                    <a:pt x="25418" y="850484"/>
                  </a:cubicBezTo>
                  <a:cubicBezTo>
                    <a:pt x="-64116" y="770721"/>
                    <a:pt x="89695" y="657446"/>
                    <a:pt x="379661" y="611877"/>
                  </a:cubicBezTo>
                  <a:cubicBezTo>
                    <a:pt x="391021" y="428196"/>
                    <a:pt x="501050" y="377049"/>
                    <a:pt x="650792" y="377049"/>
                  </a:cubicBezTo>
                  <a:cubicBezTo>
                    <a:pt x="669510" y="377049"/>
                    <a:pt x="687785" y="378692"/>
                    <a:pt x="705435" y="381820"/>
                  </a:cubicBezTo>
                  <a:lnTo>
                    <a:pt x="718482" y="385328"/>
                  </a:lnTo>
                  <a:lnTo>
                    <a:pt x="715028" y="355658"/>
                  </a:lnTo>
                  <a:cubicBezTo>
                    <a:pt x="715028" y="225966"/>
                    <a:pt x="836417" y="120830"/>
                    <a:pt x="986159" y="120830"/>
                  </a:cubicBezTo>
                  <a:cubicBezTo>
                    <a:pt x="1023595" y="120830"/>
                    <a:pt x="1059258" y="127401"/>
                    <a:pt x="1091696" y="139284"/>
                  </a:cubicBezTo>
                  <a:lnTo>
                    <a:pt x="1103057" y="145919"/>
                  </a:lnTo>
                  <a:lnTo>
                    <a:pt x="1116116" y="116182"/>
                  </a:lnTo>
                  <a:cubicBezTo>
                    <a:pt x="1147639" y="59441"/>
                    <a:pt x="1198869" y="17693"/>
                    <a:pt x="1262335" y="4386"/>
                  </a:cubicBezTo>
                  <a:cubicBezTo>
                    <a:pt x="1278202" y="1060"/>
                    <a:pt x="1294082" y="-332"/>
                    <a:pt x="1309785" y="6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523406" y="-197911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980377" y="2576275"/>
            <a:ext cx="792000" cy="792000"/>
            <a:chOff x="1066541" y="-2389048"/>
            <a:chExt cx="792000" cy="792000"/>
          </a:xfrm>
        </p:grpSpPr>
        <p:sp>
          <p:nvSpPr>
            <p:cNvPr id="76" name="Freeform 75"/>
            <p:cNvSpPr/>
            <p:nvPr/>
          </p:nvSpPr>
          <p:spPr>
            <a:xfrm rot="20893534">
              <a:off x="1127351" y="-2294192"/>
              <a:ext cx="670381" cy="602289"/>
            </a:xfrm>
            <a:custGeom>
              <a:avLst/>
              <a:gdLst>
                <a:gd name="connsiteX0" fmla="*/ 3477622 w 4173056"/>
                <a:gd name="connsiteY0" fmla="*/ 2153637 h 3749191"/>
                <a:gd name="connsiteX1" fmla="*/ 4173056 w 4173056"/>
                <a:gd name="connsiteY1" fmla="*/ 3067334 h 3749191"/>
                <a:gd name="connsiteX2" fmla="*/ 3858025 w 4173056"/>
                <a:gd name="connsiteY2" fmla="*/ 3374418 h 3749191"/>
                <a:gd name="connsiteX3" fmla="*/ 3477622 w 4173056"/>
                <a:gd name="connsiteY3" fmla="*/ 2153637 h 3749191"/>
                <a:gd name="connsiteX4" fmla="*/ 3330497 w 4173056"/>
                <a:gd name="connsiteY4" fmla="*/ 2063033 h 3749191"/>
                <a:gd name="connsiteX5" fmla="*/ 3491387 w 4173056"/>
                <a:gd name="connsiteY5" fmla="*/ 3522224 h 3749191"/>
                <a:gd name="connsiteX6" fmla="*/ 2959958 w 4173056"/>
                <a:gd name="connsiteY6" fmla="*/ 3661029 h 3749191"/>
                <a:gd name="connsiteX7" fmla="*/ 3330497 w 4173056"/>
                <a:gd name="connsiteY7" fmla="*/ 2063033 h 3749191"/>
                <a:gd name="connsiteX8" fmla="*/ 3130551 w 4173056"/>
                <a:gd name="connsiteY8" fmla="*/ 2001900 h 3749191"/>
                <a:gd name="connsiteX9" fmla="*/ 2379040 w 4173056"/>
                <a:gd name="connsiteY9" fmla="*/ 3731672 h 3749191"/>
                <a:gd name="connsiteX10" fmla="*/ 1521177 w 4173056"/>
                <a:gd name="connsiteY10" fmla="*/ 3589612 h 3749191"/>
                <a:gd name="connsiteX11" fmla="*/ 3130551 w 4173056"/>
                <a:gd name="connsiteY11" fmla="*/ 2001900 h 3749191"/>
                <a:gd name="connsiteX12" fmla="*/ 2996078 w 4173056"/>
                <a:gd name="connsiteY12" fmla="*/ 1887199 h 3749191"/>
                <a:gd name="connsiteX13" fmla="*/ 823785 w 4173056"/>
                <a:gd name="connsiteY13" fmla="*/ 3321833 h 3749191"/>
                <a:gd name="connsiteX14" fmla="*/ 290240 w 4173056"/>
                <a:gd name="connsiteY14" fmla="*/ 2832792 h 3749191"/>
                <a:gd name="connsiteX15" fmla="*/ 2996078 w 4173056"/>
                <a:gd name="connsiteY15" fmla="*/ 1887199 h 3749191"/>
                <a:gd name="connsiteX16" fmla="*/ 2000723 w 4173056"/>
                <a:gd name="connsiteY16" fmla="*/ 1585020 h 3749191"/>
                <a:gd name="connsiteX17" fmla="*/ 2766068 w 4173056"/>
                <a:gd name="connsiteY17" fmla="*/ 1759405 h 3749191"/>
                <a:gd name="connsiteX18" fmla="*/ 76281 w 4173056"/>
                <a:gd name="connsiteY18" fmla="*/ 2275242 h 3749191"/>
                <a:gd name="connsiteX19" fmla="*/ 39129 w 4173056"/>
                <a:gd name="connsiteY19" fmla="*/ 1734293 h 3749191"/>
                <a:gd name="connsiteX20" fmla="*/ 2000723 w 4173056"/>
                <a:gd name="connsiteY20" fmla="*/ 1585020 h 3749191"/>
                <a:gd name="connsiteX21" fmla="*/ 710277 w 4173056"/>
                <a:gd name="connsiteY21" fmla="*/ 948374 h 3749191"/>
                <a:gd name="connsiteX22" fmla="*/ 681520 w 4173056"/>
                <a:gd name="connsiteY22" fmla="*/ 1266465 h 3749191"/>
                <a:gd name="connsiteX23" fmla="*/ 255567 w 4173056"/>
                <a:gd name="connsiteY23" fmla="*/ 1067611 h 3749191"/>
                <a:gd name="connsiteX24" fmla="*/ 2308082 w 4173056"/>
                <a:gd name="connsiteY24" fmla="*/ 964484 h 3749191"/>
                <a:gd name="connsiteX25" fmla="*/ 2765580 w 4173056"/>
                <a:gd name="connsiteY25" fmla="*/ 1072534 h 3749191"/>
                <a:gd name="connsiteX26" fmla="*/ 2344631 w 4173056"/>
                <a:gd name="connsiteY26" fmla="*/ 1281774 h 3749191"/>
                <a:gd name="connsiteX27" fmla="*/ 570760 w 4173056"/>
                <a:gd name="connsiteY27" fmla="*/ 394814 h 3749191"/>
                <a:gd name="connsiteX28" fmla="*/ 993334 w 4173056"/>
                <a:gd name="connsiteY28" fmla="*/ 600752 h 3749191"/>
                <a:gd name="connsiteX29" fmla="*/ 764200 w 4173056"/>
                <a:gd name="connsiteY29" fmla="*/ 823253 h 3749191"/>
                <a:gd name="connsiteX30" fmla="*/ 1643405 w 4173056"/>
                <a:gd name="connsiteY30" fmla="*/ 582278 h 3749191"/>
                <a:gd name="connsiteX31" fmla="*/ 2151441 w 4173056"/>
                <a:gd name="connsiteY31" fmla="*/ 1368232 h 3749191"/>
                <a:gd name="connsiteX32" fmla="*/ 861588 w 4173056"/>
                <a:gd name="connsiteY32" fmla="*/ 1355977 h 3749191"/>
                <a:gd name="connsiteX33" fmla="*/ 1643405 w 4173056"/>
                <a:gd name="connsiteY33" fmla="*/ 582278 h 3749191"/>
                <a:gd name="connsiteX34" fmla="*/ 2476381 w 4173056"/>
                <a:gd name="connsiteY34" fmla="*/ 415299 h 3749191"/>
                <a:gd name="connsiteX35" fmla="*/ 2295717 w 4173056"/>
                <a:gd name="connsiteY35" fmla="*/ 833593 h 3749191"/>
                <a:gd name="connsiteX36" fmla="*/ 2046460 w 4173056"/>
                <a:gd name="connsiteY36" fmla="*/ 566223 h 3749191"/>
                <a:gd name="connsiteX37" fmla="*/ 1131631 w 4173056"/>
                <a:gd name="connsiteY37" fmla="*/ 3836 h 3749191"/>
                <a:gd name="connsiteX38" fmla="*/ 1432953 w 4173056"/>
                <a:gd name="connsiteY38" fmla="*/ 364647 h 3749191"/>
                <a:gd name="connsiteX39" fmla="*/ 1132838 w 4173056"/>
                <a:gd name="connsiteY39" fmla="*/ 473919 h 3749191"/>
                <a:gd name="connsiteX40" fmla="*/ 1898469 w 4173056"/>
                <a:gd name="connsiteY40" fmla="*/ 0 h 3749191"/>
                <a:gd name="connsiteX41" fmla="*/ 1903721 w 4173056"/>
                <a:gd name="connsiteY41" fmla="*/ 470055 h 3749191"/>
                <a:gd name="connsiteX42" fmla="*/ 1602133 w 4173056"/>
                <a:gd name="connsiteY42" fmla="*/ 364917 h 3749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173056" h="3749191">
                  <a:moveTo>
                    <a:pt x="3477622" y="2153637"/>
                  </a:moveTo>
                  <a:cubicBezTo>
                    <a:pt x="3934558" y="2501925"/>
                    <a:pt x="4039331" y="2807670"/>
                    <a:pt x="4173056" y="3067334"/>
                  </a:cubicBezTo>
                  <a:cubicBezTo>
                    <a:pt x="4066258" y="3222762"/>
                    <a:pt x="4024565" y="3259936"/>
                    <a:pt x="3858025" y="3374418"/>
                  </a:cubicBezTo>
                  <a:cubicBezTo>
                    <a:pt x="3746901" y="2700934"/>
                    <a:pt x="3615324" y="2575315"/>
                    <a:pt x="3477622" y="2153637"/>
                  </a:cubicBezTo>
                  <a:close/>
                  <a:moveTo>
                    <a:pt x="3330497" y="2063033"/>
                  </a:moveTo>
                  <a:cubicBezTo>
                    <a:pt x="3326084" y="2679536"/>
                    <a:pt x="3375546" y="2758203"/>
                    <a:pt x="3491387" y="3522224"/>
                  </a:cubicBezTo>
                  <a:cubicBezTo>
                    <a:pt x="3199322" y="3680091"/>
                    <a:pt x="3263592" y="3652105"/>
                    <a:pt x="2959958" y="3661029"/>
                  </a:cubicBezTo>
                  <a:cubicBezTo>
                    <a:pt x="3062418" y="2652285"/>
                    <a:pt x="3144189" y="2463362"/>
                    <a:pt x="3330497" y="2063033"/>
                  </a:cubicBezTo>
                  <a:close/>
                  <a:moveTo>
                    <a:pt x="3130551" y="2001900"/>
                  </a:moveTo>
                  <a:cubicBezTo>
                    <a:pt x="2923496" y="2325404"/>
                    <a:pt x="2681184" y="2603016"/>
                    <a:pt x="2379040" y="3731672"/>
                  </a:cubicBezTo>
                  <a:cubicBezTo>
                    <a:pt x="2035865" y="3782372"/>
                    <a:pt x="1789414" y="3719400"/>
                    <a:pt x="1521177" y="3589612"/>
                  </a:cubicBezTo>
                  <a:cubicBezTo>
                    <a:pt x="2466697" y="2277110"/>
                    <a:pt x="2765649" y="2250537"/>
                    <a:pt x="3130551" y="2001900"/>
                  </a:cubicBezTo>
                  <a:close/>
                  <a:moveTo>
                    <a:pt x="2996078" y="1887199"/>
                  </a:moveTo>
                  <a:cubicBezTo>
                    <a:pt x="2684829" y="2083662"/>
                    <a:pt x="1825762" y="2396882"/>
                    <a:pt x="823785" y="3321833"/>
                  </a:cubicBezTo>
                  <a:cubicBezTo>
                    <a:pt x="508830" y="3176429"/>
                    <a:pt x="443690" y="3088231"/>
                    <a:pt x="290240" y="2832792"/>
                  </a:cubicBezTo>
                  <a:cubicBezTo>
                    <a:pt x="1725218" y="2077851"/>
                    <a:pt x="2036015" y="2038029"/>
                    <a:pt x="2996078" y="1887199"/>
                  </a:cubicBezTo>
                  <a:close/>
                  <a:moveTo>
                    <a:pt x="2000723" y="1585020"/>
                  </a:moveTo>
                  <a:cubicBezTo>
                    <a:pt x="2295319" y="1675328"/>
                    <a:pt x="2470030" y="1725251"/>
                    <a:pt x="2766068" y="1759405"/>
                  </a:cubicBezTo>
                  <a:cubicBezTo>
                    <a:pt x="1529757" y="1862250"/>
                    <a:pt x="977735" y="2030749"/>
                    <a:pt x="76281" y="2275242"/>
                  </a:cubicBezTo>
                  <a:cubicBezTo>
                    <a:pt x="-21421" y="2044638"/>
                    <a:pt x="-15435" y="1907499"/>
                    <a:pt x="39129" y="1734293"/>
                  </a:cubicBezTo>
                  <a:cubicBezTo>
                    <a:pt x="1501087" y="1550182"/>
                    <a:pt x="1381092" y="1544403"/>
                    <a:pt x="2000723" y="1585020"/>
                  </a:cubicBezTo>
                  <a:close/>
                  <a:moveTo>
                    <a:pt x="710277" y="948374"/>
                  </a:moveTo>
                  <a:lnTo>
                    <a:pt x="681520" y="1266465"/>
                  </a:lnTo>
                  <a:lnTo>
                    <a:pt x="255567" y="1067611"/>
                  </a:lnTo>
                  <a:close/>
                  <a:moveTo>
                    <a:pt x="2308082" y="964484"/>
                  </a:moveTo>
                  <a:lnTo>
                    <a:pt x="2765580" y="1072534"/>
                  </a:lnTo>
                  <a:lnTo>
                    <a:pt x="2344631" y="1281774"/>
                  </a:lnTo>
                  <a:close/>
                  <a:moveTo>
                    <a:pt x="570760" y="394814"/>
                  </a:moveTo>
                  <a:lnTo>
                    <a:pt x="993334" y="600752"/>
                  </a:lnTo>
                  <a:lnTo>
                    <a:pt x="764200" y="823253"/>
                  </a:lnTo>
                  <a:close/>
                  <a:moveTo>
                    <a:pt x="1643405" y="582278"/>
                  </a:moveTo>
                  <a:cubicBezTo>
                    <a:pt x="1909410" y="610354"/>
                    <a:pt x="2284064" y="953573"/>
                    <a:pt x="2151441" y="1368232"/>
                  </a:cubicBezTo>
                  <a:cubicBezTo>
                    <a:pt x="1591193" y="1294654"/>
                    <a:pt x="1178065" y="1335133"/>
                    <a:pt x="861588" y="1355977"/>
                  </a:cubicBezTo>
                  <a:cubicBezTo>
                    <a:pt x="851790" y="665528"/>
                    <a:pt x="1377400" y="554201"/>
                    <a:pt x="1643405" y="582278"/>
                  </a:cubicBezTo>
                  <a:close/>
                  <a:moveTo>
                    <a:pt x="2476381" y="415299"/>
                  </a:moveTo>
                  <a:lnTo>
                    <a:pt x="2295717" y="833593"/>
                  </a:lnTo>
                  <a:lnTo>
                    <a:pt x="2046460" y="566223"/>
                  </a:lnTo>
                  <a:close/>
                  <a:moveTo>
                    <a:pt x="1131631" y="3836"/>
                  </a:moveTo>
                  <a:lnTo>
                    <a:pt x="1432953" y="364647"/>
                  </a:lnTo>
                  <a:lnTo>
                    <a:pt x="1132838" y="473919"/>
                  </a:lnTo>
                  <a:close/>
                  <a:moveTo>
                    <a:pt x="1898469" y="0"/>
                  </a:moveTo>
                  <a:lnTo>
                    <a:pt x="1903721" y="470055"/>
                  </a:lnTo>
                  <a:lnTo>
                    <a:pt x="1602133" y="364917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066541" y="-238904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2108259" y="3048483"/>
            <a:ext cx="792000" cy="792000"/>
            <a:chOff x="1793182" y="-3029728"/>
            <a:chExt cx="792000" cy="792000"/>
          </a:xfrm>
        </p:grpSpPr>
        <p:sp>
          <p:nvSpPr>
            <p:cNvPr id="77" name="Freeform 76"/>
            <p:cNvSpPr/>
            <p:nvPr/>
          </p:nvSpPr>
          <p:spPr>
            <a:xfrm>
              <a:off x="2005914" y="-3000202"/>
              <a:ext cx="366536" cy="732948"/>
            </a:xfrm>
            <a:custGeom>
              <a:avLst/>
              <a:gdLst>
                <a:gd name="connsiteX0" fmla="*/ 2382975 w 2385595"/>
                <a:gd name="connsiteY0" fmla="*/ 2993094 h 4770379"/>
                <a:gd name="connsiteX1" fmla="*/ 2161836 w 2385595"/>
                <a:gd name="connsiteY1" fmla="*/ 3771221 h 4770379"/>
                <a:gd name="connsiteX2" fmla="*/ 1534319 w 2385595"/>
                <a:gd name="connsiteY2" fmla="*/ 4075791 h 4770379"/>
                <a:gd name="connsiteX3" fmla="*/ 1399694 w 2385595"/>
                <a:gd name="connsiteY3" fmla="*/ 4093655 h 4770379"/>
                <a:gd name="connsiteX4" fmla="*/ 1403346 w 2385595"/>
                <a:gd name="connsiteY4" fmla="*/ 4696282 h 4770379"/>
                <a:gd name="connsiteX5" fmla="*/ 1057788 w 2385595"/>
                <a:gd name="connsiteY5" fmla="*/ 4696282 h 4770379"/>
                <a:gd name="connsiteX6" fmla="*/ 1050535 w 2385595"/>
                <a:gd name="connsiteY6" fmla="*/ 4083316 h 4770379"/>
                <a:gd name="connsiteX7" fmla="*/ 954165 w 2385595"/>
                <a:gd name="connsiteY7" fmla="*/ 4072839 h 4770379"/>
                <a:gd name="connsiteX8" fmla="*/ 351256 w 2385595"/>
                <a:gd name="connsiteY8" fmla="*/ 3853010 h 4770379"/>
                <a:gd name="connsiteX9" fmla="*/ 0 w 2385595"/>
                <a:gd name="connsiteY9" fmla="*/ 3073255 h 4770379"/>
                <a:gd name="connsiteX10" fmla="*/ 811954 w 2385595"/>
                <a:gd name="connsiteY10" fmla="*/ 3330281 h 4770379"/>
                <a:gd name="connsiteX11" fmla="*/ 1062413 w 2385595"/>
                <a:gd name="connsiteY11" fmla="*/ 3813265 h 4770379"/>
                <a:gd name="connsiteX12" fmla="*/ 1062739 w 2385595"/>
                <a:gd name="connsiteY12" fmla="*/ 3815066 h 4770379"/>
                <a:gd name="connsiteX13" fmla="*/ 1088399 w 2385595"/>
                <a:gd name="connsiteY13" fmla="*/ 3843446 h 4770379"/>
                <a:gd name="connsiteX14" fmla="*/ 1338653 w 2385595"/>
                <a:gd name="connsiteY14" fmla="*/ 3857118 h 4770379"/>
                <a:gd name="connsiteX15" fmla="*/ 1377947 w 2385595"/>
                <a:gd name="connsiteY15" fmla="*/ 3831956 h 4770379"/>
                <a:gd name="connsiteX16" fmla="*/ 1379065 w 2385595"/>
                <a:gd name="connsiteY16" fmla="*/ 3816246 h 4770379"/>
                <a:gd name="connsiteX17" fmla="*/ 1661054 w 2385595"/>
                <a:gd name="connsiteY17" fmla="*/ 3291415 h 4770379"/>
                <a:gd name="connsiteX18" fmla="*/ 2382975 w 2385595"/>
                <a:gd name="connsiteY18" fmla="*/ 2993094 h 4770379"/>
                <a:gd name="connsiteX19" fmla="*/ 0 w 2385595"/>
                <a:gd name="connsiteY19" fmla="*/ 2081743 h 4770379"/>
                <a:gd name="connsiteX20" fmla="*/ 811955 w 2385595"/>
                <a:gd name="connsiteY20" fmla="*/ 2338769 h 4770379"/>
                <a:gd name="connsiteX21" fmla="*/ 1096712 w 2385595"/>
                <a:gd name="connsiteY21" fmla="*/ 3096824 h 4770379"/>
                <a:gd name="connsiteX22" fmla="*/ 351256 w 2385595"/>
                <a:gd name="connsiteY22" fmla="*/ 2861497 h 4770379"/>
                <a:gd name="connsiteX23" fmla="*/ 0 w 2385595"/>
                <a:gd name="connsiteY23" fmla="*/ 2081743 h 4770379"/>
                <a:gd name="connsiteX24" fmla="*/ 2382975 w 2385595"/>
                <a:gd name="connsiteY24" fmla="*/ 1993394 h 4770379"/>
                <a:gd name="connsiteX25" fmla="*/ 2161836 w 2385595"/>
                <a:gd name="connsiteY25" fmla="*/ 2771521 h 4770379"/>
                <a:gd name="connsiteX26" fmla="*/ 1375572 w 2385595"/>
                <a:gd name="connsiteY26" fmla="*/ 3097156 h 4770379"/>
                <a:gd name="connsiteX27" fmla="*/ 1661054 w 2385595"/>
                <a:gd name="connsiteY27" fmla="*/ 2291714 h 4770379"/>
                <a:gd name="connsiteX28" fmla="*/ 2382975 w 2385595"/>
                <a:gd name="connsiteY28" fmla="*/ 1993394 h 4770379"/>
                <a:gd name="connsiteX29" fmla="*/ 0 w 2385595"/>
                <a:gd name="connsiteY29" fmla="*/ 1082042 h 4770379"/>
                <a:gd name="connsiteX30" fmla="*/ 811955 w 2385595"/>
                <a:gd name="connsiteY30" fmla="*/ 1339068 h 4770379"/>
                <a:gd name="connsiteX31" fmla="*/ 1096712 w 2385595"/>
                <a:gd name="connsiteY31" fmla="*/ 2097123 h 4770379"/>
                <a:gd name="connsiteX32" fmla="*/ 351256 w 2385595"/>
                <a:gd name="connsiteY32" fmla="*/ 1861796 h 4770379"/>
                <a:gd name="connsiteX33" fmla="*/ 0 w 2385595"/>
                <a:gd name="connsiteY33" fmla="*/ 1082042 h 4770379"/>
                <a:gd name="connsiteX34" fmla="*/ 2382975 w 2385595"/>
                <a:gd name="connsiteY34" fmla="*/ 1009688 h 4770379"/>
                <a:gd name="connsiteX35" fmla="*/ 2161836 w 2385595"/>
                <a:gd name="connsiteY35" fmla="*/ 1787815 h 4770379"/>
                <a:gd name="connsiteX36" fmla="*/ 1375572 w 2385595"/>
                <a:gd name="connsiteY36" fmla="*/ 2113449 h 4770379"/>
                <a:gd name="connsiteX37" fmla="*/ 1661054 w 2385595"/>
                <a:gd name="connsiteY37" fmla="*/ 1308008 h 4770379"/>
                <a:gd name="connsiteX38" fmla="*/ 2382975 w 2385595"/>
                <a:gd name="connsiteY38" fmla="*/ 1009688 h 4770379"/>
                <a:gd name="connsiteX39" fmla="*/ 1212057 w 2385595"/>
                <a:gd name="connsiteY39" fmla="*/ 0 h 4770379"/>
                <a:gd name="connsiteX40" fmla="*/ 1622832 w 2385595"/>
                <a:gd name="connsiteY40" fmla="*/ 692010 h 4770379"/>
                <a:gd name="connsiteX41" fmla="*/ 1228006 w 2385595"/>
                <a:gd name="connsiteY41" fmla="*/ 1354282 h 4770379"/>
                <a:gd name="connsiteX42" fmla="*/ 797965 w 2385595"/>
                <a:gd name="connsiteY42" fmla="*/ 679799 h 4770379"/>
                <a:gd name="connsiteX43" fmla="*/ 1212057 w 2385595"/>
                <a:gd name="connsiteY43" fmla="*/ 0 h 47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385595" h="4770379">
                  <a:moveTo>
                    <a:pt x="2382975" y="2993094"/>
                  </a:moveTo>
                  <a:cubicBezTo>
                    <a:pt x="2407778" y="3390780"/>
                    <a:pt x="2250570" y="3679030"/>
                    <a:pt x="2161836" y="3771221"/>
                  </a:cubicBezTo>
                  <a:cubicBezTo>
                    <a:pt x="2077616" y="3852016"/>
                    <a:pt x="1882558" y="4011773"/>
                    <a:pt x="1534319" y="4075791"/>
                  </a:cubicBezTo>
                  <a:lnTo>
                    <a:pt x="1399694" y="4093655"/>
                  </a:lnTo>
                  <a:lnTo>
                    <a:pt x="1403346" y="4696282"/>
                  </a:lnTo>
                  <a:cubicBezTo>
                    <a:pt x="1256263" y="4807924"/>
                    <a:pt x="1141077" y="4781343"/>
                    <a:pt x="1057788" y="4696282"/>
                  </a:cubicBezTo>
                  <a:lnTo>
                    <a:pt x="1050535" y="4083316"/>
                  </a:lnTo>
                  <a:lnTo>
                    <a:pt x="954165" y="4072839"/>
                  </a:lnTo>
                  <a:cubicBezTo>
                    <a:pt x="637319" y="4026844"/>
                    <a:pt x="431509" y="3917199"/>
                    <a:pt x="351256" y="3853010"/>
                  </a:cubicBezTo>
                  <a:cubicBezTo>
                    <a:pt x="218533" y="3703997"/>
                    <a:pt x="14798" y="3667859"/>
                    <a:pt x="0" y="3073255"/>
                  </a:cubicBezTo>
                  <a:cubicBezTo>
                    <a:pt x="451497" y="3072070"/>
                    <a:pt x="708247" y="3246402"/>
                    <a:pt x="811954" y="3330281"/>
                  </a:cubicBezTo>
                  <a:cubicBezTo>
                    <a:pt x="884095" y="3393570"/>
                    <a:pt x="1003758" y="3563675"/>
                    <a:pt x="1062413" y="3813265"/>
                  </a:cubicBezTo>
                  <a:lnTo>
                    <a:pt x="1062739" y="3815066"/>
                  </a:lnTo>
                  <a:lnTo>
                    <a:pt x="1088399" y="3843446"/>
                  </a:lnTo>
                  <a:cubicBezTo>
                    <a:pt x="1165807" y="3907317"/>
                    <a:pt x="1267255" y="3891339"/>
                    <a:pt x="1338653" y="3857118"/>
                  </a:cubicBezTo>
                  <a:lnTo>
                    <a:pt x="1377947" y="3831956"/>
                  </a:lnTo>
                  <a:lnTo>
                    <a:pt x="1379065" y="3816246"/>
                  </a:lnTo>
                  <a:cubicBezTo>
                    <a:pt x="1413717" y="3480725"/>
                    <a:pt x="1563736" y="3421080"/>
                    <a:pt x="1661054" y="3291415"/>
                  </a:cubicBezTo>
                  <a:cubicBezTo>
                    <a:pt x="1746246" y="3210570"/>
                    <a:pt x="1989632" y="3056543"/>
                    <a:pt x="2382975" y="2993094"/>
                  </a:cubicBezTo>
                  <a:close/>
                  <a:moveTo>
                    <a:pt x="0" y="2081743"/>
                  </a:moveTo>
                  <a:cubicBezTo>
                    <a:pt x="451497" y="2080558"/>
                    <a:pt x="708248" y="2254890"/>
                    <a:pt x="811955" y="2338769"/>
                  </a:cubicBezTo>
                  <a:cubicBezTo>
                    <a:pt x="908142" y="2423155"/>
                    <a:pt x="1088815" y="2697434"/>
                    <a:pt x="1096712" y="3096824"/>
                  </a:cubicBezTo>
                  <a:cubicBezTo>
                    <a:pt x="698685" y="3067586"/>
                    <a:pt x="442975" y="2934857"/>
                    <a:pt x="351256" y="2861497"/>
                  </a:cubicBezTo>
                  <a:cubicBezTo>
                    <a:pt x="218533" y="2712485"/>
                    <a:pt x="14798" y="2676347"/>
                    <a:pt x="0" y="2081743"/>
                  </a:cubicBezTo>
                  <a:close/>
                  <a:moveTo>
                    <a:pt x="2382975" y="1993394"/>
                  </a:moveTo>
                  <a:cubicBezTo>
                    <a:pt x="2407778" y="2391080"/>
                    <a:pt x="2250570" y="2679329"/>
                    <a:pt x="2161836" y="2771521"/>
                  </a:cubicBezTo>
                  <a:cubicBezTo>
                    <a:pt x="2065584" y="2863858"/>
                    <a:pt x="1824566" y="3059329"/>
                    <a:pt x="1375572" y="3097156"/>
                  </a:cubicBezTo>
                  <a:cubicBezTo>
                    <a:pt x="1341671" y="2504825"/>
                    <a:pt x="1541278" y="2451302"/>
                    <a:pt x="1661054" y="2291714"/>
                  </a:cubicBezTo>
                  <a:cubicBezTo>
                    <a:pt x="1746246" y="2210869"/>
                    <a:pt x="1989632" y="2056843"/>
                    <a:pt x="2382975" y="1993394"/>
                  </a:cubicBezTo>
                  <a:close/>
                  <a:moveTo>
                    <a:pt x="0" y="1082042"/>
                  </a:moveTo>
                  <a:cubicBezTo>
                    <a:pt x="451497" y="1080857"/>
                    <a:pt x="708248" y="1255189"/>
                    <a:pt x="811955" y="1339068"/>
                  </a:cubicBezTo>
                  <a:cubicBezTo>
                    <a:pt x="908142" y="1423454"/>
                    <a:pt x="1088815" y="1697733"/>
                    <a:pt x="1096712" y="2097123"/>
                  </a:cubicBezTo>
                  <a:cubicBezTo>
                    <a:pt x="698685" y="2067885"/>
                    <a:pt x="442975" y="1935156"/>
                    <a:pt x="351256" y="1861796"/>
                  </a:cubicBezTo>
                  <a:cubicBezTo>
                    <a:pt x="218533" y="1712784"/>
                    <a:pt x="14798" y="1676646"/>
                    <a:pt x="0" y="1082042"/>
                  </a:cubicBezTo>
                  <a:close/>
                  <a:moveTo>
                    <a:pt x="2382975" y="1009688"/>
                  </a:moveTo>
                  <a:cubicBezTo>
                    <a:pt x="2407778" y="1407374"/>
                    <a:pt x="2250570" y="1695623"/>
                    <a:pt x="2161836" y="1787815"/>
                  </a:cubicBezTo>
                  <a:cubicBezTo>
                    <a:pt x="2065584" y="1880152"/>
                    <a:pt x="1824566" y="2075623"/>
                    <a:pt x="1375572" y="2113449"/>
                  </a:cubicBezTo>
                  <a:cubicBezTo>
                    <a:pt x="1341671" y="1521119"/>
                    <a:pt x="1541278" y="1467596"/>
                    <a:pt x="1661054" y="1308008"/>
                  </a:cubicBezTo>
                  <a:cubicBezTo>
                    <a:pt x="1746246" y="1227163"/>
                    <a:pt x="1989632" y="1073137"/>
                    <a:pt x="2382975" y="1009688"/>
                  </a:cubicBezTo>
                  <a:close/>
                  <a:moveTo>
                    <a:pt x="1212057" y="0"/>
                  </a:moveTo>
                  <a:cubicBezTo>
                    <a:pt x="1536781" y="217283"/>
                    <a:pt x="1622832" y="564053"/>
                    <a:pt x="1622832" y="692010"/>
                  </a:cubicBezTo>
                  <a:cubicBezTo>
                    <a:pt x="1617516" y="825285"/>
                    <a:pt x="1498409" y="1240745"/>
                    <a:pt x="1228006" y="1354282"/>
                  </a:cubicBezTo>
                  <a:cubicBezTo>
                    <a:pt x="888912" y="1234850"/>
                    <a:pt x="797966" y="775860"/>
                    <a:pt x="797965" y="679799"/>
                  </a:cubicBezTo>
                  <a:cubicBezTo>
                    <a:pt x="803282" y="562473"/>
                    <a:pt x="868567" y="256338"/>
                    <a:pt x="1212057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1793182" y="-302972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1029682" y="3370313"/>
            <a:ext cx="792000" cy="792000"/>
            <a:chOff x="3426813" y="-1399385"/>
            <a:chExt cx="792000" cy="792000"/>
          </a:xfrm>
        </p:grpSpPr>
        <p:sp>
          <p:nvSpPr>
            <p:cNvPr id="79" name="Freeform 78"/>
            <p:cNvSpPr/>
            <p:nvPr/>
          </p:nvSpPr>
          <p:spPr>
            <a:xfrm>
              <a:off x="3457278" y="-1318405"/>
              <a:ext cx="731071" cy="630041"/>
            </a:xfrm>
            <a:custGeom>
              <a:avLst/>
              <a:gdLst>
                <a:gd name="connsiteX0" fmla="*/ 2123745 w 3445095"/>
                <a:gd name="connsiteY0" fmla="*/ 2369896 h 2969003"/>
                <a:gd name="connsiteX1" fmla="*/ 2049201 w 3445095"/>
                <a:gd name="connsiteY1" fmla="*/ 2632196 h 2969003"/>
                <a:gd name="connsiteX2" fmla="*/ 1837671 w 3445095"/>
                <a:gd name="connsiteY2" fmla="*/ 2734864 h 2969003"/>
                <a:gd name="connsiteX3" fmla="*/ 1792290 w 3445095"/>
                <a:gd name="connsiteY3" fmla="*/ 2740886 h 2969003"/>
                <a:gd name="connsiteX4" fmla="*/ 1793521 w 3445095"/>
                <a:gd name="connsiteY4" fmla="*/ 2944026 h 2969003"/>
                <a:gd name="connsiteX5" fmla="*/ 1677036 w 3445095"/>
                <a:gd name="connsiteY5" fmla="*/ 2944026 h 2969003"/>
                <a:gd name="connsiteX6" fmla="*/ 1674591 w 3445095"/>
                <a:gd name="connsiteY6" fmla="*/ 2737400 h 2969003"/>
                <a:gd name="connsiteX7" fmla="*/ 1642106 w 3445095"/>
                <a:gd name="connsiteY7" fmla="*/ 2733869 h 2969003"/>
                <a:gd name="connsiteX8" fmla="*/ 1438871 w 3445095"/>
                <a:gd name="connsiteY8" fmla="*/ 2659766 h 2969003"/>
                <a:gd name="connsiteX9" fmla="*/ 1320465 w 3445095"/>
                <a:gd name="connsiteY9" fmla="*/ 2396918 h 2969003"/>
                <a:gd name="connsiteX10" fmla="*/ 1594168 w 3445095"/>
                <a:gd name="connsiteY10" fmla="*/ 2483559 h 2969003"/>
                <a:gd name="connsiteX11" fmla="*/ 1678595 w 3445095"/>
                <a:gd name="connsiteY11" fmla="*/ 2646369 h 2969003"/>
                <a:gd name="connsiteX12" fmla="*/ 1678705 w 3445095"/>
                <a:gd name="connsiteY12" fmla="*/ 2646976 h 2969003"/>
                <a:gd name="connsiteX13" fmla="*/ 1687355 w 3445095"/>
                <a:gd name="connsiteY13" fmla="*/ 2656542 h 2969003"/>
                <a:gd name="connsiteX14" fmla="*/ 1771713 w 3445095"/>
                <a:gd name="connsiteY14" fmla="*/ 2661151 h 2969003"/>
                <a:gd name="connsiteX15" fmla="*/ 1784959 w 3445095"/>
                <a:gd name="connsiteY15" fmla="*/ 2652669 h 2969003"/>
                <a:gd name="connsiteX16" fmla="*/ 1785336 w 3445095"/>
                <a:gd name="connsiteY16" fmla="*/ 2647374 h 2969003"/>
                <a:gd name="connsiteX17" fmla="*/ 1880392 w 3445095"/>
                <a:gd name="connsiteY17" fmla="*/ 2470458 h 2969003"/>
                <a:gd name="connsiteX18" fmla="*/ 2123745 w 3445095"/>
                <a:gd name="connsiteY18" fmla="*/ 2369896 h 2969003"/>
                <a:gd name="connsiteX19" fmla="*/ 1320465 w 3445095"/>
                <a:gd name="connsiteY19" fmla="*/ 2062688 h 2969003"/>
                <a:gd name="connsiteX20" fmla="*/ 1594168 w 3445095"/>
                <a:gd name="connsiteY20" fmla="*/ 2149329 h 2969003"/>
                <a:gd name="connsiteX21" fmla="*/ 1690157 w 3445095"/>
                <a:gd name="connsiteY21" fmla="*/ 2404863 h 2969003"/>
                <a:gd name="connsiteX22" fmla="*/ 1438871 w 3445095"/>
                <a:gd name="connsiteY22" fmla="*/ 2325536 h 2969003"/>
                <a:gd name="connsiteX23" fmla="*/ 1320465 w 3445095"/>
                <a:gd name="connsiteY23" fmla="*/ 2062688 h 2969003"/>
                <a:gd name="connsiteX24" fmla="*/ 2123745 w 3445095"/>
                <a:gd name="connsiteY24" fmla="*/ 2032906 h 2969003"/>
                <a:gd name="connsiteX25" fmla="*/ 2049201 w 3445095"/>
                <a:gd name="connsiteY25" fmla="*/ 2295206 h 2969003"/>
                <a:gd name="connsiteX26" fmla="*/ 1784158 w 3445095"/>
                <a:gd name="connsiteY26" fmla="*/ 2404975 h 2969003"/>
                <a:gd name="connsiteX27" fmla="*/ 1880392 w 3445095"/>
                <a:gd name="connsiteY27" fmla="*/ 2133467 h 2969003"/>
                <a:gd name="connsiteX28" fmla="*/ 2123745 w 3445095"/>
                <a:gd name="connsiteY28" fmla="*/ 2032906 h 2969003"/>
                <a:gd name="connsiteX29" fmla="*/ 1320465 w 3445095"/>
                <a:gd name="connsiteY29" fmla="*/ 1725698 h 2969003"/>
                <a:gd name="connsiteX30" fmla="*/ 1594168 w 3445095"/>
                <a:gd name="connsiteY30" fmla="*/ 1812339 h 2969003"/>
                <a:gd name="connsiteX31" fmla="*/ 1690157 w 3445095"/>
                <a:gd name="connsiteY31" fmla="*/ 2067873 h 2969003"/>
                <a:gd name="connsiteX32" fmla="*/ 1438871 w 3445095"/>
                <a:gd name="connsiteY32" fmla="*/ 1988546 h 2969003"/>
                <a:gd name="connsiteX33" fmla="*/ 1320465 w 3445095"/>
                <a:gd name="connsiteY33" fmla="*/ 1725698 h 2969003"/>
                <a:gd name="connsiteX34" fmla="*/ 2123745 w 3445095"/>
                <a:gd name="connsiteY34" fmla="*/ 1701308 h 2969003"/>
                <a:gd name="connsiteX35" fmla="*/ 2049201 w 3445095"/>
                <a:gd name="connsiteY35" fmla="*/ 1963608 h 2969003"/>
                <a:gd name="connsiteX36" fmla="*/ 1784158 w 3445095"/>
                <a:gd name="connsiteY36" fmla="*/ 2073376 h 2969003"/>
                <a:gd name="connsiteX37" fmla="*/ 1880392 w 3445095"/>
                <a:gd name="connsiteY37" fmla="*/ 1801869 h 2969003"/>
                <a:gd name="connsiteX38" fmla="*/ 2123745 w 3445095"/>
                <a:gd name="connsiteY38" fmla="*/ 1701308 h 2969003"/>
                <a:gd name="connsiteX39" fmla="*/ 1729039 w 3445095"/>
                <a:gd name="connsiteY39" fmla="*/ 1360951 h 2969003"/>
                <a:gd name="connsiteX40" fmla="*/ 1867508 w 3445095"/>
                <a:gd name="connsiteY40" fmla="*/ 1594222 h 2969003"/>
                <a:gd name="connsiteX41" fmla="*/ 1734415 w 3445095"/>
                <a:gd name="connsiteY41" fmla="*/ 1817468 h 2969003"/>
                <a:gd name="connsiteX42" fmla="*/ 1589452 w 3445095"/>
                <a:gd name="connsiteY42" fmla="*/ 1590105 h 2969003"/>
                <a:gd name="connsiteX43" fmla="*/ 1729039 w 3445095"/>
                <a:gd name="connsiteY43" fmla="*/ 1360951 h 2969003"/>
                <a:gd name="connsiteX44" fmla="*/ 1717656 w 3445095"/>
                <a:gd name="connsiteY44" fmla="*/ 0 h 2969003"/>
                <a:gd name="connsiteX45" fmla="*/ 2793209 w 3445095"/>
                <a:gd name="connsiteY45" fmla="*/ 693418 h 2969003"/>
                <a:gd name="connsiteX46" fmla="*/ 3292138 w 3445095"/>
                <a:gd name="connsiteY46" fmla="*/ 1591356 h 2969003"/>
                <a:gd name="connsiteX47" fmla="*/ 3445095 w 3445095"/>
                <a:gd name="connsiteY47" fmla="*/ 2969003 h 2969003"/>
                <a:gd name="connsiteX48" fmla="*/ 3199104 w 3445095"/>
                <a:gd name="connsiteY48" fmla="*/ 2969003 h 2969003"/>
                <a:gd name="connsiteX49" fmla="*/ 3057226 w 3445095"/>
                <a:gd name="connsiteY49" fmla="*/ 1691148 h 2969003"/>
                <a:gd name="connsiteX50" fmla="*/ 2632724 w 3445095"/>
                <a:gd name="connsiteY50" fmla="*/ 927157 h 2969003"/>
                <a:gd name="connsiteX51" fmla="*/ 1717613 w 3445095"/>
                <a:gd name="connsiteY51" fmla="*/ 337178 h 2969003"/>
                <a:gd name="connsiteX52" fmla="*/ 870599 w 3445095"/>
                <a:gd name="connsiteY52" fmla="*/ 910098 h 2969003"/>
                <a:gd name="connsiteX53" fmla="*/ 356249 w 3445095"/>
                <a:gd name="connsiteY53" fmla="*/ 1795923 h 2969003"/>
                <a:gd name="connsiteX54" fmla="*/ 246273 w 3445095"/>
                <a:gd name="connsiteY54" fmla="*/ 2969003 h 2969003"/>
                <a:gd name="connsiteX55" fmla="*/ 0 w 3445095"/>
                <a:gd name="connsiteY55" fmla="*/ 2969003 h 2969003"/>
                <a:gd name="connsiteX56" fmla="*/ 117610 w 3445095"/>
                <a:gd name="connsiteY56" fmla="*/ 1714500 h 2969003"/>
                <a:gd name="connsiteX57" fmla="*/ 722139 w 3445095"/>
                <a:gd name="connsiteY57" fmla="*/ 673368 h 2969003"/>
                <a:gd name="connsiteX58" fmla="*/ 1717656 w 3445095"/>
                <a:gd name="connsiteY58" fmla="*/ 0 h 2969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445095" h="2969003">
                  <a:moveTo>
                    <a:pt x="2123745" y="2369896"/>
                  </a:moveTo>
                  <a:cubicBezTo>
                    <a:pt x="2132106" y="2503953"/>
                    <a:pt x="2079112" y="2601119"/>
                    <a:pt x="2049201" y="2632196"/>
                  </a:cubicBezTo>
                  <a:cubicBezTo>
                    <a:pt x="2020811" y="2659431"/>
                    <a:pt x="1955059" y="2713284"/>
                    <a:pt x="1837671" y="2734864"/>
                  </a:cubicBezTo>
                  <a:lnTo>
                    <a:pt x="1792290" y="2740886"/>
                  </a:lnTo>
                  <a:lnTo>
                    <a:pt x="1793521" y="2944026"/>
                  </a:lnTo>
                  <a:cubicBezTo>
                    <a:pt x="1743940" y="2981659"/>
                    <a:pt x="1705112" y="2972699"/>
                    <a:pt x="1677036" y="2944026"/>
                  </a:cubicBezTo>
                  <a:lnTo>
                    <a:pt x="1674591" y="2737400"/>
                  </a:lnTo>
                  <a:lnTo>
                    <a:pt x="1642106" y="2733869"/>
                  </a:lnTo>
                  <a:cubicBezTo>
                    <a:pt x="1535300" y="2718364"/>
                    <a:pt x="1465923" y="2681404"/>
                    <a:pt x="1438871" y="2659766"/>
                  </a:cubicBezTo>
                  <a:cubicBezTo>
                    <a:pt x="1394131" y="2609535"/>
                    <a:pt x="1325454" y="2597354"/>
                    <a:pt x="1320465" y="2396918"/>
                  </a:cubicBezTo>
                  <a:cubicBezTo>
                    <a:pt x="1472661" y="2396518"/>
                    <a:pt x="1559209" y="2455284"/>
                    <a:pt x="1594168" y="2483559"/>
                  </a:cubicBezTo>
                  <a:cubicBezTo>
                    <a:pt x="1618486" y="2504893"/>
                    <a:pt x="1658823" y="2562234"/>
                    <a:pt x="1678595" y="2646369"/>
                  </a:cubicBezTo>
                  <a:lnTo>
                    <a:pt x="1678705" y="2646976"/>
                  </a:lnTo>
                  <a:lnTo>
                    <a:pt x="1687355" y="2656542"/>
                  </a:lnTo>
                  <a:cubicBezTo>
                    <a:pt x="1713448" y="2678073"/>
                    <a:pt x="1747646" y="2672687"/>
                    <a:pt x="1771713" y="2661151"/>
                  </a:cubicBezTo>
                  <a:lnTo>
                    <a:pt x="1784959" y="2652669"/>
                  </a:lnTo>
                  <a:lnTo>
                    <a:pt x="1785336" y="2647374"/>
                  </a:lnTo>
                  <a:cubicBezTo>
                    <a:pt x="1797017" y="2534272"/>
                    <a:pt x="1847587" y="2514167"/>
                    <a:pt x="1880392" y="2470458"/>
                  </a:cubicBezTo>
                  <a:cubicBezTo>
                    <a:pt x="1909109" y="2443206"/>
                    <a:pt x="1991153" y="2391284"/>
                    <a:pt x="2123745" y="2369896"/>
                  </a:cubicBezTo>
                  <a:close/>
                  <a:moveTo>
                    <a:pt x="1320465" y="2062688"/>
                  </a:moveTo>
                  <a:cubicBezTo>
                    <a:pt x="1472661" y="2062289"/>
                    <a:pt x="1559209" y="2121054"/>
                    <a:pt x="1594168" y="2149329"/>
                  </a:cubicBezTo>
                  <a:cubicBezTo>
                    <a:pt x="1626592" y="2177775"/>
                    <a:pt x="1687495" y="2270232"/>
                    <a:pt x="1690157" y="2404863"/>
                  </a:cubicBezTo>
                  <a:cubicBezTo>
                    <a:pt x="1555986" y="2395007"/>
                    <a:pt x="1469788" y="2350265"/>
                    <a:pt x="1438871" y="2325536"/>
                  </a:cubicBezTo>
                  <a:cubicBezTo>
                    <a:pt x="1394131" y="2275306"/>
                    <a:pt x="1325454" y="2263124"/>
                    <a:pt x="1320465" y="2062688"/>
                  </a:cubicBezTo>
                  <a:close/>
                  <a:moveTo>
                    <a:pt x="2123745" y="2032906"/>
                  </a:moveTo>
                  <a:cubicBezTo>
                    <a:pt x="2132106" y="2166963"/>
                    <a:pt x="2079112" y="2264129"/>
                    <a:pt x="2049201" y="2295206"/>
                  </a:cubicBezTo>
                  <a:cubicBezTo>
                    <a:pt x="2016755" y="2326332"/>
                    <a:pt x="1935510" y="2392224"/>
                    <a:pt x="1784158" y="2404975"/>
                  </a:cubicBezTo>
                  <a:cubicBezTo>
                    <a:pt x="1772731" y="2205305"/>
                    <a:pt x="1840016" y="2187263"/>
                    <a:pt x="1880392" y="2133467"/>
                  </a:cubicBezTo>
                  <a:cubicBezTo>
                    <a:pt x="1909109" y="2106215"/>
                    <a:pt x="1991153" y="2054295"/>
                    <a:pt x="2123745" y="2032906"/>
                  </a:cubicBezTo>
                  <a:close/>
                  <a:moveTo>
                    <a:pt x="1320465" y="1725698"/>
                  </a:moveTo>
                  <a:cubicBezTo>
                    <a:pt x="1472661" y="1725298"/>
                    <a:pt x="1559209" y="1784064"/>
                    <a:pt x="1594168" y="1812339"/>
                  </a:cubicBezTo>
                  <a:cubicBezTo>
                    <a:pt x="1626592" y="1840785"/>
                    <a:pt x="1687495" y="1933242"/>
                    <a:pt x="1690157" y="2067873"/>
                  </a:cubicBezTo>
                  <a:cubicBezTo>
                    <a:pt x="1555986" y="2058017"/>
                    <a:pt x="1469788" y="2013275"/>
                    <a:pt x="1438871" y="1988546"/>
                  </a:cubicBezTo>
                  <a:cubicBezTo>
                    <a:pt x="1394131" y="1938315"/>
                    <a:pt x="1325454" y="1926134"/>
                    <a:pt x="1320465" y="1725698"/>
                  </a:cubicBezTo>
                  <a:close/>
                  <a:moveTo>
                    <a:pt x="2123745" y="1701308"/>
                  </a:moveTo>
                  <a:cubicBezTo>
                    <a:pt x="2132106" y="1835364"/>
                    <a:pt x="2079112" y="1932531"/>
                    <a:pt x="2049201" y="1963608"/>
                  </a:cubicBezTo>
                  <a:cubicBezTo>
                    <a:pt x="2016755" y="1994734"/>
                    <a:pt x="1935510" y="2060625"/>
                    <a:pt x="1784158" y="2073376"/>
                  </a:cubicBezTo>
                  <a:cubicBezTo>
                    <a:pt x="1772731" y="1873707"/>
                    <a:pt x="1840016" y="1855665"/>
                    <a:pt x="1880392" y="1801869"/>
                  </a:cubicBezTo>
                  <a:cubicBezTo>
                    <a:pt x="1909109" y="1774617"/>
                    <a:pt x="1991153" y="1722696"/>
                    <a:pt x="2123745" y="1701308"/>
                  </a:cubicBezTo>
                  <a:close/>
                  <a:moveTo>
                    <a:pt x="1729039" y="1360951"/>
                  </a:moveTo>
                  <a:cubicBezTo>
                    <a:pt x="1838501" y="1434195"/>
                    <a:pt x="1867508" y="1551088"/>
                    <a:pt x="1867508" y="1594222"/>
                  </a:cubicBezTo>
                  <a:cubicBezTo>
                    <a:pt x="1865716" y="1639147"/>
                    <a:pt x="1825566" y="1779195"/>
                    <a:pt x="1734415" y="1817468"/>
                  </a:cubicBezTo>
                  <a:cubicBezTo>
                    <a:pt x="1620110" y="1777208"/>
                    <a:pt x="1589453" y="1622487"/>
                    <a:pt x="1589452" y="1590105"/>
                  </a:cubicBezTo>
                  <a:cubicBezTo>
                    <a:pt x="1591245" y="1550556"/>
                    <a:pt x="1613251" y="1447360"/>
                    <a:pt x="1729039" y="1360951"/>
                  </a:cubicBezTo>
                  <a:close/>
                  <a:moveTo>
                    <a:pt x="1717656" y="0"/>
                  </a:moveTo>
                  <a:lnTo>
                    <a:pt x="2793209" y="693418"/>
                  </a:lnTo>
                  <a:cubicBezTo>
                    <a:pt x="3068071" y="1182210"/>
                    <a:pt x="2900981" y="873986"/>
                    <a:pt x="3292138" y="1591356"/>
                  </a:cubicBezTo>
                  <a:lnTo>
                    <a:pt x="3445095" y="2969003"/>
                  </a:lnTo>
                  <a:lnTo>
                    <a:pt x="3199104" y="2969003"/>
                  </a:lnTo>
                  <a:lnTo>
                    <a:pt x="3057226" y="1691148"/>
                  </a:lnTo>
                  <a:cubicBezTo>
                    <a:pt x="2724419" y="1080790"/>
                    <a:pt x="2866584" y="1343035"/>
                    <a:pt x="2632724" y="927157"/>
                  </a:cubicBezTo>
                  <a:lnTo>
                    <a:pt x="1717613" y="337178"/>
                  </a:lnTo>
                  <a:cubicBezTo>
                    <a:pt x="1026009" y="800893"/>
                    <a:pt x="1573458" y="414490"/>
                    <a:pt x="870599" y="910098"/>
                  </a:cubicBezTo>
                  <a:cubicBezTo>
                    <a:pt x="355396" y="1794667"/>
                    <a:pt x="516895" y="1472073"/>
                    <a:pt x="356249" y="1795923"/>
                  </a:cubicBezTo>
                  <a:lnTo>
                    <a:pt x="246273" y="2969003"/>
                  </a:lnTo>
                  <a:lnTo>
                    <a:pt x="0" y="2969003"/>
                  </a:lnTo>
                  <a:lnTo>
                    <a:pt x="117610" y="1714500"/>
                  </a:lnTo>
                  <a:cubicBezTo>
                    <a:pt x="306421" y="1333871"/>
                    <a:pt x="116607" y="1713024"/>
                    <a:pt x="722139" y="673368"/>
                  </a:cubicBezTo>
                  <a:cubicBezTo>
                    <a:pt x="1548227" y="90867"/>
                    <a:pt x="904796" y="545016"/>
                    <a:pt x="1717656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3426813" y="-139938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11831" y="3076067"/>
            <a:ext cx="792000" cy="792000"/>
            <a:chOff x="4358969" y="-1440032"/>
            <a:chExt cx="792000" cy="792000"/>
          </a:xfrm>
        </p:grpSpPr>
        <p:sp>
          <p:nvSpPr>
            <p:cNvPr id="89" name="Freeform 88"/>
            <p:cNvSpPr/>
            <p:nvPr/>
          </p:nvSpPr>
          <p:spPr>
            <a:xfrm>
              <a:off x="4390090" y="-1190973"/>
              <a:ext cx="729759" cy="293883"/>
            </a:xfrm>
            <a:custGeom>
              <a:avLst/>
              <a:gdLst>
                <a:gd name="connsiteX0" fmla="*/ 4627974 w 5063648"/>
                <a:gd name="connsiteY0" fmla="*/ 625458 h 2039194"/>
                <a:gd name="connsiteX1" fmla="*/ 4435488 w 5063648"/>
                <a:gd name="connsiteY1" fmla="*/ 817944 h 2039194"/>
                <a:gd name="connsiteX2" fmla="*/ 4436327 w 5063648"/>
                <a:gd name="connsiteY2" fmla="*/ 866674 h 2039194"/>
                <a:gd name="connsiteX3" fmla="*/ 4373871 w 5063648"/>
                <a:gd name="connsiteY3" fmla="*/ 923849 h 2039194"/>
                <a:gd name="connsiteX4" fmla="*/ 3551220 w 5063648"/>
                <a:gd name="connsiteY4" fmla="*/ 923849 h 2039194"/>
                <a:gd name="connsiteX5" fmla="*/ 3568226 w 5063648"/>
                <a:gd name="connsiteY5" fmla="*/ 1019596 h 2039194"/>
                <a:gd name="connsiteX6" fmla="*/ 3554446 w 5063648"/>
                <a:gd name="connsiteY6" fmla="*/ 1097183 h 2039194"/>
                <a:gd name="connsiteX7" fmla="*/ 4368991 w 5063648"/>
                <a:gd name="connsiteY7" fmla="*/ 1097183 h 2039194"/>
                <a:gd name="connsiteX8" fmla="*/ 4422039 w 5063648"/>
                <a:gd name="connsiteY8" fmla="*/ 1127991 h 2039194"/>
                <a:gd name="connsiteX9" fmla="*/ 4435487 w 5063648"/>
                <a:gd name="connsiteY9" fmla="*/ 1202915 h 2039194"/>
                <a:gd name="connsiteX10" fmla="*/ 4627973 w 5063648"/>
                <a:gd name="connsiteY10" fmla="*/ 1395401 h 2039194"/>
                <a:gd name="connsiteX11" fmla="*/ 4820459 w 5063648"/>
                <a:gd name="connsiteY11" fmla="*/ 1202915 h 2039194"/>
                <a:gd name="connsiteX12" fmla="*/ 4764081 w 5063648"/>
                <a:gd name="connsiteY12" fmla="*/ 1066807 h 2039194"/>
                <a:gd name="connsiteX13" fmla="*/ 4764082 w 5063648"/>
                <a:gd name="connsiteY13" fmla="*/ 954052 h 2039194"/>
                <a:gd name="connsiteX14" fmla="*/ 4820460 w 5063648"/>
                <a:gd name="connsiteY14" fmla="*/ 817944 h 2039194"/>
                <a:gd name="connsiteX15" fmla="*/ 4627974 w 5063648"/>
                <a:gd name="connsiteY15" fmla="*/ 625458 h 2039194"/>
                <a:gd name="connsiteX16" fmla="*/ 1137566 w 5063648"/>
                <a:gd name="connsiteY16" fmla="*/ 236146 h 2039194"/>
                <a:gd name="connsiteX17" fmla="*/ 243049 w 5063648"/>
                <a:gd name="connsiteY17" fmla="*/ 1003904 h 2039194"/>
                <a:gd name="connsiteX18" fmla="*/ 248403 w 5063648"/>
                <a:gd name="connsiteY18" fmla="*/ 1027127 h 2039194"/>
                <a:gd name="connsiteX19" fmla="*/ 324602 w 5063648"/>
                <a:gd name="connsiteY19" fmla="*/ 1046197 h 2039194"/>
                <a:gd name="connsiteX20" fmla="*/ 347825 w 5063648"/>
                <a:gd name="connsiteY20" fmla="*/ 1014650 h 2039194"/>
                <a:gd name="connsiteX21" fmla="*/ 2457450 w 5063648"/>
                <a:gd name="connsiteY21" fmla="*/ 697943 h 2039194"/>
                <a:gd name="connsiteX22" fmla="*/ 2518771 w 5063648"/>
                <a:gd name="connsiteY22" fmla="*/ 686628 h 2039194"/>
                <a:gd name="connsiteX23" fmla="*/ 2537822 w 5063648"/>
                <a:gd name="connsiteY23" fmla="*/ 619933 h 2039194"/>
                <a:gd name="connsiteX24" fmla="*/ 2516981 w 5063648"/>
                <a:gd name="connsiteY24" fmla="*/ 577660 h 2039194"/>
                <a:gd name="connsiteX25" fmla="*/ 1137566 w 5063648"/>
                <a:gd name="connsiteY25" fmla="*/ 236146 h 2039194"/>
                <a:gd name="connsiteX26" fmla="*/ 1229990 w 5063648"/>
                <a:gd name="connsiteY26" fmla="*/ 0 h 2039194"/>
                <a:gd name="connsiteX27" fmla="*/ 1749754 w 5063648"/>
                <a:gd name="connsiteY27" fmla="*/ 95238 h 2039194"/>
                <a:gd name="connsiteX28" fmla="*/ 1846074 w 5063648"/>
                <a:gd name="connsiteY28" fmla="*/ 137821 h 2039194"/>
                <a:gd name="connsiteX29" fmla="*/ 2824473 w 5063648"/>
                <a:gd name="connsiteY29" fmla="*/ 468999 h 2039194"/>
                <a:gd name="connsiteX30" fmla="*/ 3014102 w 5063648"/>
                <a:gd name="connsiteY30" fmla="*/ 469000 h 2039194"/>
                <a:gd name="connsiteX31" fmla="*/ 3020210 w 5063648"/>
                <a:gd name="connsiteY31" fmla="*/ 469000 h 2039194"/>
                <a:gd name="connsiteX32" fmla="*/ 3020209 w 5063648"/>
                <a:gd name="connsiteY32" fmla="*/ 469612 h 2039194"/>
                <a:gd name="connsiteX33" fmla="*/ 3125777 w 5063648"/>
                <a:gd name="connsiteY33" fmla="*/ 480186 h 2039194"/>
                <a:gd name="connsiteX34" fmla="*/ 3441691 w 5063648"/>
                <a:gd name="connsiteY34" fmla="*/ 669366 h 2039194"/>
                <a:gd name="connsiteX35" fmla="*/ 3457505 w 5063648"/>
                <a:gd name="connsiteY35" fmla="*/ 692041 h 2039194"/>
                <a:gd name="connsiteX36" fmla="*/ 4236894 w 5063648"/>
                <a:gd name="connsiteY36" fmla="*/ 692041 h 2039194"/>
                <a:gd name="connsiteX37" fmla="*/ 4255268 w 5063648"/>
                <a:gd name="connsiteY37" fmla="*/ 632849 h 2039194"/>
                <a:gd name="connsiteX38" fmla="*/ 4642927 w 5063648"/>
                <a:gd name="connsiteY38" fmla="*/ 375892 h 2039194"/>
                <a:gd name="connsiteX39" fmla="*/ 5063648 w 5063648"/>
                <a:gd name="connsiteY39" fmla="*/ 796613 h 2039194"/>
                <a:gd name="connsiteX40" fmla="*/ 5030586 w 5063648"/>
                <a:gd name="connsiteY40" fmla="*/ 960377 h 2039194"/>
                <a:gd name="connsiteX41" fmla="*/ 4998138 w 5063648"/>
                <a:gd name="connsiteY41" fmla="*/ 1020157 h 2039194"/>
                <a:gd name="connsiteX42" fmla="*/ 5030586 w 5063648"/>
                <a:gd name="connsiteY42" fmla="*/ 1079937 h 2039194"/>
                <a:gd name="connsiteX43" fmla="*/ 5063648 w 5063648"/>
                <a:gd name="connsiteY43" fmla="*/ 1243701 h 2039194"/>
                <a:gd name="connsiteX44" fmla="*/ 4642927 w 5063648"/>
                <a:gd name="connsiteY44" fmla="*/ 1664422 h 2039194"/>
                <a:gd name="connsiteX45" fmla="*/ 4255268 w 5063648"/>
                <a:gd name="connsiteY45" fmla="*/ 1407465 h 2039194"/>
                <a:gd name="connsiteX46" fmla="*/ 4233994 w 5063648"/>
                <a:gd name="connsiteY46" fmla="*/ 1338930 h 2039194"/>
                <a:gd name="connsiteX47" fmla="*/ 3463238 w 5063648"/>
                <a:gd name="connsiteY47" fmla="*/ 1338930 h 2039194"/>
                <a:gd name="connsiteX48" fmla="*/ 3441691 w 5063648"/>
                <a:gd name="connsiteY48" fmla="*/ 1369826 h 2039194"/>
                <a:gd name="connsiteX49" fmla="*/ 3125778 w 5063648"/>
                <a:gd name="connsiteY49" fmla="*/ 1559006 h 2039194"/>
                <a:gd name="connsiteX50" fmla="*/ 3020210 w 5063648"/>
                <a:gd name="connsiteY50" fmla="*/ 1569580 h 2039194"/>
                <a:gd name="connsiteX51" fmla="*/ 3020210 w 5063648"/>
                <a:gd name="connsiteY51" fmla="*/ 1570419 h 2039194"/>
                <a:gd name="connsiteX52" fmla="*/ 2837876 w 5063648"/>
                <a:gd name="connsiteY52" fmla="*/ 1570420 h 2039194"/>
                <a:gd name="connsiteX53" fmla="*/ 1832519 w 5063648"/>
                <a:gd name="connsiteY53" fmla="*/ 1907364 h 2039194"/>
                <a:gd name="connsiteX54" fmla="*/ 1749754 w 5063648"/>
                <a:gd name="connsiteY54" fmla="*/ 1943954 h 2039194"/>
                <a:gd name="connsiteX55" fmla="*/ 1229990 w 5063648"/>
                <a:gd name="connsiteY55" fmla="*/ 2039194 h 2039194"/>
                <a:gd name="connsiteX56" fmla="*/ 0 w 5063648"/>
                <a:gd name="connsiteY56" fmla="*/ 1019597 h 2039194"/>
                <a:gd name="connsiteX57" fmla="*/ 1229990 w 5063648"/>
                <a:gd name="connsiteY57" fmla="*/ 0 h 203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063648" h="2039194">
                  <a:moveTo>
                    <a:pt x="4627974" y="625458"/>
                  </a:moveTo>
                  <a:cubicBezTo>
                    <a:pt x="4521667" y="625458"/>
                    <a:pt x="4435488" y="711637"/>
                    <a:pt x="4435488" y="817944"/>
                  </a:cubicBezTo>
                  <a:cubicBezTo>
                    <a:pt x="4435488" y="844521"/>
                    <a:pt x="4426586" y="843645"/>
                    <a:pt x="4436327" y="866674"/>
                  </a:cubicBezTo>
                  <a:cubicBezTo>
                    <a:pt x="4422651" y="904782"/>
                    <a:pt x="4425646" y="904791"/>
                    <a:pt x="4373871" y="923849"/>
                  </a:cubicBezTo>
                  <a:lnTo>
                    <a:pt x="3551220" y="923849"/>
                  </a:lnTo>
                  <a:lnTo>
                    <a:pt x="3568226" y="1019596"/>
                  </a:lnTo>
                  <a:lnTo>
                    <a:pt x="3554446" y="1097183"/>
                  </a:lnTo>
                  <a:lnTo>
                    <a:pt x="4368991" y="1097183"/>
                  </a:lnTo>
                  <a:cubicBezTo>
                    <a:pt x="4405724" y="1105070"/>
                    <a:pt x="4418644" y="1108197"/>
                    <a:pt x="4422039" y="1127991"/>
                  </a:cubicBezTo>
                  <a:cubicBezTo>
                    <a:pt x="4433730" y="1160545"/>
                    <a:pt x="4429740" y="1155966"/>
                    <a:pt x="4435487" y="1202915"/>
                  </a:cubicBezTo>
                  <a:cubicBezTo>
                    <a:pt x="4453140" y="1340352"/>
                    <a:pt x="4521666" y="1395401"/>
                    <a:pt x="4627973" y="1395401"/>
                  </a:cubicBezTo>
                  <a:cubicBezTo>
                    <a:pt x="4734280" y="1395401"/>
                    <a:pt x="4820459" y="1309222"/>
                    <a:pt x="4820459" y="1202915"/>
                  </a:cubicBezTo>
                  <a:cubicBezTo>
                    <a:pt x="4820459" y="1149762"/>
                    <a:pt x="4801295" y="1101640"/>
                    <a:pt x="4764081" y="1066807"/>
                  </a:cubicBezTo>
                  <a:cubicBezTo>
                    <a:pt x="4745031" y="1019697"/>
                    <a:pt x="4745032" y="991637"/>
                    <a:pt x="4764082" y="954052"/>
                  </a:cubicBezTo>
                  <a:cubicBezTo>
                    <a:pt x="4806059" y="919219"/>
                    <a:pt x="4820460" y="871097"/>
                    <a:pt x="4820460" y="817944"/>
                  </a:cubicBezTo>
                  <a:cubicBezTo>
                    <a:pt x="4820460" y="711637"/>
                    <a:pt x="4734281" y="625458"/>
                    <a:pt x="4627974" y="625458"/>
                  </a:cubicBezTo>
                  <a:close/>
                  <a:moveTo>
                    <a:pt x="1137566" y="236146"/>
                  </a:moveTo>
                  <a:cubicBezTo>
                    <a:pt x="652164" y="225347"/>
                    <a:pt x="325172" y="429278"/>
                    <a:pt x="243049" y="1003904"/>
                  </a:cubicBezTo>
                  <a:cubicBezTo>
                    <a:pt x="231539" y="1003904"/>
                    <a:pt x="248403" y="1015617"/>
                    <a:pt x="248403" y="1027127"/>
                  </a:cubicBezTo>
                  <a:lnTo>
                    <a:pt x="324602" y="1046197"/>
                  </a:lnTo>
                  <a:cubicBezTo>
                    <a:pt x="324602" y="1057707"/>
                    <a:pt x="336315" y="1014650"/>
                    <a:pt x="347825" y="1014650"/>
                  </a:cubicBezTo>
                  <a:cubicBezTo>
                    <a:pt x="596214" y="-176769"/>
                    <a:pt x="1942361" y="584437"/>
                    <a:pt x="2457450" y="697943"/>
                  </a:cubicBezTo>
                  <a:cubicBezTo>
                    <a:pt x="2468960" y="697943"/>
                    <a:pt x="2518771" y="698138"/>
                    <a:pt x="2518771" y="686628"/>
                  </a:cubicBezTo>
                  <a:lnTo>
                    <a:pt x="2537822" y="619933"/>
                  </a:lnTo>
                  <a:cubicBezTo>
                    <a:pt x="2537822" y="608423"/>
                    <a:pt x="2528491" y="577660"/>
                    <a:pt x="2516981" y="577660"/>
                  </a:cubicBezTo>
                  <a:cubicBezTo>
                    <a:pt x="1988466" y="382844"/>
                    <a:pt x="1515102" y="244546"/>
                    <a:pt x="1137566" y="236146"/>
                  </a:cubicBezTo>
                  <a:close/>
                  <a:moveTo>
                    <a:pt x="1229990" y="0"/>
                  </a:moveTo>
                  <a:cubicBezTo>
                    <a:pt x="1415737" y="-1"/>
                    <a:pt x="1591869" y="34130"/>
                    <a:pt x="1749754" y="95238"/>
                  </a:cubicBezTo>
                  <a:lnTo>
                    <a:pt x="1846074" y="137821"/>
                  </a:lnTo>
                  <a:lnTo>
                    <a:pt x="2824473" y="468999"/>
                  </a:lnTo>
                  <a:lnTo>
                    <a:pt x="3014102" y="469000"/>
                  </a:lnTo>
                  <a:lnTo>
                    <a:pt x="3020210" y="469000"/>
                  </a:lnTo>
                  <a:lnTo>
                    <a:pt x="3020209" y="469612"/>
                  </a:lnTo>
                  <a:lnTo>
                    <a:pt x="3125777" y="480186"/>
                  </a:lnTo>
                  <a:cubicBezTo>
                    <a:pt x="3252029" y="505856"/>
                    <a:pt x="3362642" y="574190"/>
                    <a:pt x="3441691" y="669366"/>
                  </a:cubicBezTo>
                  <a:lnTo>
                    <a:pt x="3457505" y="692041"/>
                  </a:lnTo>
                  <a:lnTo>
                    <a:pt x="4236894" y="692041"/>
                  </a:lnTo>
                  <a:lnTo>
                    <a:pt x="4255268" y="632849"/>
                  </a:lnTo>
                  <a:cubicBezTo>
                    <a:pt x="4319137" y="481846"/>
                    <a:pt x="4468659" y="375892"/>
                    <a:pt x="4642927" y="375892"/>
                  </a:cubicBezTo>
                  <a:cubicBezTo>
                    <a:pt x="4875285" y="375892"/>
                    <a:pt x="5063648" y="564255"/>
                    <a:pt x="5063648" y="796613"/>
                  </a:cubicBezTo>
                  <a:cubicBezTo>
                    <a:pt x="5063648" y="854703"/>
                    <a:pt x="5051875" y="910042"/>
                    <a:pt x="5030586" y="960377"/>
                  </a:cubicBezTo>
                  <a:lnTo>
                    <a:pt x="4998138" y="1020157"/>
                  </a:lnTo>
                  <a:lnTo>
                    <a:pt x="5030586" y="1079937"/>
                  </a:lnTo>
                  <a:cubicBezTo>
                    <a:pt x="5051875" y="1130272"/>
                    <a:pt x="5063648" y="1185612"/>
                    <a:pt x="5063648" y="1243701"/>
                  </a:cubicBezTo>
                  <a:cubicBezTo>
                    <a:pt x="5063648" y="1476059"/>
                    <a:pt x="4875285" y="1664422"/>
                    <a:pt x="4642927" y="1664422"/>
                  </a:cubicBezTo>
                  <a:cubicBezTo>
                    <a:pt x="4468659" y="1664422"/>
                    <a:pt x="4319137" y="1558468"/>
                    <a:pt x="4255268" y="1407465"/>
                  </a:cubicBezTo>
                  <a:lnTo>
                    <a:pt x="4233994" y="1338930"/>
                  </a:lnTo>
                  <a:lnTo>
                    <a:pt x="3463238" y="1338930"/>
                  </a:lnTo>
                  <a:lnTo>
                    <a:pt x="3441691" y="1369826"/>
                  </a:lnTo>
                  <a:cubicBezTo>
                    <a:pt x="3362642" y="1465001"/>
                    <a:pt x="3252030" y="1533335"/>
                    <a:pt x="3125778" y="1559006"/>
                  </a:cubicBezTo>
                  <a:lnTo>
                    <a:pt x="3020210" y="1569580"/>
                  </a:lnTo>
                  <a:lnTo>
                    <a:pt x="3020210" y="1570419"/>
                  </a:lnTo>
                  <a:lnTo>
                    <a:pt x="2837876" y="1570420"/>
                  </a:lnTo>
                  <a:lnTo>
                    <a:pt x="1832519" y="1907364"/>
                  </a:lnTo>
                  <a:lnTo>
                    <a:pt x="1749754" y="1943954"/>
                  </a:lnTo>
                  <a:cubicBezTo>
                    <a:pt x="1591869" y="2005064"/>
                    <a:pt x="1415738" y="2039194"/>
                    <a:pt x="1229990" y="2039194"/>
                  </a:cubicBezTo>
                  <a:cubicBezTo>
                    <a:pt x="550686" y="2039194"/>
                    <a:pt x="1" y="1582705"/>
                    <a:pt x="0" y="1019597"/>
                  </a:cubicBezTo>
                  <a:cubicBezTo>
                    <a:pt x="0" y="456489"/>
                    <a:pt x="550685" y="-1"/>
                    <a:pt x="1229990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4358969" y="-144003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-58113" y="4150928"/>
            <a:ext cx="792000" cy="792000"/>
            <a:chOff x="2685588" y="-2856917"/>
            <a:chExt cx="792000" cy="792000"/>
          </a:xfrm>
        </p:grpSpPr>
        <p:sp>
          <p:nvSpPr>
            <p:cNvPr id="86" name="Freeform 85"/>
            <p:cNvSpPr/>
            <p:nvPr/>
          </p:nvSpPr>
          <p:spPr>
            <a:xfrm>
              <a:off x="2773958" y="-2824217"/>
              <a:ext cx="615260" cy="726601"/>
            </a:xfrm>
            <a:custGeom>
              <a:avLst/>
              <a:gdLst>
                <a:gd name="connsiteX0" fmla="*/ 2647133 w 3745994"/>
                <a:gd name="connsiteY0" fmla="*/ 2347690 h 4423890"/>
                <a:gd name="connsiteX1" fmla="*/ 2632230 w 3745994"/>
                <a:gd name="connsiteY1" fmla="*/ 2477599 h 4423890"/>
                <a:gd name="connsiteX2" fmla="*/ 2647133 w 3745994"/>
                <a:gd name="connsiteY2" fmla="*/ 2347690 h 4423890"/>
                <a:gd name="connsiteX3" fmla="*/ 2843635 w 3745994"/>
                <a:gd name="connsiteY3" fmla="*/ 2149523 h 4423890"/>
                <a:gd name="connsiteX4" fmla="*/ 2857762 w 3745994"/>
                <a:gd name="connsiteY4" fmla="*/ 2163650 h 4423890"/>
                <a:gd name="connsiteX5" fmla="*/ 2856791 w 3745994"/>
                <a:gd name="connsiteY5" fmla="*/ 2192393 h 4423890"/>
                <a:gd name="connsiteX6" fmla="*/ 2852405 w 3745994"/>
                <a:gd name="connsiteY6" fmla="*/ 2258403 h 4423890"/>
                <a:gd name="connsiteX7" fmla="*/ 2849571 w 3745994"/>
                <a:gd name="connsiteY7" fmla="*/ 2301061 h 4423890"/>
                <a:gd name="connsiteX8" fmla="*/ 2917710 w 3745994"/>
                <a:gd name="connsiteY8" fmla="*/ 2295688 h 4423890"/>
                <a:gd name="connsiteX9" fmla="*/ 3068994 w 3745994"/>
                <a:gd name="connsiteY9" fmla="*/ 2503695 h 4423890"/>
                <a:gd name="connsiteX10" fmla="*/ 2815911 w 3745994"/>
                <a:gd name="connsiteY10" fmla="*/ 2716666 h 4423890"/>
                <a:gd name="connsiteX11" fmla="*/ 2562827 w 3745994"/>
                <a:gd name="connsiteY11" fmla="*/ 2503695 h 4423890"/>
                <a:gd name="connsiteX12" fmla="*/ 2721418 w 3745994"/>
                <a:gd name="connsiteY12" fmla="*/ 2292766 h 4423890"/>
                <a:gd name="connsiteX13" fmla="*/ 2798332 w 3745994"/>
                <a:gd name="connsiteY13" fmla="*/ 2301679 h 4423890"/>
                <a:gd name="connsiteX14" fmla="*/ 2798332 w 3745994"/>
                <a:gd name="connsiteY14" fmla="*/ 2169496 h 4423890"/>
                <a:gd name="connsiteX15" fmla="*/ 2808562 w 3745994"/>
                <a:gd name="connsiteY15" fmla="*/ 2153420 h 4423890"/>
                <a:gd name="connsiteX16" fmla="*/ 890262 w 3745994"/>
                <a:gd name="connsiteY16" fmla="*/ 1515721 h 4423890"/>
                <a:gd name="connsiteX17" fmla="*/ 875358 w 3745994"/>
                <a:gd name="connsiteY17" fmla="*/ 1645631 h 4423890"/>
                <a:gd name="connsiteX18" fmla="*/ 890262 w 3745994"/>
                <a:gd name="connsiteY18" fmla="*/ 1515721 h 4423890"/>
                <a:gd name="connsiteX19" fmla="*/ 1086763 w 3745994"/>
                <a:gd name="connsiteY19" fmla="*/ 1317555 h 4423890"/>
                <a:gd name="connsiteX20" fmla="*/ 1100891 w 3745994"/>
                <a:gd name="connsiteY20" fmla="*/ 1331682 h 4423890"/>
                <a:gd name="connsiteX21" fmla="*/ 1099919 w 3745994"/>
                <a:gd name="connsiteY21" fmla="*/ 1360424 h 4423890"/>
                <a:gd name="connsiteX22" fmla="*/ 1095534 w 3745994"/>
                <a:gd name="connsiteY22" fmla="*/ 1426435 h 4423890"/>
                <a:gd name="connsiteX23" fmla="*/ 1092699 w 3745994"/>
                <a:gd name="connsiteY23" fmla="*/ 1469093 h 4423890"/>
                <a:gd name="connsiteX24" fmla="*/ 1160839 w 3745994"/>
                <a:gd name="connsiteY24" fmla="*/ 1463720 h 4423890"/>
                <a:gd name="connsiteX25" fmla="*/ 1312123 w 3745994"/>
                <a:gd name="connsiteY25" fmla="*/ 1671727 h 4423890"/>
                <a:gd name="connsiteX26" fmla="*/ 1059039 w 3745994"/>
                <a:gd name="connsiteY26" fmla="*/ 1884698 h 4423890"/>
                <a:gd name="connsiteX27" fmla="*/ 805955 w 3745994"/>
                <a:gd name="connsiteY27" fmla="*/ 1671727 h 4423890"/>
                <a:gd name="connsiteX28" fmla="*/ 964546 w 3745994"/>
                <a:gd name="connsiteY28" fmla="*/ 1460798 h 4423890"/>
                <a:gd name="connsiteX29" fmla="*/ 1041461 w 3745994"/>
                <a:gd name="connsiteY29" fmla="*/ 1469710 h 4423890"/>
                <a:gd name="connsiteX30" fmla="*/ 1041461 w 3745994"/>
                <a:gd name="connsiteY30" fmla="*/ 1337528 h 4423890"/>
                <a:gd name="connsiteX31" fmla="*/ 1051691 w 3745994"/>
                <a:gd name="connsiteY31" fmla="*/ 1321452 h 4423890"/>
                <a:gd name="connsiteX32" fmla="*/ 1962472 w 3745994"/>
                <a:gd name="connsiteY32" fmla="*/ 770406 h 4423890"/>
                <a:gd name="connsiteX33" fmla="*/ 1944260 w 3745994"/>
                <a:gd name="connsiteY33" fmla="*/ 929156 h 4423890"/>
                <a:gd name="connsiteX34" fmla="*/ 1962472 w 3745994"/>
                <a:gd name="connsiteY34" fmla="*/ 770406 h 4423890"/>
                <a:gd name="connsiteX35" fmla="*/ 2202598 w 3745994"/>
                <a:gd name="connsiteY35" fmla="*/ 528245 h 4423890"/>
                <a:gd name="connsiteX36" fmla="*/ 2219862 w 3745994"/>
                <a:gd name="connsiteY36" fmla="*/ 545508 h 4423890"/>
                <a:gd name="connsiteX37" fmla="*/ 2218675 w 3745994"/>
                <a:gd name="connsiteY37" fmla="*/ 580632 h 4423890"/>
                <a:gd name="connsiteX38" fmla="*/ 2213316 w 3745994"/>
                <a:gd name="connsiteY38" fmla="*/ 661297 h 4423890"/>
                <a:gd name="connsiteX39" fmla="*/ 2209852 w 3745994"/>
                <a:gd name="connsiteY39" fmla="*/ 713426 h 4423890"/>
                <a:gd name="connsiteX40" fmla="*/ 2293119 w 3745994"/>
                <a:gd name="connsiteY40" fmla="*/ 706860 h 4423890"/>
                <a:gd name="connsiteX41" fmla="*/ 2477989 w 3745994"/>
                <a:gd name="connsiteY41" fmla="*/ 961046 h 4423890"/>
                <a:gd name="connsiteX42" fmla="*/ 2168719 w 3745994"/>
                <a:gd name="connsiteY42" fmla="*/ 1221298 h 4423890"/>
                <a:gd name="connsiteX43" fmla="*/ 1859449 w 3745994"/>
                <a:gd name="connsiteY43" fmla="*/ 961046 h 4423890"/>
                <a:gd name="connsiteX44" fmla="*/ 2053248 w 3745994"/>
                <a:gd name="connsiteY44" fmla="*/ 703289 h 4423890"/>
                <a:gd name="connsiteX45" fmla="*/ 2147238 w 3745994"/>
                <a:gd name="connsiteY45" fmla="*/ 714180 h 4423890"/>
                <a:gd name="connsiteX46" fmla="*/ 2147238 w 3745994"/>
                <a:gd name="connsiteY46" fmla="*/ 552652 h 4423890"/>
                <a:gd name="connsiteX47" fmla="*/ 2159739 w 3745994"/>
                <a:gd name="connsiteY47" fmla="*/ 533007 h 4423890"/>
                <a:gd name="connsiteX48" fmla="*/ 2305712 w 3745994"/>
                <a:gd name="connsiteY48" fmla="*/ 384272 h 4423890"/>
                <a:gd name="connsiteX49" fmla="*/ 1423817 w 3745994"/>
                <a:gd name="connsiteY49" fmla="*/ 968832 h 4423890"/>
                <a:gd name="connsiteX50" fmla="*/ 1407391 w 3745994"/>
                <a:gd name="connsiteY50" fmla="*/ 1021750 h 4423890"/>
                <a:gd name="connsiteX51" fmla="*/ 1289078 w 3745994"/>
                <a:gd name="connsiteY51" fmla="*/ 985024 h 4423890"/>
                <a:gd name="connsiteX52" fmla="*/ 1136802 w 3745994"/>
                <a:gd name="connsiteY52" fmla="*/ 969674 h 4423890"/>
                <a:gd name="connsiteX53" fmla="*/ 381224 w 3745994"/>
                <a:gd name="connsiteY53" fmla="*/ 1725252 h 4423890"/>
                <a:gd name="connsiteX54" fmla="*/ 842697 w 3745994"/>
                <a:gd name="connsiteY54" fmla="*/ 2421453 h 4423890"/>
                <a:gd name="connsiteX55" fmla="*/ 910741 w 3745994"/>
                <a:gd name="connsiteY55" fmla="*/ 2442575 h 4423890"/>
                <a:gd name="connsiteX56" fmla="*/ 903065 w 3745994"/>
                <a:gd name="connsiteY56" fmla="*/ 2518707 h 4423890"/>
                <a:gd name="connsiteX57" fmla="*/ 1619788 w 3745994"/>
                <a:gd name="connsiteY57" fmla="*/ 3235429 h 4423890"/>
                <a:gd name="connsiteX58" fmla="*/ 1764233 w 3745994"/>
                <a:gd name="connsiteY58" fmla="*/ 3220867 h 4423890"/>
                <a:gd name="connsiteX59" fmla="*/ 1815566 w 3745994"/>
                <a:gd name="connsiteY59" fmla="*/ 3204934 h 4423890"/>
                <a:gd name="connsiteX60" fmla="*/ 1828515 w 3745994"/>
                <a:gd name="connsiteY60" fmla="*/ 3019765 h 4423890"/>
                <a:gd name="connsiteX61" fmla="*/ 1828949 w 3745994"/>
                <a:gd name="connsiteY61" fmla="*/ 2992658 h 4423890"/>
                <a:gd name="connsiteX62" fmla="*/ 1760646 w 3745994"/>
                <a:gd name="connsiteY62" fmla="*/ 2946262 h 4423890"/>
                <a:gd name="connsiteX63" fmla="*/ 1062738 w 3745994"/>
                <a:gd name="connsiteY63" fmla="*/ 2053190 h 4423890"/>
                <a:gd name="connsiteX64" fmla="*/ 1790004 w 3745994"/>
                <a:gd name="connsiteY64" fmla="*/ 2632707 h 4423890"/>
                <a:gd name="connsiteX65" fmla="*/ 1834309 w 3745994"/>
                <a:gd name="connsiteY65" fmla="*/ 2657543 h 4423890"/>
                <a:gd name="connsiteX66" fmla="*/ 1834904 w 3745994"/>
                <a:gd name="connsiteY66" fmla="*/ 2620326 h 4423890"/>
                <a:gd name="connsiteX67" fmla="*/ 1670254 w 3745994"/>
                <a:gd name="connsiteY67" fmla="*/ 1305704 h 4423890"/>
                <a:gd name="connsiteX68" fmla="*/ 2081531 w 3745994"/>
                <a:gd name="connsiteY68" fmla="*/ 2059534 h 4423890"/>
                <a:gd name="connsiteX69" fmla="*/ 2125555 w 3745994"/>
                <a:gd name="connsiteY69" fmla="*/ 2183356 h 4423890"/>
                <a:gd name="connsiteX70" fmla="*/ 2254948 w 3745994"/>
                <a:gd name="connsiteY70" fmla="*/ 2010286 h 4423890"/>
                <a:gd name="connsiteX71" fmla="*/ 2694484 w 3745994"/>
                <a:gd name="connsiteY71" fmla="*/ 1208392 h 4423890"/>
                <a:gd name="connsiteX72" fmla="*/ 2267537 w 3745994"/>
                <a:gd name="connsiteY72" fmla="*/ 2592118 h 4423890"/>
                <a:gd name="connsiteX73" fmla="*/ 2251116 w 3745994"/>
                <a:gd name="connsiteY73" fmla="*/ 2615608 h 4423890"/>
                <a:gd name="connsiteX74" fmla="*/ 2287825 w 3745994"/>
                <a:gd name="connsiteY74" fmla="*/ 2791756 h 4423890"/>
                <a:gd name="connsiteX75" fmla="*/ 2318429 w 3745994"/>
                <a:gd name="connsiteY75" fmla="*/ 3012726 h 4423890"/>
                <a:gd name="connsiteX76" fmla="*/ 2445793 w 3745994"/>
                <a:gd name="connsiteY76" fmla="*/ 3052262 h 4423890"/>
                <a:gd name="connsiteX77" fmla="*/ 2590238 w 3745994"/>
                <a:gd name="connsiteY77" fmla="*/ 3066824 h 4423890"/>
                <a:gd name="connsiteX78" fmla="*/ 3306960 w 3745994"/>
                <a:gd name="connsiteY78" fmla="*/ 2350102 h 4423890"/>
                <a:gd name="connsiteX79" fmla="*/ 3184555 w 3745994"/>
                <a:gd name="connsiteY79" fmla="*/ 1949375 h 4423890"/>
                <a:gd name="connsiteX80" fmla="*/ 3109313 w 3745994"/>
                <a:gd name="connsiteY80" fmla="*/ 1858180 h 4423890"/>
                <a:gd name="connsiteX81" fmla="*/ 3187609 w 3745994"/>
                <a:gd name="connsiteY81" fmla="*/ 1713931 h 4423890"/>
                <a:gd name="connsiteX82" fmla="*/ 3262823 w 3745994"/>
                <a:gd name="connsiteY82" fmla="*/ 1341381 h 4423890"/>
                <a:gd name="connsiteX83" fmla="*/ 2305712 w 3745994"/>
                <a:gd name="connsiteY83" fmla="*/ 384272 h 4423890"/>
                <a:gd name="connsiteX84" fmla="*/ 2302412 w 3745994"/>
                <a:gd name="connsiteY84" fmla="*/ 0 h 4423890"/>
                <a:gd name="connsiteX85" fmla="*/ 3666979 w 3745994"/>
                <a:gd name="connsiteY85" fmla="*/ 1364566 h 4423890"/>
                <a:gd name="connsiteX86" fmla="*/ 3626098 w 3745994"/>
                <a:gd name="connsiteY86" fmla="*/ 1697408 h 4423890"/>
                <a:gd name="connsiteX87" fmla="*/ 3607415 w 3745994"/>
                <a:gd name="connsiteY87" fmla="*/ 1760954 h 4423890"/>
                <a:gd name="connsiteX88" fmla="*/ 3652209 w 3745994"/>
                <a:gd name="connsiteY88" fmla="*/ 1853939 h 4423890"/>
                <a:gd name="connsiteX89" fmla="*/ 3745994 w 3745994"/>
                <a:gd name="connsiteY89" fmla="*/ 2318469 h 4423890"/>
                <a:gd name="connsiteX90" fmla="*/ 2552584 w 3745994"/>
                <a:gd name="connsiteY90" fmla="*/ 3511877 h 4423890"/>
                <a:gd name="connsiteX91" fmla="*/ 2370840 w 3745994"/>
                <a:gd name="connsiteY91" fmla="*/ 3498127 h 4423890"/>
                <a:gd name="connsiteX92" fmla="*/ 2346820 w 3745994"/>
                <a:gd name="connsiteY92" fmla="*/ 3492591 h 4423890"/>
                <a:gd name="connsiteX93" fmla="*/ 2347495 w 3745994"/>
                <a:gd name="connsiteY93" fmla="*/ 3590616 h 4423890"/>
                <a:gd name="connsiteX94" fmla="*/ 2254063 w 3745994"/>
                <a:gd name="connsiteY94" fmla="*/ 4351359 h 4423890"/>
                <a:gd name="connsiteX95" fmla="*/ 1670254 w 3745994"/>
                <a:gd name="connsiteY95" fmla="*/ 4330259 h 4423890"/>
                <a:gd name="connsiteX96" fmla="*/ 1762903 w 3745994"/>
                <a:gd name="connsiteY96" fmla="*/ 3739471 h 4423890"/>
                <a:gd name="connsiteX97" fmla="*/ 1779046 w 3745994"/>
                <a:gd name="connsiteY97" fmla="*/ 3598069 h 4423890"/>
                <a:gd name="connsiteX98" fmla="*/ 1722069 w 3745994"/>
                <a:gd name="connsiteY98" fmla="*/ 3609524 h 4423890"/>
                <a:gd name="connsiteX99" fmla="*/ 1568424 w 3745994"/>
                <a:gd name="connsiteY99" fmla="*/ 3619700 h 4423890"/>
                <a:gd name="connsiteX100" fmla="*/ 441862 w 3745994"/>
                <a:gd name="connsiteY100" fmla="*/ 2701525 h 4423890"/>
                <a:gd name="connsiteX101" fmla="*/ 438583 w 3745994"/>
                <a:gd name="connsiteY101" fmla="*/ 2680040 h 4423890"/>
                <a:gd name="connsiteX102" fmla="*/ 434291 w 3745994"/>
                <a:gd name="connsiteY102" fmla="*/ 2676831 h 4423890"/>
                <a:gd name="connsiteX103" fmla="*/ 0 w 3745994"/>
                <a:gd name="connsiteY103" fmla="*/ 1755939 h 4423890"/>
                <a:gd name="connsiteX104" fmla="*/ 1193410 w 3745994"/>
                <a:gd name="connsiteY104" fmla="*/ 562530 h 4423890"/>
                <a:gd name="connsiteX105" fmla="*/ 1199882 w 3745994"/>
                <a:gd name="connsiteY105" fmla="*/ 562856 h 4423890"/>
                <a:gd name="connsiteX106" fmla="*/ 1249445 w 3745994"/>
                <a:gd name="connsiteY106" fmla="*/ 496576 h 4423890"/>
                <a:gd name="connsiteX107" fmla="*/ 2302412 w 3745994"/>
                <a:gd name="connsiteY107" fmla="*/ 0 h 442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3745994" h="4423890">
                  <a:moveTo>
                    <a:pt x="2647133" y="2347690"/>
                  </a:moveTo>
                  <a:cubicBezTo>
                    <a:pt x="2601191" y="2383201"/>
                    <a:pt x="2579314" y="2434357"/>
                    <a:pt x="2632230" y="2477599"/>
                  </a:cubicBezTo>
                  <a:cubicBezTo>
                    <a:pt x="2632230" y="2477599"/>
                    <a:pt x="2634660" y="2403517"/>
                    <a:pt x="2647133" y="2347690"/>
                  </a:cubicBezTo>
                  <a:close/>
                  <a:moveTo>
                    <a:pt x="2843635" y="2149523"/>
                  </a:moveTo>
                  <a:cubicBezTo>
                    <a:pt x="2848208" y="2149523"/>
                    <a:pt x="2857762" y="2159076"/>
                    <a:pt x="2857762" y="2163650"/>
                  </a:cubicBezTo>
                  <a:cubicBezTo>
                    <a:pt x="2857438" y="2170633"/>
                    <a:pt x="2857115" y="2185410"/>
                    <a:pt x="2856791" y="2192393"/>
                  </a:cubicBezTo>
                  <a:cubicBezTo>
                    <a:pt x="2856953" y="2214721"/>
                    <a:pt x="2854679" y="2236562"/>
                    <a:pt x="2852405" y="2258403"/>
                  </a:cubicBezTo>
                  <a:lnTo>
                    <a:pt x="2849571" y="2301061"/>
                  </a:lnTo>
                  <a:lnTo>
                    <a:pt x="2917710" y="2295688"/>
                  </a:lnTo>
                  <a:cubicBezTo>
                    <a:pt x="3019873" y="2295246"/>
                    <a:pt x="3109916" y="2329313"/>
                    <a:pt x="3068994" y="2503695"/>
                  </a:cubicBezTo>
                  <a:cubicBezTo>
                    <a:pt x="3053271" y="2570701"/>
                    <a:pt x="3029733" y="2706922"/>
                    <a:pt x="2815911" y="2716666"/>
                  </a:cubicBezTo>
                  <a:cubicBezTo>
                    <a:pt x="2605985" y="2712769"/>
                    <a:pt x="2572509" y="2571836"/>
                    <a:pt x="2562827" y="2503695"/>
                  </a:cubicBezTo>
                  <a:cubicBezTo>
                    <a:pt x="2537494" y="2325415"/>
                    <a:pt x="2625589" y="2290375"/>
                    <a:pt x="2721418" y="2292766"/>
                  </a:cubicBezTo>
                  <a:lnTo>
                    <a:pt x="2798332" y="2301679"/>
                  </a:lnTo>
                  <a:lnTo>
                    <a:pt x="2798332" y="2169496"/>
                  </a:lnTo>
                  <a:cubicBezTo>
                    <a:pt x="2798332" y="2164922"/>
                    <a:pt x="2803988" y="2153420"/>
                    <a:pt x="2808562" y="2153420"/>
                  </a:cubicBezTo>
                  <a:close/>
                  <a:moveTo>
                    <a:pt x="890262" y="1515721"/>
                  </a:moveTo>
                  <a:cubicBezTo>
                    <a:pt x="844319" y="1551233"/>
                    <a:pt x="822442" y="1602389"/>
                    <a:pt x="875358" y="1645631"/>
                  </a:cubicBezTo>
                  <a:cubicBezTo>
                    <a:pt x="875358" y="1645631"/>
                    <a:pt x="877789" y="1571548"/>
                    <a:pt x="890262" y="1515721"/>
                  </a:cubicBezTo>
                  <a:close/>
                  <a:moveTo>
                    <a:pt x="1086763" y="1317555"/>
                  </a:moveTo>
                  <a:cubicBezTo>
                    <a:pt x="1091337" y="1317555"/>
                    <a:pt x="1100891" y="1327108"/>
                    <a:pt x="1100891" y="1331682"/>
                  </a:cubicBezTo>
                  <a:cubicBezTo>
                    <a:pt x="1100567" y="1338664"/>
                    <a:pt x="1100243" y="1353442"/>
                    <a:pt x="1099919" y="1360424"/>
                  </a:cubicBezTo>
                  <a:cubicBezTo>
                    <a:pt x="1100081" y="1382753"/>
                    <a:pt x="1097807" y="1404594"/>
                    <a:pt x="1095534" y="1426435"/>
                  </a:cubicBezTo>
                  <a:lnTo>
                    <a:pt x="1092699" y="1469093"/>
                  </a:lnTo>
                  <a:lnTo>
                    <a:pt x="1160839" y="1463720"/>
                  </a:lnTo>
                  <a:cubicBezTo>
                    <a:pt x="1263001" y="1463278"/>
                    <a:pt x="1353045" y="1497344"/>
                    <a:pt x="1312123" y="1671727"/>
                  </a:cubicBezTo>
                  <a:cubicBezTo>
                    <a:pt x="1296399" y="1738732"/>
                    <a:pt x="1272862" y="1874954"/>
                    <a:pt x="1059039" y="1884698"/>
                  </a:cubicBezTo>
                  <a:cubicBezTo>
                    <a:pt x="849114" y="1880801"/>
                    <a:pt x="815638" y="1739868"/>
                    <a:pt x="805955" y="1671727"/>
                  </a:cubicBezTo>
                  <a:cubicBezTo>
                    <a:pt x="780623" y="1493447"/>
                    <a:pt x="868718" y="1458407"/>
                    <a:pt x="964546" y="1460798"/>
                  </a:cubicBezTo>
                  <a:lnTo>
                    <a:pt x="1041461" y="1469710"/>
                  </a:lnTo>
                  <a:lnTo>
                    <a:pt x="1041461" y="1337528"/>
                  </a:lnTo>
                  <a:cubicBezTo>
                    <a:pt x="1041461" y="1332954"/>
                    <a:pt x="1047117" y="1321452"/>
                    <a:pt x="1051691" y="1321452"/>
                  </a:cubicBezTo>
                  <a:close/>
                  <a:moveTo>
                    <a:pt x="1962472" y="770406"/>
                  </a:moveTo>
                  <a:cubicBezTo>
                    <a:pt x="1906330" y="813801"/>
                    <a:pt x="1879596" y="876314"/>
                    <a:pt x="1944260" y="929156"/>
                  </a:cubicBezTo>
                  <a:cubicBezTo>
                    <a:pt x="1944260" y="929156"/>
                    <a:pt x="1947230" y="838627"/>
                    <a:pt x="1962472" y="770406"/>
                  </a:cubicBezTo>
                  <a:close/>
                  <a:moveTo>
                    <a:pt x="2202598" y="528245"/>
                  </a:moveTo>
                  <a:cubicBezTo>
                    <a:pt x="2208187" y="528245"/>
                    <a:pt x="2219862" y="539919"/>
                    <a:pt x="2219862" y="545508"/>
                  </a:cubicBezTo>
                  <a:cubicBezTo>
                    <a:pt x="2219466" y="554041"/>
                    <a:pt x="2219071" y="572099"/>
                    <a:pt x="2218675" y="580632"/>
                  </a:cubicBezTo>
                  <a:cubicBezTo>
                    <a:pt x="2218873" y="607917"/>
                    <a:pt x="2216094" y="634607"/>
                    <a:pt x="2213316" y="661297"/>
                  </a:cubicBezTo>
                  <a:lnTo>
                    <a:pt x="2209852" y="713426"/>
                  </a:lnTo>
                  <a:lnTo>
                    <a:pt x="2293119" y="706860"/>
                  </a:lnTo>
                  <a:cubicBezTo>
                    <a:pt x="2417962" y="706320"/>
                    <a:pt x="2527996" y="747949"/>
                    <a:pt x="2477989" y="961046"/>
                  </a:cubicBezTo>
                  <a:cubicBezTo>
                    <a:pt x="2458775" y="1042927"/>
                    <a:pt x="2430012" y="1209391"/>
                    <a:pt x="2168719" y="1221298"/>
                  </a:cubicBezTo>
                  <a:cubicBezTo>
                    <a:pt x="1912189" y="1216536"/>
                    <a:pt x="1871281" y="1044315"/>
                    <a:pt x="1859449" y="961046"/>
                  </a:cubicBezTo>
                  <a:cubicBezTo>
                    <a:pt x="1828493" y="743186"/>
                    <a:pt x="1936145" y="700367"/>
                    <a:pt x="2053248" y="703289"/>
                  </a:cubicBezTo>
                  <a:lnTo>
                    <a:pt x="2147238" y="714180"/>
                  </a:lnTo>
                  <a:lnTo>
                    <a:pt x="2147238" y="552652"/>
                  </a:lnTo>
                  <a:cubicBezTo>
                    <a:pt x="2147238" y="547063"/>
                    <a:pt x="2154150" y="533007"/>
                    <a:pt x="2159739" y="533007"/>
                  </a:cubicBezTo>
                  <a:close/>
                  <a:moveTo>
                    <a:pt x="2305712" y="384272"/>
                  </a:moveTo>
                  <a:cubicBezTo>
                    <a:pt x="1909265" y="384271"/>
                    <a:pt x="1569115" y="625310"/>
                    <a:pt x="1423817" y="968832"/>
                  </a:cubicBezTo>
                  <a:lnTo>
                    <a:pt x="1407391" y="1021750"/>
                  </a:lnTo>
                  <a:lnTo>
                    <a:pt x="1289078" y="985024"/>
                  </a:lnTo>
                  <a:cubicBezTo>
                    <a:pt x="1239890" y="974960"/>
                    <a:pt x="1188964" y="969674"/>
                    <a:pt x="1136802" y="969674"/>
                  </a:cubicBezTo>
                  <a:cubicBezTo>
                    <a:pt x="719508" y="969674"/>
                    <a:pt x="381223" y="1307958"/>
                    <a:pt x="381224" y="1725252"/>
                  </a:cubicBezTo>
                  <a:cubicBezTo>
                    <a:pt x="381223" y="2038222"/>
                    <a:pt x="571508" y="2306749"/>
                    <a:pt x="842697" y="2421453"/>
                  </a:cubicBezTo>
                  <a:lnTo>
                    <a:pt x="910741" y="2442575"/>
                  </a:lnTo>
                  <a:lnTo>
                    <a:pt x="903065" y="2518707"/>
                  </a:lnTo>
                  <a:cubicBezTo>
                    <a:pt x="903065" y="2914542"/>
                    <a:pt x="1223953" y="3235429"/>
                    <a:pt x="1619788" y="3235429"/>
                  </a:cubicBezTo>
                  <a:cubicBezTo>
                    <a:pt x="1669267" y="3235429"/>
                    <a:pt x="1717575" y="3230415"/>
                    <a:pt x="1764233" y="3220867"/>
                  </a:cubicBezTo>
                  <a:lnTo>
                    <a:pt x="1815566" y="3204934"/>
                  </a:lnTo>
                  <a:lnTo>
                    <a:pt x="1828515" y="3019765"/>
                  </a:lnTo>
                  <a:lnTo>
                    <a:pt x="1828949" y="2992658"/>
                  </a:lnTo>
                  <a:lnTo>
                    <a:pt x="1760646" y="2946262"/>
                  </a:lnTo>
                  <a:cubicBezTo>
                    <a:pt x="1508928" y="2762873"/>
                    <a:pt x="1226577" y="2476693"/>
                    <a:pt x="1062738" y="2053190"/>
                  </a:cubicBezTo>
                  <a:cubicBezTo>
                    <a:pt x="1294927" y="2303656"/>
                    <a:pt x="1549837" y="2490063"/>
                    <a:pt x="1790004" y="2632707"/>
                  </a:cubicBezTo>
                  <a:lnTo>
                    <a:pt x="1834309" y="2657543"/>
                  </a:lnTo>
                  <a:lnTo>
                    <a:pt x="1834904" y="2620326"/>
                  </a:lnTo>
                  <a:cubicBezTo>
                    <a:pt x="1829231" y="2209443"/>
                    <a:pt x="1784115" y="1765982"/>
                    <a:pt x="1670254" y="1305704"/>
                  </a:cubicBezTo>
                  <a:cubicBezTo>
                    <a:pt x="1848079" y="1554307"/>
                    <a:pt x="1981887" y="1808721"/>
                    <a:pt x="2081531" y="2059534"/>
                  </a:cubicBezTo>
                  <a:lnTo>
                    <a:pt x="2125555" y="2183356"/>
                  </a:lnTo>
                  <a:lnTo>
                    <a:pt x="2254948" y="2010286"/>
                  </a:lnTo>
                  <a:cubicBezTo>
                    <a:pt x="2417934" y="1778172"/>
                    <a:pt x="2572035" y="1511885"/>
                    <a:pt x="2694484" y="1208392"/>
                  </a:cubicBezTo>
                  <a:cubicBezTo>
                    <a:pt x="2691538" y="1788541"/>
                    <a:pt x="2484633" y="2258658"/>
                    <a:pt x="2267537" y="2592118"/>
                  </a:cubicBezTo>
                  <a:lnTo>
                    <a:pt x="2251116" y="2615608"/>
                  </a:lnTo>
                  <a:lnTo>
                    <a:pt x="2287825" y="2791756"/>
                  </a:lnTo>
                  <a:lnTo>
                    <a:pt x="2318429" y="3012726"/>
                  </a:lnTo>
                  <a:lnTo>
                    <a:pt x="2445793" y="3052262"/>
                  </a:lnTo>
                  <a:cubicBezTo>
                    <a:pt x="2492450" y="3061810"/>
                    <a:pt x="2540758" y="3066823"/>
                    <a:pt x="2590238" y="3066824"/>
                  </a:cubicBezTo>
                  <a:cubicBezTo>
                    <a:pt x="2986073" y="3066824"/>
                    <a:pt x="3306960" y="2745937"/>
                    <a:pt x="3306960" y="2350102"/>
                  </a:cubicBezTo>
                  <a:cubicBezTo>
                    <a:pt x="3306960" y="2201664"/>
                    <a:pt x="3261836" y="2063764"/>
                    <a:pt x="3184555" y="1949375"/>
                  </a:cubicBezTo>
                  <a:lnTo>
                    <a:pt x="3109313" y="1858180"/>
                  </a:lnTo>
                  <a:lnTo>
                    <a:pt x="3187609" y="1713931"/>
                  </a:lnTo>
                  <a:cubicBezTo>
                    <a:pt x="3236042" y="1599424"/>
                    <a:pt x="3262823" y="1473531"/>
                    <a:pt x="3262823" y="1341381"/>
                  </a:cubicBezTo>
                  <a:cubicBezTo>
                    <a:pt x="3262823" y="812785"/>
                    <a:pt x="2834310" y="384272"/>
                    <a:pt x="2305712" y="384272"/>
                  </a:cubicBezTo>
                  <a:close/>
                  <a:moveTo>
                    <a:pt x="2302412" y="0"/>
                  </a:moveTo>
                  <a:cubicBezTo>
                    <a:pt x="3056042" y="0"/>
                    <a:pt x="3666979" y="610937"/>
                    <a:pt x="3666979" y="1364566"/>
                  </a:cubicBezTo>
                  <a:cubicBezTo>
                    <a:pt x="3666979" y="1479377"/>
                    <a:pt x="3652800" y="1590876"/>
                    <a:pt x="3626098" y="1697408"/>
                  </a:cubicBezTo>
                  <a:lnTo>
                    <a:pt x="3607415" y="1760954"/>
                  </a:lnTo>
                  <a:lnTo>
                    <a:pt x="3652209" y="1853939"/>
                  </a:lnTo>
                  <a:cubicBezTo>
                    <a:pt x="3712599" y="1996717"/>
                    <a:pt x="3745994" y="2153694"/>
                    <a:pt x="3745994" y="2318469"/>
                  </a:cubicBezTo>
                  <a:cubicBezTo>
                    <a:pt x="3745994" y="2977571"/>
                    <a:pt x="3211686" y="3511878"/>
                    <a:pt x="2552584" y="3511877"/>
                  </a:cubicBezTo>
                  <a:cubicBezTo>
                    <a:pt x="2490793" y="3511878"/>
                    <a:pt x="2430099" y="3507182"/>
                    <a:pt x="2370840" y="3498127"/>
                  </a:cubicBezTo>
                  <a:lnTo>
                    <a:pt x="2346820" y="3492591"/>
                  </a:lnTo>
                  <a:lnTo>
                    <a:pt x="2347495" y="3590616"/>
                  </a:lnTo>
                  <a:cubicBezTo>
                    <a:pt x="2338716" y="3980113"/>
                    <a:pt x="2277875" y="4262063"/>
                    <a:pt x="2254063" y="4351359"/>
                  </a:cubicBezTo>
                  <a:cubicBezTo>
                    <a:pt x="2087595" y="4397080"/>
                    <a:pt x="1966847" y="4499071"/>
                    <a:pt x="1670254" y="4330259"/>
                  </a:cubicBezTo>
                  <a:cubicBezTo>
                    <a:pt x="1699854" y="4157929"/>
                    <a:pt x="1733632" y="3959442"/>
                    <a:pt x="1762903" y="3739471"/>
                  </a:cubicBezTo>
                  <a:lnTo>
                    <a:pt x="1779046" y="3598069"/>
                  </a:lnTo>
                  <a:lnTo>
                    <a:pt x="1722069" y="3609524"/>
                  </a:lnTo>
                  <a:cubicBezTo>
                    <a:pt x="1671809" y="3616236"/>
                    <a:pt x="1620521" y="3619700"/>
                    <a:pt x="1568424" y="3619700"/>
                  </a:cubicBezTo>
                  <a:cubicBezTo>
                    <a:pt x="1012724" y="3619700"/>
                    <a:pt x="549087" y="3225527"/>
                    <a:pt x="441862" y="2701525"/>
                  </a:cubicBezTo>
                  <a:lnTo>
                    <a:pt x="438583" y="2680040"/>
                  </a:lnTo>
                  <a:lnTo>
                    <a:pt x="434291" y="2676831"/>
                  </a:lnTo>
                  <a:cubicBezTo>
                    <a:pt x="169059" y="2457943"/>
                    <a:pt x="1" y="2126684"/>
                    <a:pt x="0" y="1755939"/>
                  </a:cubicBezTo>
                  <a:cubicBezTo>
                    <a:pt x="0" y="1096836"/>
                    <a:pt x="534308" y="562530"/>
                    <a:pt x="1193410" y="562530"/>
                  </a:cubicBezTo>
                  <a:lnTo>
                    <a:pt x="1199882" y="562856"/>
                  </a:lnTo>
                  <a:lnTo>
                    <a:pt x="1249445" y="496576"/>
                  </a:lnTo>
                  <a:cubicBezTo>
                    <a:pt x="1499727" y="193304"/>
                    <a:pt x="1878494" y="-1"/>
                    <a:pt x="2302412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685588" y="-285691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971114" y="4356139"/>
            <a:ext cx="792000" cy="792000"/>
            <a:chOff x="1655709" y="-1841222"/>
            <a:chExt cx="792000" cy="792000"/>
          </a:xfrm>
        </p:grpSpPr>
        <p:sp>
          <p:nvSpPr>
            <p:cNvPr id="81" name="Freeform 80"/>
            <p:cNvSpPr/>
            <p:nvPr/>
          </p:nvSpPr>
          <p:spPr>
            <a:xfrm>
              <a:off x="1703231" y="-1796587"/>
              <a:ext cx="696957" cy="702731"/>
            </a:xfrm>
            <a:custGeom>
              <a:avLst/>
              <a:gdLst>
                <a:gd name="connsiteX0" fmla="*/ 4400551 w 4400551"/>
                <a:gd name="connsiteY0" fmla="*/ 1562100 h 4437007"/>
                <a:gd name="connsiteX1" fmla="*/ 3552826 w 4400551"/>
                <a:gd name="connsiteY1" fmla="*/ 4427483 h 4437007"/>
                <a:gd name="connsiteX2" fmla="*/ 2905126 w 4400551"/>
                <a:gd name="connsiteY2" fmla="*/ 4427483 h 4437007"/>
                <a:gd name="connsiteX3" fmla="*/ 4400551 w 4400551"/>
                <a:gd name="connsiteY3" fmla="*/ 1562100 h 4437007"/>
                <a:gd name="connsiteX4" fmla="*/ 0 w 4400551"/>
                <a:gd name="connsiteY4" fmla="*/ 1552574 h 4437007"/>
                <a:gd name="connsiteX5" fmla="*/ 1663314 w 4400551"/>
                <a:gd name="connsiteY5" fmla="*/ 4427481 h 4437007"/>
                <a:gd name="connsiteX6" fmla="*/ 995255 w 4400551"/>
                <a:gd name="connsiteY6" fmla="*/ 4427481 h 4437007"/>
                <a:gd name="connsiteX7" fmla="*/ 0 w 4400551"/>
                <a:gd name="connsiteY7" fmla="*/ 1552574 h 4437007"/>
                <a:gd name="connsiteX8" fmla="*/ 3755254 w 4400551"/>
                <a:gd name="connsiteY8" fmla="*/ 766762 h 4437007"/>
                <a:gd name="connsiteX9" fmla="*/ 2717029 w 4400551"/>
                <a:gd name="connsiteY9" fmla="*/ 2962276 h 4437007"/>
                <a:gd name="connsiteX10" fmla="*/ 2536054 w 4400551"/>
                <a:gd name="connsiteY10" fmla="*/ 2133601 h 4437007"/>
                <a:gd name="connsiteX11" fmla="*/ 3755254 w 4400551"/>
                <a:gd name="connsiteY11" fmla="*/ 766762 h 4437007"/>
                <a:gd name="connsiteX12" fmla="*/ 542926 w 4400551"/>
                <a:gd name="connsiteY12" fmla="*/ 0 h 4437007"/>
                <a:gd name="connsiteX13" fmla="*/ 2539034 w 4400551"/>
                <a:gd name="connsiteY13" fmla="*/ 4437007 h 4437007"/>
                <a:gd name="connsiteX14" fmla="*/ 1852081 w 4400551"/>
                <a:gd name="connsiteY14" fmla="*/ 4437007 h 4437007"/>
                <a:gd name="connsiteX15" fmla="*/ 542926 w 4400551"/>
                <a:gd name="connsiteY15" fmla="*/ 0 h 443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00551" h="4437007">
                  <a:moveTo>
                    <a:pt x="4400551" y="1562100"/>
                  </a:moveTo>
                  <a:cubicBezTo>
                    <a:pt x="4064001" y="2317203"/>
                    <a:pt x="3527426" y="3053255"/>
                    <a:pt x="3552826" y="4427483"/>
                  </a:cubicBezTo>
                  <a:lnTo>
                    <a:pt x="2905126" y="4427483"/>
                  </a:lnTo>
                  <a:cubicBezTo>
                    <a:pt x="2917826" y="3748580"/>
                    <a:pt x="3082926" y="2336253"/>
                    <a:pt x="4400551" y="1562100"/>
                  </a:cubicBezTo>
                  <a:close/>
                  <a:moveTo>
                    <a:pt x="0" y="1552574"/>
                  </a:moveTo>
                  <a:cubicBezTo>
                    <a:pt x="1406339" y="2288627"/>
                    <a:pt x="1650402" y="3748578"/>
                    <a:pt x="1663314" y="4427481"/>
                  </a:cubicBezTo>
                  <a:lnTo>
                    <a:pt x="995255" y="4427481"/>
                  </a:lnTo>
                  <a:cubicBezTo>
                    <a:pt x="1040129" y="2977054"/>
                    <a:pt x="513629" y="2298152"/>
                    <a:pt x="0" y="1552574"/>
                  </a:cubicBezTo>
                  <a:close/>
                  <a:moveTo>
                    <a:pt x="3755254" y="766762"/>
                  </a:moveTo>
                  <a:cubicBezTo>
                    <a:pt x="3352029" y="1192422"/>
                    <a:pt x="3005954" y="1527537"/>
                    <a:pt x="2717029" y="2962276"/>
                  </a:cubicBezTo>
                  <a:cubicBezTo>
                    <a:pt x="2675754" y="2533651"/>
                    <a:pt x="2653529" y="2466976"/>
                    <a:pt x="2536054" y="2133601"/>
                  </a:cubicBezTo>
                  <a:cubicBezTo>
                    <a:pt x="2720204" y="1651014"/>
                    <a:pt x="3094854" y="835290"/>
                    <a:pt x="3755254" y="766762"/>
                  </a:cubicBezTo>
                  <a:close/>
                  <a:moveTo>
                    <a:pt x="542926" y="0"/>
                  </a:moveTo>
                  <a:cubicBezTo>
                    <a:pt x="2370041" y="1028320"/>
                    <a:pt x="2525756" y="3409462"/>
                    <a:pt x="2539034" y="4437007"/>
                  </a:cubicBezTo>
                  <a:lnTo>
                    <a:pt x="1852081" y="4437007"/>
                  </a:lnTo>
                  <a:cubicBezTo>
                    <a:pt x="1898224" y="2241730"/>
                    <a:pt x="1442557" y="1090362"/>
                    <a:pt x="542926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1655709" y="-184122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015026" y="3971524"/>
            <a:ext cx="792000" cy="792000"/>
            <a:chOff x="7187240" y="-2828851"/>
            <a:chExt cx="792000" cy="792000"/>
          </a:xfrm>
        </p:grpSpPr>
        <p:sp>
          <p:nvSpPr>
            <p:cNvPr id="80" name="Freeform 79"/>
            <p:cNvSpPr/>
            <p:nvPr/>
          </p:nvSpPr>
          <p:spPr>
            <a:xfrm>
              <a:off x="7199132" y="-2644289"/>
              <a:ext cx="768217" cy="422877"/>
            </a:xfrm>
            <a:custGeom>
              <a:avLst/>
              <a:gdLst>
                <a:gd name="connsiteX0" fmla="*/ 1104901 w 4189811"/>
                <a:gd name="connsiteY0" fmla="*/ 839391 h 2306346"/>
                <a:gd name="connsiteX1" fmla="*/ 1370411 w 4189811"/>
                <a:gd name="connsiteY1" fmla="*/ 1104901 h 2306346"/>
                <a:gd name="connsiteX2" fmla="*/ 1104901 w 4189811"/>
                <a:gd name="connsiteY2" fmla="*/ 1370411 h 2306346"/>
                <a:gd name="connsiteX3" fmla="*/ 839391 w 4189811"/>
                <a:gd name="connsiteY3" fmla="*/ 1104901 h 2306346"/>
                <a:gd name="connsiteX4" fmla="*/ 1104901 w 4189811"/>
                <a:gd name="connsiteY4" fmla="*/ 839391 h 2306346"/>
                <a:gd name="connsiteX5" fmla="*/ 3213750 w 4189811"/>
                <a:gd name="connsiteY5" fmla="*/ 667674 h 2306346"/>
                <a:gd name="connsiteX6" fmla="*/ 3388789 w 4189811"/>
                <a:gd name="connsiteY6" fmla="*/ 842713 h 2306346"/>
                <a:gd name="connsiteX7" fmla="*/ 3213750 w 4189811"/>
                <a:gd name="connsiteY7" fmla="*/ 1017752 h 2306346"/>
                <a:gd name="connsiteX8" fmla="*/ 3038711 w 4189811"/>
                <a:gd name="connsiteY8" fmla="*/ 842713 h 2306346"/>
                <a:gd name="connsiteX9" fmla="*/ 3213750 w 4189811"/>
                <a:gd name="connsiteY9" fmla="*/ 667674 h 2306346"/>
                <a:gd name="connsiteX10" fmla="*/ 1100137 w 4189811"/>
                <a:gd name="connsiteY10" fmla="*/ 607218 h 2306346"/>
                <a:gd name="connsiteX11" fmla="*/ 607218 w 4189811"/>
                <a:gd name="connsiteY11" fmla="*/ 1100137 h 2306346"/>
                <a:gd name="connsiteX12" fmla="*/ 1100137 w 4189811"/>
                <a:gd name="connsiteY12" fmla="*/ 1593056 h 2306346"/>
                <a:gd name="connsiteX13" fmla="*/ 1593056 w 4189811"/>
                <a:gd name="connsiteY13" fmla="*/ 1100137 h 2306346"/>
                <a:gd name="connsiteX14" fmla="*/ 1100137 w 4189811"/>
                <a:gd name="connsiteY14" fmla="*/ 607218 h 2306346"/>
                <a:gd name="connsiteX15" fmla="*/ 3210609 w 4189811"/>
                <a:gd name="connsiteY15" fmla="*/ 514612 h 2306346"/>
                <a:gd name="connsiteX16" fmla="*/ 2885649 w 4189811"/>
                <a:gd name="connsiteY16" fmla="*/ 839572 h 2306346"/>
                <a:gd name="connsiteX17" fmla="*/ 3210609 w 4189811"/>
                <a:gd name="connsiteY17" fmla="*/ 1164532 h 2306346"/>
                <a:gd name="connsiteX18" fmla="*/ 3535569 w 4189811"/>
                <a:gd name="connsiteY18" fmla="*/ 839572 h 2306346"/>
                <a:gd name="connsiteX19" fmla="*/ 3210609 w 4189811"/>
                <a:gd name="connsiteY19" fmla="*/ 514612 h 2306346"/>
                <a:gd name="connsiteX20" fmla="*/ 1104900 w 4189811"/>
                <a:gd name="connsiteY20" fmla="*/ 404812 h 2306346"/>
                <a:gd name="connsiteX21" fmla="*/ 1804988 w 4189811"/>
                <a:gd name="connsiteY21" fmla="*/ 1104900 h 2306346"/>
                <a:gd name="connsiteX22" fmla="*/ 1104900 w 4189811"/>
                <a:gd name="connsiteY22" fmla="*/ 1804988 h 2306346"/>
                <a:gd name="connsiteX23" fmla="*/ 404812 w 4189811"/>
                <a:gd name="connsiteY23" fmla="*/ 1104900 h 2306346"/>
                <a:gd name="connsiteX24" fmla="*/ 1104900 w 4189811"/>
                <a:gd name="connsiteY24" fmla="*/ 404812 h 2306346"/>
                <a:gd name="connsiteX25" fmla="*/ 3213749 w 4189811"/>
                <a:gd name="connsiteY25" fmla="*/ 381175 h 2306346"/>
                <a:gd name="connsiteX26" fmla="*/ 3675286 w 4189811"/>
                <a:gd name="connsiteY26" fmla="*/ 842712 h 2306346"/>
                <a:gd name="connsiteX27" fmla="*/ 3213749 w 4189811"/>
                <a:gd name="connsiteY27" fmla="*/ 1304249 h 2306346"/>
                <a:gd name="connsiteX28" fmla="*/ 2752212 w 4189811"/>
                <a:gd name="connsiteY28" fmla="*/ 842712 h 2306346"/>
                <a:gd name="connsiteX29" fmla="*/ 3213749 w 4189811"/>
                <a:gd name="connsiteY29" fmla="*/ 381175 h 2306346"/>
                <a:gd name="connsiteX30" fmla="*/ 3213749 w 4189811"/>
                <a:gd name="connsiteY30" fmla="*/ 233609 h 2306346"/>
                <a:gd name="connsiteX31" fmla="*/ 2604646 w 4189811"/>
                <a:gd name="connsiteY31" fmla="*/ 842712 h 2306346"/>
                <a:gd name="connsiteX32" fmla="*/ 2976659 w 4189811"/>
                <a:gd name="connsiteY32" fmla="*/ 1403949 h 2306346"/>
                <a:gd name="connsiteX33" fmla="*/ 3026174 w 4189811"/>
                <a:gd name="connsiteY33" fmla="*/ 1419319 h 2306346"/>
                <a:gd name="connsiteX34" fmla="*/ 3401325 w 4189811"/>
                <a:gd name="connsiteY34" fmla="*/ 1419319 h 2306346"/>
                <a:gd name="connsiteX35" fmla="*/ 3450840 w 4189811"/>
                <a:gd name="connsiteY35" fmla="*/ 1403949 h 2306346"/>
                <a:gd name="connsiteX36" fmla="*/ 3822852 w 4189811"/>
                <a:gd name="connsiteY36" fmla="*/ 842712 h 2306346"/>
                <a:gd name="connsiteX37" fmla="*/ 3213749 w 4189811"/>
                <a:gd name="connsiteY37" fmla="*/ 233609 h 2306346"/>
                <a:gd name="connsiteX38" fmla="*/ 1104900 w 4189811"/>
                <a:gd name="connsiteY38" fmla="*/ 180975 h 2306346"/>
                <a:gd name="connsiteX39" fmla="*/ 180975 w 4189811"/>
                <a:gd name="connsiteY39" fmla="*/ 1104900 h 2306346"/>
                <a:gd name="connsiteX40" fmla="*/ 1104900 w 4189811"/>
                <a:gd name="connsiteY40" fmla="*/ 2028825 h 2306346"/>
                <a:gd name="connsiteX41" fmla="*/ 2028825 w 4189811"/>
                <a:gd name="connsiteY41" fmla="*/ 1104900 h 2306346"/>
                <a:gd name="connsiteX42" fmla="*/ 1104900 w 4189811"/>
                <a:gd name="connsiteY42" fmla="*/ 180975 h 2306346"/>
                <a:gd name="connsiteX43" fmla="*/ 1104900 w 4189811"/>
                <a:gd name="connsiteY43" fmla="*/ 0 h 2306346"/>
                <a:gd name="connsiteX44" fmla="*/ 2209800 w 4189811"/>
                <a:gd name="connsiteY44" fmla="*/ 1104900 h 2306346"/>
                <a:gd name="connsiteX45" fmla="*/ 2167885 w 4189811"/>
                <a:gd name="connsiteY45" fmla="*/ 1407380 h 2306346"/>
                <a:gd name="connsiteX46" fmla="*/ 2163600 w 4189811"/>
                <a:gd name="connsiteY46" fmla="*/ 1419319 h 2306346"/>
                <a:gd name="connsiteX47" fmla="*/ 2773274 w 4189811"/>
                <a:gd name="connsiteY47" fmla="*/ 1419319 h 2306346"/>
                <a:gd name="connsiteX48" fmla="*/ 2698684 w 4189811"/>
                <a:gd name="connsiteY48" fmla="*/ 1357777 h 2306346"/>
                <a:gd name="connsiteX49" fmla="*/ 2485337 w 4189811"/>
                <a:gd name="connsiteY49" fmla="*/ 842712 h 2306346"/>
                <a:gd name="connsiteX50" fmla="*/ 3213749 w 4189811"/>
                <a:gd name="connsiteY50" fmla="*/ 114300 h 2306346"/>
                <a:gd name="connsiteX51" fmla="*/ 3942161 w 4189811"/>
                <a:gd name="connsiteY51" fmla="*/ 842712 h 2306346"/>
                <a:gd name="connsiteX52" fmla="*/ 3728814 w 4189811"/>
                <a:gd name="connsiteY52" fmla="*/ 1357777 h 2306346"/>
                <a:gd name="connsiteX53" fmla="*/ 3654225 w 4189811"/>
                <a:gd name="connsiteY53" fmla="*/ 1419319 h 2306346"/>
                <a:gd name="connsiteX54" fmla="*/ 4189811 w 4189811"/>
                <a:gd name="connsiteY54" fmla="*/ 1419319 h 2306346"/>
                <a:gd name="connsiteX55" fmla="*/ 4189811 w 4189811"/>
                <a:gd name="connsiteY55" fmla="*/ 1571124 h 2306346"/>
                <a:gd name="connsiteX56" fmla="*/ 3213749 w 4189811"/>
                <a:gd name="connsiteY56" fmla="*/ 1571124 h 2306346"/>
                <a:gd name="connsiteX57" fmla="*/ 2105292 w 4189811"/>
                <a:gd name="connsiteY57" fmla="*/ 1571124 h 2306346"/>
                <a:gd name="connsiteX58" fmla="*/ 2049840 w 4189811"/>
                <a:gd name="connsiteY58" fmla="*/ 1677831 h 2306346"/>
                <a:gd name="connsiteX59" fmla="*/ 1631561 w 4189811"/>
                <a:gd name="connsiteY59" fmla="*/ 2076445 h 2306346"/>
                <a:gd name="connsiteX60" fmla="*/ 1631547 w 4189811"/>
                <a:gd name="connsiteY60" fmla="*/ 2076451 h 2306346"/>
                <a:gd name="connsiteX61" fmla="*/ 4189811 w 4189811"/>
                <a:gd name="connsiteY61" fmla="*/ 2076451 h 2306346"/>
                <a:gd name="connsiteX62" fmla="*/ 4189811 w 4189811"/>
                <a:gd name="connsiteY62" fmla="*/ 2306346 h 2306346"/>
                <a:gd name="connsiteX63" fmla="*/ 0 w 4189811"/>
                <a:gd name="connsiteY63" fmla="*/ 2306346 h 2306346"/>
                <a:gd name="connsiteX64" fmla="*/ 0 w 4189811"/>
                <a:gd name="connsiteY64" fmla="*/ 2076451 h 2306346"/>
                <a:gd name="connsiteX65" fmla="*/ 578253 w 4189811"/>
                <a:gd name="connsiteY65" fmla="*/ 2076451 h 2306346"/>
                <a:gd name="connsiteX66" fmla="*/ 578239 w 4189811"/>
                <a:gd name="connsiteY66" fmla="*/ 2076445 h 2306346"/>
                <a:gd name="connsiteX67" fmla="*/ 0 w 4189811"/>
                <a:gd name="connsiteY67" fmla="*/ 1104900 h 2306346"/>
                <a:gd name="connsiteX68" fmla="*/ 1104900 w 4189811"/>
                <a:gd name="connsiteY68" fmla="*/ 0 h 2306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189811" h="2306346">
                  <a:moveTo>
                    <a:pt x="1104901" y="839391"/>
                  </a:moveTo>
                  <a:cubicBezTo>
                    <a:pt x="1251538" y="839391"/>
                    <a:pt x="1370411" y="958264"/>
                    <a:pt x="1370411" y="1104901"/>
                  </a:cubicBezTo>
                  <a:cubicBezTo>
                    <a:pt x="1370411" y="1251538"/>
                    <a:pt x="1251538" y="1370411"/>
                    <a:pt x="1104901" y="1370411"/>
                  </a:cubicBezTo>
                  <a:cubicBezTo>
                    <a:pt x="958264" y="1370411"/>
                    <a:pt x="839391" y="1251538"/>
                    <a:pt x="839391" y="1104901"/>
                  </a:cubicBezTo>
                  <a:cubicBezTo>
                    <a:pt x="839391" y="958264"/>
                    <a:pt x="958264" y="839391"/>
                    <a:pt x="1104901" y="839391"/>
                  </a:cubicBezTo>
                  <a:close/>
                  <a:moveTo>
                    <a:pt x="3213750" y="667674"/>
                  </a:moveTo>
                  <a:cubicBezTo>
                    <a:pt x="3310421" y="667674"/>
                    <a:pt x="3388789" y="746041"/>
                    <a:pt x="3388789" y="842713"/>
                  </a:cubicBezTo>
                  <a:cubicBezTo>
                    <a:pt x="3388789" y="939384"/>
                    <a:pt x="3310421" y="1017752"/>
                    <a:pt x="3213750" y="1017752"/>
                  </a:cubicBezTo>
                  <a:cubicBezTo>
                    <a:pt x="3117079" y="1017752"/>
                    <a:pt x="3038711" y="939384"/>
                    <a:pt x="3038711" y="842713"/>
                  </a:cubicBezTo>
                  <a:cubicBezTo>
                    <a:pt x="3038711" y="746041"/>
                    <a:pt x="3117079" y="667674"/>
                    <a:pt x="3213750" y="667674"/>
                  </a:cubicBezTo>
                  <a:close/>
                  <a:moveTo>
                    <a:pt x="1100137" y="607218"/>
                  </a:moveTo>
                  <a:cubicBezTo>
                    <a:pt x="827905" y="607218"/>
                    <a:pt x="607218" y="827905"/>
                    <a:pt x="607218" y="1100137"/>
                  </a:cubicBezTo>
                  <a:cubicBezTo>
                    <a:pt x="607218" y="1372369"/>
                    <a:pt x="827905" y="1593056"/>
                    <a:pt x="1100137" y="1593056"/>
                  </a:cubicBezTo>
                  <a:cubicBezTo>
                    <a:pt x="1372369" y="1593056"/>
                    <a:pt x="1593056" y="1372369"/>
                    <a:pt x="1593056" y="1100137"/>
                  </a:cubicBezTo>
                  <a:cubicBezTo>
                    <a:pt x="1593056" y="827905"/>
                    <a:pt x="1372369" y="607218"/>
                    <a:pt x="1100137" y="607218"/>
                  </a:cubicBezTo>
                  <a:close/>
                  <a:moveTo>
                    <a:pt x="3210609" y="514612"/>
                  </a:moveTo>
                  <a:cubicBezTo>
                    <a:pt x="3031139" y="514612"/>
                    <a:pt x="2885649" y="660102"/>
                    <a:pt x="2885649" y="839572"/>
                  </a:cubicBezTo>
                  <a:cubicBezTo>
                    <a:pt x="2885649" y="1019043"/>
                    <a:pt x="3031139" y="1164532"/>
                    <a:pt x="3210609" y="1164532"/>
                  </a:cubicBezTo>
                  <a:cubicBezTo>
                    <a:pt x="3390080" y="1164532"/>
                    <a:pt x="3535569" y="1019043"/>
                    <a:pt x="3535569" y="839572"/>
                  </a:cubicBezTo>
                  <a:cubicBezTo>
                    <a:pt x="3535569" y="660102"/>
                    <a:pt x="3390080" y="514612"/>
                    <a:pt x="3210609" y="514612"/>
                  </a:cubicBezTo>
                  <a:close/>
                  <a:moveTo>
                    <a:pt x="1104900" y="404812"/>
                  </a:moveTo>
                  <a:cubicBezTo>
                    <a:pt x="1491548" y="404812"/>
                    <a:pt x="1804988" y="718252"/>
                    <a:pt x="1804988" y="1104900"/>
                  </a:cubicBezTo>
                  <a:cubicBezTo>
                    <a:pt x="1804988" y="1491548"/>
                    <a:pt x="1491548" y="1804988"/>
                    <a:pt x="1104900" y="1804988"/>
                  </a:cubicBezTo>
                  <a:cubicBezTo>
                    <a:pt x="718252" y="1804988"/>
                    <a:pt x="404812" y="1491548"/>
                    <a:pt x="404812" y="1104900"/>
                  </a:cubicBezTo>
                  <a:cubicBezTo>
                    <a:pt x="404812" y="718252"/>
                    <a:pt x="718252" y="404812"/>
                    <a:pt x="1104900" y="404812"/>
                  </a:cubicBezTo>
                  <a:close/>
                  <a:moveTo>
                    <a:pt x="3213749" y="381175"/>
                  </a:moveTo>
                  <a:cubicBezTo>
                    <a:pt x="3468649" y="381175"/>
                    <a:pt x="3675286" y="587812"/>
                    <a:pt x="3675286" y="842712"/>
                  </a:cubicBezTo>
                  <a:cubicBezTo>
                    <a:pt x="3675286" y="1097612"/>
                    <a:pt x="3468649" y="1304249"/>
                    <a:pt x="3213749" y="1304249"/>
                  </a:cubicBezTo>
                  <a:cubicBezTo>
                    <a:pt x="2958849" y="1304249"/>
                    <a:pt x="2752212" y="1097612"/>
                    <a:pt x="2752212" y="842712"/>
                  </a:cubicBezTo>
                  <a:cubicBezTo>
                    <a:pt x="2752212" y="587812"/>
                    <a:pt x="2958849" y="381175"/>
                    <a:pt x="3213749" y="381175"/>
                  </a:cubicBezTo>
                  <a:close/>
                  <a:moveTo>
                    <a:pt x="3213749" y="233609"/>
                  </a:moveTo>
                  <a:cubicBezTo>
                    <a:pt x="2877351" y="233609"/>
                    <a:pt x="2604646" y="506314"/>
                    <a:pt x="2604646" y="842712"/>
                  </a:cubicBezTo>
                  <a:cubicBezTo>
                    <a:pt x="2604646" y="1095011"/>
                    <a:pt x="2758043" y="1311482"/>
                    <a:pt x="2976659" y="1403949"/>
                  </a:cubicBezTo>
                  <a:lnTo>
                    <a:pt x="3026174" y="1419319"/>
                  </a:lnTo>
                  <a:lnTo>
                    <a:pt x="3401325" y="1419319"/>
                  </a:lnTo>
                  <a:lnTo>
                    <a:pt x="3450840" y="1403949"/>
                  </a:lnTo>
                  <a:cubicBezTo>
                    <a:pt x="3669456" y="1311482"/>
                    <a:pt x="3822852" y="1095011"/>
                    <a:pt x="3822852" y="842712"/>
                  </a:cubicBezTo>
                  <a:cubicBezTo>
                    <a:pt x="3822852" y="506314"/>
                    <a:pt x="3550148" y="233609"/>
                    <a:pt x="3213749" y="233609"/>
                  </a:cubicBezTo>
                  <a:close/>
                  <a:moveTo>
                    <a:pt x="1104900" y="180975"/>
                  </a:moveTo>
                  <a:cubicBezTo>
                    <a:pt x="594630" y="180975"/>
                    <a:pt x="180975" y="594630"/>
                    <a:pt x="180975" y="1104900"/>
                  </a:cubicBezTo>
                  <a:cubicBezTo>
                    <a:pt x="180975" y="1615170"/>
                    <a:pt x="594630" y="2028825"/>
                    <a:pt x="1104900" y="2028825"/>
                  </a:cubicBezTo>
                  <a:cubicBezTo>
                    <a:pt x="1615170" y="2028825"/>
                    <a:pt x="2028825" y="1615170"/>
                    <a:pt x="2028825" y="1104900"/>
                  </a:cubicBezTo>
                  <a:cubicBezTo>
                    <a:pt x="2028825" y="594630"/>
                    <a:pt x="1615170" y="180975"/>
                    <a:pt x="1104900" y="180975"/>
                  </a:cubicBezTo>
                  <a:close/>
                  <a:moveTo>
                    <a:pt x="1104900" y="0"/>
                  </a:moveTo>
                  <a:cubicBezTo>
                    <a:pt x="1715119" y="0"/>
                    <a:pt x="2209800" y="494681"/>
                    <a:pt x="2209800" y="1104900"/>
                  </a:cubicBezTo>
                  <a:cubicBezTo>
                    <a:pt x="2209800" y="1209782"/>
                    <a:pt x="2195187" y="1311250"/>
                    <a:pt x="2167885" y="1407380"/>
                  </a:cubicBezTo>
                  <a:lnTo>
                    <a:pt x="2163600" y="1419319"/>
                  </a:lnTo>
                  <a:lnTo>
                    <a:pt x="2773274" y="1419319"/>
                  </a:lnTo>
                  <a:lnTo>
                    <a:pt x="2698684" y="1357777"/>
                  </a:lnTo>
                  <a:cubicBezTo>
                    <a:pt x="2566868" y="1225960"/>
                    <a:pt x="2485337" y="1043857"/>
                    <a:pt x="2485337" y="842712"/>
                  </a:cubicBezTo>
                  <a:cubicBezTo>
                    <a:pt x="2485337" y="440422"/>
                    <a:pt x="2811459" y="114300"/>
                    <a:pt x="3213749" y="114300"/>
                  </a:cubicBezTo>
                  <a:cubicBezTo>
                    <a:pt x="3616040" y="114300"/>
                    <a:pt x="3942161" y="440422"/>
                    <a:pt x="3942161" y="842712"/>
                  </a:cubicBezTo>
                  <a:cubicBezTo>
                    <a:pt x="3942161" y="1043857"/>
                    <a:pt x="3860631" y="1225960"/>
                    <a:pt x="3728814" y="1357777"/>
                  </a:cubicBezTo>
                  <a:lnTo>
                    <a:pt x="3654225" y="1419319"/>
                  </a:lnTo>
                  <a:lnTo>
                    <a:pt x="4189811" y="1419319"/>
                  </a:lnTo>
                  <a:lnTo>
                    <a:pt x="4189811" y="1571124"/>
                  </a:lnTo>
                  <a:lnTo>
                    <a:pt x="3213749" y="1571124"/>
                  </a:lnTo>
                  <a:lnTo>
                    <a:pt x="2105292" y="1571124"/>
                  </a:lnTo>
                  <a:lnTo>
                    <a:pt x="2049840" y="1677831"/>
                  </a:lnTo>
                  <a:cubicBezTo>
                    <a:pt x="1948333" y="1844889"/>
                    <a:pt x="1803774" y="1982893"/>
                    <a:pt x="1631561" y="2076445"/>
                  </a:cubicBezTo>
                  <a:lnTo>
                    <a:pt x="1631547" y="2076451"/>
                  </a:lnTo>
                  <a:lnTo>
                    <a:pt x="4189811" y="2076451"/>
                  </a:lnTo>
                  <a:lnTo>
                    <a:pt x="4189811" y="2306346"/>
                  </a:lnTo>
                  <a:lnTo>
                    <a:pt x="0" y="2306346"/>
                  </a:lnTo>
                  <a:lnTo>
                    <a:pt x="0" y="2076451"/>
                  </a:lnTo>
                  <a:lnTo>
                    <a:pt x="578253" y="2076451"/>
                  </a:lnTo>
                  <a:lnTo>
                    <a:pt x="578239" y="2076445"/>
                  </a:lnTo>
                  <a:cubicBezTo>
                    <a:pt x="233814" y="1889342"/>
                    <a:pt x="0" y="1524426"/>
                    <a:pt x="0" y="1104900"/>
                  </a:cubicBezTo>
                  <a:cubicBezTo>
                    <a:pt x="0" y="494681"/>
                    <a:pt x="494681" y="0"/>
                    <a:pt x="1104900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7187240" y="-282885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059005" y="1807034"/>
            <a:ext cx="792000" cy="792000"/>
            <a:chOff x="4239240" y="-2737690"/>
            <a:chExt cx="792000" cy="792000"/>
          </a:xfrm>
        </p:grpSpPr>
        <p:sp>
          <p:nvSpPr>
            <p:cNvPr id="114" name="Rectangle 113"/>
            <p:cNvSpPr/>
            <p:nvPr/>
          </p:nvSpPr>
          <p:spPr>
            <a:xfrm>
              <a:off x="4239240" y="-27376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7" name="Freeform 136"/>
            <p:cNvSpPr/>
            <p:nvPr/>
          </p:nvSpPr>
          <p:spPr>
            <a:xfrm>
              <a:off x="4268785" y="-2693941"/>
              <a:ext cx="732910" cy="704502"/>
            </a:xfrm>
            <a:custGeom>
              <a:avLst/>
              <a:gdLst>
                <a:gd name="connsiteX0" fmla="*/ 2984352 w 4810958"/>
                <a:gd name="connsiteY0" fmla="*/ 3536478 h 4624485"/>
                <a:gd name="connsiteX1" fmla="*/ 3207309 w 4810958"/>
                <a:gd name="connsiteY1" fmla="*/ 3788125 h 4624485"/>
                <a:gd name="connsiteX2" fmla="*/ 2984352 w 4810958"/>
                <a:gd name="connsiteY2" fmla="*/ 4039772 h 4624485"/>
                <a:gd name="connsiteX3" fmla="*/ 2761395 w 4810958"/>
                <a:gd name="connsiteY3" fmla="*/ 3788125 h 4624485"/>
                <a:gd name="connsiteX4" fmla="*/ 2984352 w 4810958"/>
                <a:gd name="connsiteY4" fmla="*/ 3536478 h 4624485"/>
                <a:gd name="connsiteX5" fmla="*/ 2983177 w 4810958"/>
                <a:gd name="connsiteY5" fmla="*/ 3278038 h 4624485"/>
                <a:gd name="connsiteX6" fmla="*/ 2473089 w 4810958"/>
                <a:gd name="connsiteY6" fmla="*/ 3788126 h 4624485"/>
                <a:gd name="connsiteX7" fmla="*/ 2983177 w 4810958"/>
                <a:gd name="connsiteY7" fmla="*/ 4298214 h 4624485"/>
                <a:gd name="connsiteX8" fmla="*/ 3493265 w 4810958"/>
                <a:gd name="connsiteY8" fmla="*/ 3788126 h 4624485"/>
                <a:gd name="connsiteX9" fmla="*/ 2983177 w 4810958"/>
                <a:gd name="connsiteY9" fmla="*/ 3278038 h 4624485"/>
                <a:gd name="connsiteX10" fmla="*/ 1779310 w 4810958"/>
                <a:gd name="connsiteY10" fmla="*/ 2298228 h 4624485"/>
                <a:gd name="connsiteX11" fmla="*/ 2002267 w 4810958"/>
                <a:gd name="connsiteY11" fmla="*/ 2549875 h 4624485"/>
                <a:gd name="connsiteX12" fmla="*/ 1779310 w 4810958"/>
                <a:gd name="connsiteY12" fmla="*/ 2801522 h 4624485"/>
                <a:gd name="connsiteX13" fmla="*/ 1556353 w 4810958"/>
                <a:gd name="connsiteY13" fmla="*/ 2549875 h 4624485"/>
                <a:gd name="connsiteX14" fmla="*/ 1779310 w 4810958"/>
                <a:gd name="connsiteY14" fmla="*/ 2298228 h 4624485"/>
                <a:gd name="connsiteX15" fmla="*/ 3360180 w 4810958"/>
                <a:gd name="connsiteY15" fmla="*/ 2072137 h 4624485"/>
                <a:gd name="connsiteX16" fmla="*/ 2996459 w 4810958"/>
                <a:gd name="connsiteY16" fmla="*/ 2074364 h 4624485"/>
                <a:gd name="connsiteX17" fmla="*/ 1414670 w 4810958"/>
                <a:gd name="connsiteY17" fmla="*/ 4207803 h 4624485"/>
                <a:gd name="connsiteX18" fmla="*/ 1781566 w 4810958"/>
                <a:gd name="connsiteY18" fmla="*/ 4205576 h 4624485"/>
                <a:gd name="connsiteX19" fmla="*/ 3360180 w 4810958"/>
                <a:gd name="connsiteY19" fmla="*/ 2072137 h 4624485"/>
                <a:gd name="connsiteX20" fmla="*/ 1778135 w 4810958"/>
                <a:gd name="connsiteY20" fmla="*/ 2039788 h 4624485"/>
                <a:gd name="connsiteX21" fmla="*/ 1268047 w 4810958"/>
                <a:gd name="connsiteY21" fmla="*/ 2549876 h 4624485"/>
                <a:gd name="connsiteX22" fmla="*/ 1778135 w 4810958"/>
                <a:gd name="connsiteY22" fmla="*/ 3059964 h 4624485"/>
                <a:gd name="connsiteX23" fmla="*/ 2288223 w 4810958"/>
                <a:gd name="connsiteY23" fmla="*/ 2549876 h 4624485"/>
                <a:gd name="connsiteX24" fmla="*/ 1778135 w 4810958"/>
                <a:gd name="connsiteY24" fmla="*/ 2039788 h 4624485"/>
                <a:gd name="connsiteX25" fmla="*/ 2386758 w 4810958"/>
                <a:gd name="connsiteY25" fmla="*/ 0 h 4624485"/>
                <a:gd name="connsiteX26" fmla="*/ 4645527 w 4810958"/>
                <a:gd name="connsiteY26" fmla="*/ 1874265 h 4624485"/>
                <a:gd name="connsiteX27" fmla="*/ 4594727 w 4810958"/>
                <a:gd name="connsiteY27" fmla="*/ 2312415 h 4624485"/>
                <a:gd name="connsiteX28" fmla="*/ 4099340 w 4810958"/>
                <a:gd name="connsiteY28" fmla="*/ 2311702 h 4624485"/>
                <a:gd name="connsiteX29" fmla="*/ 4087729 w 4810958"/>
                <a:gd name="connsiteY29" fmla="*/ 4515522 h 4624485"/>
                <a:gd name="connsiteX30" fmla="*/ 4004166 w 4810958"/>
                <a:gd name="connsiteY30" fmla="*/ 4624485 h 4624485"/>
                <a:gd name="connsiteX31" fmla="*/ 814481 w 4810958"/>
                <a:gd name="connsiteY31" fmla="*/ 4618135 h 4624485"/>
                <a:gd name="connsiteX32" fmla="*/ 673768 w 4810958"/>
                <a:gd name="connsiteY32" fmla="*/ 4388522 h 4624485"/>
                <a:gd name="connsiteX33" fmla="*/ 667980 w 4810958"/>
                <a:gd name="connsiteY33" fmla="*/ 2306765 h 4624485"/>
                <a:gd name="connsiteX34" fmla="*/ 181477 w 4810958"/>
                <a:gd name="connsiteY34" fmla="*/ 2306065 h 4624485"/>
                <a:gd name="connsiteX35" fmla="*/ 124327 w 4810958"/>
                <a:gd name="connsiteY35" fmla="*/ 1867915 h 4624485"/>
                <a:gd name="connsiteX36" fmla="*/ 873628 w 4810958"/>
                <a:gd name="connsiteY36" fmla="*/ 1249275 h 4624485"/>
                <a:gd name="connsiteX37" fmla="*/ 873628 w 4810958"/>
                <a:gd name="connsiteY37" fmla="*/ 336509 h 4624485"/>
                <a:gd name="connsiteX38" fmla="*/ 980522 w 4810958"/>
                <a:gd name="connsiteY38" fmla="*/ 229615 h 4624485"/>
                <a:gd name="connsiteX39" fmla="*/ 1408084 w 4810958"/>
                <a:gd name="connsiteY39" fmla="*/ 229615 h 4624485"/>
                <a:gd name="connsiteX40" fmla="*/ 1514978 w 4810958"/>
                <a:gd name="connsiteY40" fmla="*/ 336509 h 4624485"/>
                <a:gd name="connsiteX41" fmla="*/ 1514978 w 4810958"/>
                <a:gd name="connsiteY41" fmla="*/ 719762 h 462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810958" h="4624485">
                  <a:moveTo>
                    <a:pt x="2984352" y="3536478"/>
                  </a:moveTo>
                  <a:cubicBezTo>
                    <a:pt x="3107488" y="3536478"/>
                    <a:pt x="3207309" y="3649144"/>
                    <a:pt x="3207309" y="3788125"/>
                  </a:cubicBezTo>
                  <a:cubicBezTo>
                    <a:pt x="3207309" y="3927106"/>
                    <a:pt x="3107488" y="4039772"/>
                    <a:pt x="2984352" y="4039772"/>
                  </a:cubicBezTo>
                  <a:cubicBezTo>
                    <a:pt x="2861216" y="4039772"/>
                    <a:pt x="2761395" y="3927106"/>
                    <a:pt x="2761395" y="3788125"/>
                  </a:cubicBezTo>
                  <a:cubicBezTo>
                    <a:pt x="2761395" y="3649144"/>
                    <a:pt x="2861216" y="3536478"/>
                    <a:pt x="2984352" y="3536478"/>
                  </a:cubicBezTo>
                  <a:close/>
                  <a:moveTo>
                    <a:pt x="2983177" y="3278038"/>
                  </a:moveTo>
                  <a:cubicBezTo>
                    <a:pt x="2701463" y="3278038"/>
                    <a:pt x="2473089" y="3506412"/>
                    <a:pt x="2473089" y="3788126"/>
                  </a:cubicBezTo>
                  <a:cubicBezTo>
                    <a:pt x="2473089" y="4069840"/>
                    <a:pt x="2701463" y="4298214"/>
                    <a:pt x="2983177" y="4298214"/>
                  </a:cubicBezTo>
                  <a:cubicBezTo>
                    <a:pt x="3264891" y="4298214"/>
                    <a:pt x="3493265" y="4069840"/>
                    <a:pt x="3493265" y="3788126"/>
                  </a:cubicBezTo>
                  <a:cubicBezTo>
                    <a:pt x="3493265" y="3506412"/>
                    <a:pt x="3264891" y="3278038"/>
                    <a:pt x="2983177" y="3278038"/>
                  </a:cubicBezTo>
                  <a:close/>
                  <a:moveTo>
                    <a:pt x="1779310" y="2298228"/>
                  </a:moveTo>
                  <a:cubicBezTo>
                    <a:pt x="1902446" y="2298228"/>
                    <a:pt x="2002267" y="2410894"/>
                    <a:pt x="2002267" y="2549875"/>
                  </a:cubicBezTo>
                  <a:cubicBezTo>
                    <a:pt x="2002267" y="2688856"/>
                    <a:pt x="1902446" y="2801522"/>
                    <a:pt x="1779310" y="2801522"/>
                  </a:cubicBezTo>
                  <a:cubicBezTo>
                    <a:pt x="1656174" y="2801522"/>
                    <a:pt x="1556353" y="2688856"/>
                    <a:pt x="1556353" y="2549875"/>
                  </a:cubicBezTo>
                  <a:cubicBezTo>
                    <a:pt x="1556353" y="2410894"/>
                    <a:pt x="1656174" y="2298228"/>
                    <a:pt x="1779310" y="2298228"/>
                  </a:cubicBezTo>
                  <a:close/>
                  <a:moveTo>
                    <a:pt x="3360180" y="2072137"/>
                  </a:moveTo>
                  <a:lnTo>
                    <a:pt x="2996459" y="2074364"/>
                  </a:lnTo>
                  <a:lnTo>
                    <a:pt x="1414670" y="4207803"/>
                  </a:lnTo>
                  <a:lnTo>
                    <a:pt x="1781566" y="4205576"/>
                  </a:lnTo>
                  <a:cubicBezTo>
                    <a:pt x="2305654" y="3498663"/>
                    <a:pt x="2836092" y="2779050"/>
                    <a:pt x="3360180" y="2072137"/>
                  </a:cubicBezTo>
                  <a:close/>
                  <a:moveTo>
                    <a:pt x="1778135" y="2039788"/>
                  </a:moveTo>
                  <a:cubicBezTo>
                    <a:pt x="1496421" y="2039788"/>
                    <a:pt x="1268047" y="2268162"/>
                    <a:pt x="1268047" y="2549876"/>
                  </a:cubicBezTo>
                  <a:cubicBezTo>
                    <a:pt x="1268047" y="2831590"/>
                    <a:pt x="1496421" y="3059964"/>
                    <a:pt x="1778135" y="3059964"/>
                  </a:cubicBezTo>
                  <a:cubicBezTo>
                    <a:pt x="2059849" y="3059964"/>
                    <a:pt x="2288223" y="2831590"/>
                    <a:pt x="2288223" y="2549876"/>
                  </a:cubicBezTo>
                  <a:cubicBezTo>
                    <a:pt x="2288223" y="2268162"/>
                    <a:pt x="2059849" y="2039788"/>
                    <a:pt x="1778135" y="2039788"/>
                  </a:cubicBezTo>
                  <a:close/>
                  <a:moveTo>
                    <a:pt x="2386758" y="0"/>
                  </a:moveTo>
                  <a:lnTo>
                    <a:pt x="4645527" y="1874265"/>
                  </a:lnTo>
                  <a:cubicBezTo>
                    <a:pt x="4869894" y="2071115"/>
                    <a:pt x="4878360" y="2312415"/>
                    <a:pt x="4594727" y="2312415"/>
                  </a:cubicBezTo>
                  <a:lnTo>
                    <a:pt x="4099340" y="2311702"/>
                  </a:lnTo>
                  <a:lnTo>
                    <a:pt x="4087729" y="4515522"/>
                  </a:lnTo>
                  <a:cubicBezTo>
                    <a:pt x="4068679" y="4577235"/>
                    <a:pt x="4110329" y="4618135"/>
                    <a:pt x="4004166" y="4624485"/>
                  </a:cubicBezTo>
                  <a:lnTo>
                    <a:pt x="814481" y="4618135"/>
                  </a:lnTo>
                  <a:cubicBezTo>
                    <a:pt x="689268" y="4611785"/>
                    <a:pt x="673768" y="4596285"/>
                    <a:pt x="673768" y="4388522"/>
                  </a:cubicBezTo>
                  <a:lnTo>
                    <a:pt x="667980" y="2306765"/>
                  </a:lnTo>
                  <a:lnTo>
                    <a:pt x="181477" y="2306065"/>
                  </a:lnTo>
                  <a:cubicBezTo>
                    <a:pt x="-55590" y="2299715"/>
                    <a:pt x="-45006" y="2020315"/>
                    <a:pt x="124327" y="1867915"/>
                  </a:cubicBezTo>
                  <a:lnTo>
                    <a:pt x="873628" y="1249275"/>
                  </a:lnTo>
                  <a:lnTo>
                    <a:pt x="873628" y="336509"/>
                  </a:lnTo>
                  <a:cubicBezTo>
                    <a:pt x="873628" y="277473"/>
                    <a:pt x="921486" y="229615"/>
                    <a:pt x="980522" y="229615"/>
                  </a:cubicBezTo>
                  <a:lnTo>
                    <a:pt x="1408084" y="229615"/>
                  </a:lnTo>
                  <a:cubicBezTo>
                    <a:pt x="1467120" y="229615"/>
                    <a:pt x="1514978" y="277473"/>
                    <a:pt x="1514978" y="336509"/>
                  </a:cubicBezTo>
                  <a:lnTo>
                    <a:pt x="1514978" y="719762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5141253" y="310680"/>
            <a:ext cx="792000" cy="792000"/>
            <a:chOff x="361522" y="-1846438"/>
            <a:chExt cx="792000" cy="792000"/>
          </a:xfrm>
        </p:grpSpPr>
        <p:sp>
          <p:nvSpPr>
            <p:cNvPr id="139" name="Freeform 138"/>
            <p:cNvSpPr/>
            <p:nvPr/>
          </p:nvSpPr>
          <p:spPr>
            <a:xfrm>
              <a:off x="403607" y="-1699485"/>
              <a:ext cx="707830" cy="498094"/>
            </a:xfrm>
            <a:custGeom>
              <a:avLst/>
              <a:gdLst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1037567 w 5772449"/>
                <a:gd name="connsiteY3" fmla="*/ 1281349 h 4001900"/>
                <a:gd name="connsiteX4" fmla="*/ 930224 w 5772449"/>
                <a:gd name="connsiteY4" fmla="*/ 1468205 h 4001900"/>
                <a:gd name="connsiteX5" fmla="*/ 1037567 w 5772449"/>
                <a:gd name="connsiteY5" fmla="*/ 1655061 h 4001900"/>
                <a:gd name="connsiteX6" fmla="*/ 1144910 w 5772449"/>
                <a:gd name="connsiteY6" fmla="*/ 1468205 h 4001900"/>
                <a:gd name="connsiteX7" fmla="*/ 1037567 w 5772449"/>
                <a:gd name="connsiteY7" fmla="*/ 1281349 h 4001900"/>
                <a:gd name="connsiteX8" fmla="*/ 3614442 w 5772449"/>
                <a:gd name="connsiteY8" fmla="*/ 402681 h 4001900"/>
                <a:gd name="connsiteX9" fmla="*/ 2707689 w 5772449"/>
                <a:gd name="connsiteY9" fmla="*/ 743140 h 4001900"/>
                <a:gd name="connsiteX10" fmla="*/ 3609704 w 5772449"/>
                <a:gd name="connsiteY10" fmla="*/ 567175 h 4001900"/>
                <a:gd name="connsiteX11" fmla="*/ 4568573 w 5772449"/>
                <a:gd name="connsiteY11" fmla="*/ 714713 h 4001900"/>
                <a:gd name="connsiteX12" fmla="*/ 3614442 w 5772449"/>
                <a:gd name="connsiteY12" fmla="*/ 402681 h 4001900"/>
                <a:gd name="connsiteX13" fmla="*/ 3588807 w 5772449"/>
                <a:gd name="connsiteY13" fmla="*/ 0 h 4001900"/>
                <a:gd name="connsiteX14" fmla="*/ 5772449 w 5772449"/>
                <a:gd name="connsiteY14" fmla="*/ 1815152 h 4001900"/>
                <a:gd name="connsiteX15" fmla="*/ 5605113 w 5772449"/>
                <a:gd name="connsiteY15" fmla="*/ 2496102 h 4001900"/>
                <a:gd name="connsiteX16" fmla="*/ 5581389 w 5772449"/>
                <a:gd name="connsiteY16" fmla="*/ 2534708 h 4001900"/>
                <a:gd name="connsiteX17" fmla="*/ 5607966 w 5772449"/>
                <a:gd name="connsiteY17" fmla="*/ 2515459 h 4001900"/>
                <a:gd name="connsiteX18" fmla="*/ 5525370 w 5772449"/>
                <a:gd name="connsiteY18" fmla="*/ 2625869 h 4001900"/>
                <a:gd name="connsiteX19" fmla="*/ 5515226 w 5772449"/>
                <a:gd name="connsiteY19" fmla="*/ 2642377 h 4001900"/>
                <a:gd name="connsiteX20" fmla="*/ 5483166 w 5772449"/>
                <a:gd name="connsiteY20" fmla="*/ 2683046 h 4001900"/>
                <a:gd name="connsiteX21" fmla="*/ 5429796 w 5772449"/>
                <a:gd name="connsiteY21" fmla="*/ 2755748 h 4001900"/>
                <a:gd name="connsiteX22" fmla="*/ 5027257 w 5772449"/>
                <a:gd name="connsiteY22" fmla="*/ 3685544 h 4001900"/>
                <a:gd name="connsiteX23" fmla="*/ 4992588 w 5772449"/>
                <a:gd name="connsiteY23" fmla="*/ 4001900 h 4001900"/>
                <a:gd name="connsiteX24" fmla="*/ 4303538 w 5772449"/>
                <a:gd name="connsiteY24" fmla="*/ 4001900 h 4001900"/>
                <a:gd name="connsiteX25" fmla="*/ 4303538 w 5772449"/>
                <a:gd name="connsiteY25" fmla="*/ 3500305 h 4001900"/>
                <a:gd name="connsiteX26" fmla="*/ 4314585 w 5772449"/>
                <a:gd name="connsiteY26" fmla="*/ 3490055 h 4001900"/>
                <a:gd name="connsiteX27" fmla="*/ 4967854 w 5772449"/>
                <a:gd name="connsiteY27" fmla="*/ 2550105 h 4001900"/>
                <a:gd name="connsiteX28" fmla="*/ 4168770 w 5772449"/>
                <a:gd name="connsiteY28" fmla="*/ 3385681 h 4001900"/>
                <a:gd name="connsiteX29" fmla="*/ 4080051 w 5772449"/>
                <a:gd name="connsiteY29" fmla="*/ 3432467 h 4001900"/>
                <a:gd name="connsiteX30" fmla="*/ 3947976 w 5772449"/>
                <a:gd name="connsiteY30" fmla="*/ 3449665 h 4001900"/>
                <a:gd name="connsiteX31" fmla="*/ 3616103 w 5772449"/>
                <a:gd name="connsiteY31" fmla="*/ 3466531 h 4001900"/>
                <a:gd name="connsiteX32" fmla="*/ 2800891 w 5772449"/>
                <a:gd name="connsiteY32" fmla="*/ 3328134 h 4001900"/>
                <a:gd name="connsiteX33" fmla="*/ 2641874 w 5772449"/>
                <a:gd name="connsiteY33" fmla="*/ 3261967 h 4001900"/>
                <a:gd name="connsiteX34" fmla="*/ 2617913 w 5772449"/>
                <a:gd name="connsiteY34" fmla="*/ 3306221 h 4001900"/>
                <a:gd name="connsiteX35" fmla="*/ 2568600 w 5772449"/>
                <a:gd name="connsiteY35" fmla="*/ 3585868 h 4001900"/>
                <a:gd name="connsiteX36" fmla="*/ 2390920 w 5772449"/>
                <a:gd name="connsiteY36" fmla="*/ 4001899 h 4001900"/>
                <a:gd name="connsiteX37" fmla="*/ 1818879 w 5772449"/>
                <a:gd name="connsiteY37" fmla="*/ 4001899 h 4001900"/>
                <a:gd name="connsiteX38" fmla="*/ 1761587 w 5772449"/>
                <a:gd name="connsiteY38" fmla="*/ 3115295 h 4001900"/>
                <a:gd name="connsiteX39" fmla="*/ 1730089 w 5772449"/>
                <a:gd name="connsiteY39" fmla="*/ 2999002 h 4001900"/>
                <a:gd name="connsiteX40" fmla="*/ 1644002 w 5772449"/>
                <a:gd name="connsiteY40" fmla="*/ 3002510 h 4001900"/>
                <a:gd name="connsiteX41" fmla="*/ 322817 w 5772449"/>
                <a:gd name="connsiteY41" fmla="*/ 2316279 h 4001900"/>
                <a:gd name="connsiteX42" fmla="*/ 319955 w 5772449"/>
                <a:gd name="connsiteY42" fmla="*/ 2285283 h 4001900"/>
                <a:gd name="connsiteX43" fmla="*/ 536348 w 5772449"/>
                <a:gd name="connsiteY43" fmla="*/ 2146275 h 4001900"/>
                <a:gd name="connsiteX44" fmla="*/ 323623 w 5772449"/>
                <a:gd name="connsiteY44" fmla="*/ 2123565 h 4001900"/>
                <a:gd name="connsiteX45" fmla="*/ 329559 w 5772449"/>
                <a:gd name="connsiteY45" fmla="*/ 2080966 h 4001900"/>
                <a:gd name="connsiteX46" fmla="*/ 345424 w 5772449"/>
                <a:gd name="connsiteY46" fmla="*/ 2037364 h 4001900"/>
                <a:gd name="connsiteX47" fmla="*/ 292834 w 5772449"/>
                <a:gd name="connsiteY47" fmla="*/ 2040121 h 4001900"/>
                <a:gd name="connsiteX48" fmla="*/ 16945 w 5772449"/>
                <a:gd name="connsiteY48" fmla="*/ 2066088 h 4001900"/>
                <a:gd name="connsiteX49" fmla="*/ 16943 w 5772449"/>
                <a:gd name="connsiteY49" fmla="*/ 1572425 h 4001900"/>
                <a:gd name="connsiteX50" fmla="*/ 151582 w 5772449"/>
                <a:gd name="connsiteY50" fmla="*/ 1561205 h 4001900"/>
                <a:gd name="connsiteX51" fmla="*/ 372468 w 5772449"/>
                <a:gd name="connsiteY51" fmla="*/ 1613096 h 4001900"/>
                <a:gd name="connsiteX52" fmla="*/ 438705 w 5772449"/>
                <a:gd name="connsiteY52" fmla="*/ 1620294 h 4001900"/>
                <a:gd name="connsiteX53" fmla="*/ 465911 w 5772449"/>
                <a:gd name="connsiteY53" fmla="*/ 1540746 h 4001900"/>
                <a:gd name="connsiteX54" fmla="*/ 1128855 w 5772449"/>
                <a:gd name="connsiteY54" fmla="*/ 832819 h 4001900"/>
                <a:gd name="connsiteX55" fmla="*/ 1214543 w 5772449"/>
                <a:gd name="connsiteY55" fmla="*/ 795124 h 4001900"/>
                <a:gd name="connsiteX56" fmla="*/ 1208241 w 5772449"/>
                <a:gd name="connsiteY56" fmla="*/ 739279 h 4001900"/>
                <a:gd name="connsiteX57" fmla="*/ 981908 w 5772449"/>
                <a:gd name="connsiteY57" fmla="*/ 311290 h 4001900"/>
                <a:gd name="connsiteX58" fmla="*/ 1502720 w 5772449"/>
                <a:gd name="connsiteY58" fmla="*/ 700904 h 4001900"/>
                <a:gd name="connsiteX59" fmla="*/ 1502585 w 5772449"/>
                <a:gd name="connsiteY59" fmla="*/ 717422 h 4001900"/>
                <a:gd name="connsiteX60" fmla="*/ 1548635 w 5772449"/>
                <a:gd name="connsiteY60" fmla="*/ 716384 h 4001900"/>
                <a:gd name="connsiteX61" fmla="*/ 1754070 w 5772449"/>
                <a:gd name="connsiteY61" fmla="*/ 724702 h 4001900"/>
                <a:gd name="connsiteX62" fmla="*/ 1779982 w 5772449"/>
                <a:gd name="connsiteY62" fmla="*/ 732866 h 4001900"/>
                <a:gd name="connsiteX63" fmla="*/ 1787832 w 5772449"/>
                <a:gd name="connsiteY63" fmla="*/ 724363 h 4001900"/>
                <a:gd name="connsiteX64" fmla="*/ 1799151 w 5772449"/>
                <a:gd name="connsiteY64" fmla="*/ 730288 h 4001900"/>
                <a:gd name="connsiteX65" fmla="*/ 2299619 w 5772449"/>
                <a:gd name="connsiteY65" fmla="*/ 1099661 h 4001900"/>
                <a:gd name="connsiteX66" fmla="*/ 1967789 w 5772449"/>
                <a:gd name="connsiteY66" fmla="*/ 643362 h 4001900"/>
                <a:gd name="connsiteX67" fmla="*/ 1915934 w 5772449"/>
                <a:gd name="connsiteY67" fmla="*/ 610519 h 4001900"/>
                <a:gd name="connsiteX68" fmla="*/ 1940675 w 5772449"/>
                <a:gd name="connsiteY68" fmla="*/ 588560 h 4001900"/>
                <a:gd name="connsiteX69" fmla="*/ 3588807 w 5772449"/>
                <a:gd name="connsiteY69" fmla="*/ 0 h 4001900"/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2076124 w 5772449"/>
                <a:gd name="connsiteY3" fmla="*/ 2881727 h 4001900"/>
                <a:gd name="connsiteX4" fmla="*/ 1037567 w 5772449"/>
                <a:gd name="connsiteY4" fmla="*/ 1281349 h 4001900"/>
                <a:gd name="connsiteX5" fmla="*/ 930224 w 5772449"/>
                <a:gd name="connsiteY5" fmla="*/ 1468205 h 4001900"/>
                <a:gd name="connsiteX6" fmla="*/ 1037567 w 5772449"/>
                <a:gd name="connsiteY6" fmla="*/ 1655061 h 4001900"/>
                <a:gd name="connsiteX7" fmla="*/ 1144910 w 5772449"/>
                <a:gd name="connsiteY7" fmla="*/ 1468205 h 4001900"/>
                <a:gd name="connsiteX8" fmla="*/ 1037567 w 5772449"/>
                <a:gd name="connsiteY8" fmla="*/ 1281349 h 4001900"/>
                <a:gd name="connsiteX9" fmla="*/ 3614442 w 5772449"/>
                <a:gd name="connsiteY9" fmla="*/ 402681 h 4001900"/>
                <a:gd name="connsiteX10" fmla="*/ 2707689 w 5772449"/>
                <a:gd name="connsiteY10" fmla="*/ 743140 h 4001900"/>
                <a:gd name="connsiteX11" fmla="*/ 3609704 w 5772449"/>
                <a:gd name="connsiteY11" fmla="*/ 567175 h 4001900"/>
                <a:gd name="connsiteX12" fmla="*/ 4568573 w 5772449"/>
                <a:gd name="connsiteY12" fmla="*/ 714713 h 4001900"/>
                <a:gd name="connsiteX13" fmla="*/ 3614442 w 5772449"/>
                <a:gd name="connsiteY13" fmla="*/ 402681 h 4001900"/>
                <a:gd name="connsiteX14" fmla="*/ 3588807 w 5772449"/>
                <a:gd name="connsiteY14" fmla="*/ 0 h 4001900"/>
                <a:gd name="connsiteX15" fmla="*/ 5772449 w 5772449"/>
                <a:gd name="connsiteY15" fmla="*/ 1815152 h 4001900"/>
                <a:gd name="connsiteX16" fmla="*/ 5605113 w 5772449"/>
                <a:gd name="connsiteY16" fmla="*/ 2496102 h 4001900"/>
                <a:gd name="connsiteX17" fmla="*/ 5581389 w 5772449"/>
                <a:gd name="connsiteY17" fmla="*/ 2534708 h 4001900"/>
                <a:gd name="connsiteX18" fmla="*/ 5607966 w 5772449"/>
                <a:gd name="connsiteY18" fmla="*/ 2515459 h 4001900"/>
                <a:gd name="connsiteX19" fmla="*/ 5525370 w 5772449"/>
                <a:gd name="connsiteY19" fmla="*/ 2625869 h 4001900"/>
                <a:gd name="connsiteX20" fmla="*/ 5515226 w 5772449"/>
                <a:gd name="connsiteY20" fmla="*/ 2642377 h 4001900"/>
                <a:gd name="connsiteX21" fmla="*/ 5483166 w 5772449"/>
                <a:gd name="connsiteY21" fmla="*/ 2683046 h 4001900"/>
                <a:gd name="connsiteX22" fmla="*/ 5429796 w 5772449"/>
                <a:gd name="connsiteY22" fmla="*/ 2755748 h 4001900"/>
                <a:gd name="connsiteX23" fmla="*/ 5027257 w 5772449"/>
                <a:gd name="connsiteY23" fmla="*/ 3685544 h 4001900"/>
                <a:gd name="connsiteX24" fmla="*/ 4992588 w 5772449"/>
                <a:gd name="connsiteY24" fmla="*/ 4001900 h 4001900"/>
                <a:gd name="connsiteX25" fmla="*/ 4303538 w 5772449"/>
                <a:gd name="connsiteY25" fmla="*/ 4001900 h 4001900"/>
                <a:gd name="connsiteX26" fmla="*/ 4303538 w 5772449"/>
                <a:gd name="connsiteY26" fmla="*/ 3500305 h 4001900"/>
                <a:gd name="connsiteX27" fmla="*/ 4314585 w 5772449"/>
                <a:gd name="connsiteY27" fmla="*/ 3490055 h 4001900"/>
                <a:gd name="connsiteX28" fmla="*/ 4967854 w 5772449"/>
                <a:gd name="connsiteY28" fmla="*/ 2550105 h 4001900"/>
                <a:gd name="connsiteX29" fmla="*/ 4168770 w 5772449"/>
                <a:gd name="connsiteY29" fmla="*/ 3385681 h 4001900"/>
                <a:gd name="connsiteX30" fmla="*/ 4080051 w 5772449"/>
                <a:gd name="connsiteY30" fmla="*/ 3432467 h 4001900"/>
                <a:gd name="connsiteX31" fmla="*/ 3947976 w 5772449"/>
                <a:gd name="connsiteY31" fmla="*/ 3449665 h 4001900"/>
                <a:gd name="connsiteX32" fmla="*/ 3616103 w 5772449"/>
                <a:gd name="connsiteY32" fmla="*/ 3466531 h 4001900"/>
                <a:gd name="connsiteX33" fmla="*/ 2800891 w 5772449"/>
                <a:gd name="connsiteY33" fmla="*/ 3328134 h 4001900"/>
                <a:gd name="connsiteX34" fmla="*/ 2641874 w 5772449"/>
                <a:gd name="connsiteY34" fmla="*/ 3261967 h 4001900"/>
                <a:gd name="connsiteX35" fmla="*/ 2617913 w 5772449"/>
                <a:gd name="connsiteY35" fmla="*/ 3306221 h 4001900"/>
                <a:gd name="connsiteX36" fmla="*/ 2568600 w 5772449"/>
                <a:gd name="connsiteY36" fmla="*/ 3585868 h 4001900"/>
                <a:gd name="connsiteX37" fmla="*/ 2390920 w 5772449"/>
                <a:gd name="connsiteY37" fmla="*/ 4001899 h 4001900"/>
                <a:gd name="connsiteX38" fmla="*/ 1818879 w 5772449"/>
                <a:gd name="connsiteY38" fmla="*/ 4001899 h 4001900"/>
                <a:gd name="connsiteX39" fmla="*/ 1761587 w 5772449"/>
                <a:gd name="connsiteY39" fmla="*/ 3115295 h 4001900"/>
                <a:gd name="connsiteX40" fmla="*/ 1730089 w 5772449"/>
                <a:gd name="connsiteY40" fmla="*/ 2999002 h 4001900"/>
                <a:gd name="connsiteX41" fmla="*/ 1644002 w 5772449"/>
                <a:gd name="connsiteY41" fmla="*/ 3002510 h 4001900"/>
                <a:gd name="connsiteX42" fmla="*/ 322817 w 5772449"/>
                <a:gd name="connsiteY42" fmla="*/ 2316279 h 4001900"/>
                <a:gd name="connsiteX43" fmla="*/ 319955 w 5772449"/>
                <a:gd name="connsiteY43" fmla="*/ 2285283 h 4001900"/>
                <a:gd name="connsiteX44" fmla="*/ 312614 w 5772449"/>
                <a:gd name="connsiteY44" fmla="*/ 2193378 h 4001900"/>
                <a:gd name="connsiteX45" fmla="*/ 323623 w 5772449"/>
                <a:gd name="connsiteY45" fmla="*/ 2123565 h 4001900"/>
                <a:gd name="connsiteX46" fmla="*/ 329559 w 5772449"/>
                <a:gd name="connsiteY46" fmla="*/ 2080966 h 4001900"/>
                <a:gd name="connsiteX47" fmla="*/ 345424 w 5772449"/>
                <a:gd name="connsiteY47" fmla="*/ 2037364 h 4001900"/>
                <a:gd name="connsiteX48" fmla="*/ 292834 w 5772449"/>
                <a:gd name="connsiteY48" fmla="*/ 2040121 h 4001900"/>
                <a:gd name="connsiteX49" fmla="*/ 16945 w 5772449"/>
                <a:gd name="connsiteY49" fmla="*/ 2066088 h 4001900"/>
                <a:gd name="connsiteX50" fmla="*/ 16943 w 5772449"/>
                <a:gd name="connsiteY50" fmla="*/ 1572425 h 4001900"/>
                <a:gd name="connsiteX51" fmla="*/ 151582 w 5772449"/>
                <a:gd name="connsiteY51" fmla="*/ 1561205 h 4001900"/>
                <a:gd name="connsiteX52" fmla="*/ 372468 w 5772449"/>
                <a:gd name="connsiteY52" fmla="*/ 1613096 h 4001900"/>
                <a:gd name="connsiteX53" fmla="*/ 438705 w 5772449"/>
                <a:gd name="connsiteY53" fmla="*/ 1620294 h 4001900"/>
                <a:gd name="connsiteX54" fmla="*/ 465911 w 5772449"/>
                <a:gd name="connsiteY54" fmla="*/ 1540746 h 4001900"/>
                <a:gd name="connsiteX55" fmla="*/ 1128855 w 5772449"/>
                <a:gd name="connsiteY55" fmla="*/ 832819 h 4001900"/>
                <a:gd name="connsiteX56" fmla="*/ 1214543 w 5772449"/>
                <a:gd name="connsiteY56" fmla="*/ 795124 h 4001900"/>
                <a:gd name="connsiteX57" fmla="*/ 1208241 w 5772449"/>
                <a:gd name="connsiteY57" fmla="*/ 739279 h 4001900"/>
                <a:gd name="connsiteX58" fmla="*/ 981908 w 5772449"/>
                <a:gd name="connsiteY58" fmla="*/ 311290 h 4001900"/>
                <a:gd name="connsiteX59" fmla="*/ 1502720 w 5772449"/>
                <a:gd name="connsiteY59" fmla="*/ 700904 h 4001900"/>
                <a:gd name="connsiteX60" fmla="*/ 1502585 w 5772449"/>
                <a:gd name="connsiteY60" fmla="*/ 717422 h 4001900"/>
                <a:gd name="connsiteX61" fmla="*/ 1548635 w 5772449"/>
                <a:gd name="connsiteY61" fmla="*/ 716384 h 4001900"/>
                <a:gd name="connsiteX62" fmla="*/ 1754070 w 5772449"/>
                <a:gd name="connsiteY62" fmla="*/ 724702 h 4001900"/>
                <a:gd name="connsiteX63" fmla="*/ 1779982 w 5772449"/>
                <a:gd name="connsiteY63" fmla="*/ 732866 h 4001900"/>
                <a:gd name="connsiteX64" fmla="*/ 1787832 w 5772449"/>
                <a:gd name="connsiteY64" fmla="*/ 724363 h 4001900"/>
                <a:gd name="connsiteX65" fmla="*/ 1799151 w 5772449"/>
                <a:gd name="connsiteY65" fmla="*/ 730288 h 4001900"/>
                <a:gd name="connsiteX66" fmla="*/ 2299619 w 5772449"/>
                <a:gd name="connsiteY66" fmla="*/ 1099661 h 4001900"/>
                <a:gd name="connsiteX67" fmla="*/ 1967789 w 5772449"/>
                <a:gd name="connsiteY67" fmla="*/ 643362 h 4001900"/>
                <a:gd name="connsiteX68" fmla="*/ 1915934 w 5772449"/>
                <a:gd name="connsiteY68" fmla="*/ 610519 h 4001900"/>
                <a:gd name="connsiteX69" fmla="*/ 1940675 w 5772449"/>
                <a:gd name="connsiteY69" fmla="*/ 588560 h 4001900"/>
                <a:gd name="connsiteX70" fmla="*/ 3588807 w 5772449"/>
                <a:gd name="connsiteY70" fmla="*/ 0 h 4001900"/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2076124 w 5772449"/>
                <a:gd name="connsiteY3" fmla="*/ 2881727 h 4001900"/>
                <a:gd name="connsiteX4" fmla="*/ 1037567 w 5772449"/>
                <a:gd name="connsiteY4" fmla="*/ 1281349 h 4001900"/>
                <a:gd name="connsiteX5" fmla="*/ 930224 w 5772449"/>
                <a:gd name="connsiteY5" fmla="*/ 1468205 h 4001900"/>
                <a:gd name="connsiteX6" fmla="*/ 1037567 w 5772449"/>
                <a:gd name="connsiteY6" fmla="*/ 1655061 h 4001900"/>
                <a:gd name="connsiteX7" fmla="*/ 1144910 w 5772449"/>
                <a:gd name="connsiteY7" fmla="*/ 1468205 h 4001900"/>
                <a:gd name="connsiteX8" fmla="*/ 1037567 w 5772449"/>
                <a:gd name="connsiteY8" fmla="*/ 1281349 h 4001900"/>
                <a:gd name="connsiteX9" fmla="*/ 3614442 w 5772449"/>
                <a:gd name="connsiteY9" fmla="*/ 402681 h 4001900"/>
                <a:gd name="connsiteX10" fmla="*/ 2707689 w 5772449"/>
                <a:gd name="connsiteY10" fmla="*/ 743140 h 4001900"/>
                <a:gd name="connsiteX11" fmla="*/ 3609704 w 5772449"/>
                <a:gd name="connsiteY11" fmla="*/ 567175 h 4001900"/>
                <a:gd name="connsiteX12" fmla="*/ 4568573 w 5772449"/>
                <a:gd name="connsiteY12" fmla="*/ 714713 h 4001900"/>
                <a:gd name="connsiteX13" fmla="*/ 3614442 w 5772449"/>
                <a:gd name="connsiteY13" fmla="*/ 402681 h 4001900"/>
                <a:gd name="connsiteX14" fmla="*/ 3588807 w 5772449"/>
                <a:gd name="connsiteY14" fmla="*/ 0 h 4001900"/>
                <a:gd name="connsiteX15" fmla="*/ 5772449 w 5772449"/>
                <a:gd name="connsiteY15" fmla="*/ 1815152 h 4001900"/>
                <a:gd name="connsiteX16" fmla="*/ 5605113 w 5772449"/>
                <a:gd name="connsiteY16" fmla="*/ 2496102 h 4001900"/>
                <a:gd name="connsiteX17" fmla="*/ 5581389 w 5772449"/>
                <a:gd name="connsiteY17" fmla="*/ 2534708 h 4001900"/>
                <a:gd name="connsiteX18" fmla="*/ 5607966 w 5772449"/>
                <a:gd name="connsiteY18" fmla="*/ 2515459 h 4001900"/>
                <a:gd name="connsiteX19" fmla="*/ 5525370 w 5772449"/>
                <a:gd name="connsiteY19" fmla="*/ 2625869 h 4001900"/>
                <a:gd name="connsiteX20" fmla="*/ 5515226 w 5772449"/>
                <a:gd name="connsiteY20" fmla="*/ 2642377 h 4001900"/>
                <a:gd name="connsiteX21" fmla="*/ 5483166 w 5772449"/>
                <a:gd name="connsiteY21" fmla="*/ 2683046 h 4001900"/>
                <a:gd name="connsiteX22" fmla="*/ 5429796 w 5772449"/>
                <a:gd name="connsiteY22" fmla="*/ 2755748 h 4001900"/>
                <a:gd name="connsiteX23" fmla="*/ 5027257 w 5772449"/>
                <a:gd name="connsiteY23" fmla="*/ 3685544 h 4001900"/>
                <a:gd name="connsiteX24" fmla="*/ 4992588 w 5772449"/>
                <a:gd name="connsiteY24" fmla="*/ 4001900 h 4001900"/>
                <a:gd name="connsiteX25" fmla="*/ 4303538 w 5772449"/>
                <a:gd name="connsiteY25" fmla="*/ 4001900 h 4001900"/>
                <a:gd name="connsiteX26" fmla="*/ 4303538 w 5772449"/>
                <a:gd name="connsiteY26" fmla="*/ 3500305 h 4001900"/>
                <a:gd name="connsiteX27" fmla="*/ 4314585 w 5772449"/>
                <a:gd name="connsiteY27" fmla="*/ 3490055 h 4001900"/>
                <a:gd name="connsiteX28" fmla="*/ 4967854 w 5772449"/>
                <a:gd name="connsiteY28" fmla="*/ 2550105 h 4001900"/>
                <a:gd name="connsiteX29" fmla="*/ 4168770 w 5772449"/>
                <a:gd name="connsiteY29" fmla="*/ 3385681 h 4001900"/>
                <a:gd name="connsiteX30" fmla="*/ 4080051 w 5772449"/>
                <a:gd name="connsiteY30" fmla="*/ 3432467 h 4001900"/>
                <a:gd name="connsiteX31" fmla="*/ 3947976 w 5772449"/>
                <a:gd name="connsiteY31" fmla="*/ 3449665 h 4001900"/>
                <a:gd name="connsiteX32" fmla="*/ 3616103 w 5772449"/>
                <a:gd name="connsiteY32" fmla="*/ 3466531 h 4001900"/>
                <a:gd name="connsiteX33" fmla="*/ 2800891 w 5772449"/>
                <a:gd name="connsiteY33" fmla="*/ 3328134 h 4001900"/>
                <a:gd name="connsiteX34" fmla="*/ 2641874 w 5772449"/>
                <a:gd name="connsiteY34" fmla="*/ 3261967 h 4001900"/>
                <a:gd name="connsiteX35" fmla="*/ 2617913 w 5772449"/>
                <a:gd name="connsiteY35" fmla="*/ 3306221 h 4001900"/>
                <a:gd name="connsiteX36" fmla="*/ 2568600 w 5772449"/>
                <a:gd name="connsiteY36" fmla="*/ 3585868 h 4001900"/>
                <a:gd name="connsiteX37" fmla="*/ 2390920 w 5772449"/>
                <a:gd name="connsiteY37" fmla="*/ 4001899 h 4001900"/>
                <a:gd name="connsiteX38" fmla="*/ 1818879 w 5772449"/>
                <a:gd name="connsiteY38" fmla="*/ 4001899 h 4001900"/>
                <a:gd name="connsiteX39" fmla="*/ 1761587 w 5772449"/>
                <a:gd name="connsiteY39" fmla="*/ 3115295 h 4001900"/>
                <a:gd name="connsiteX40" fmla="*/ 1730089 w 5772449"/>
                <a:gd name="connsiteY40" fmla="*/ 2999002 h 4001900"/>
                <a:gd name="connsiteX41" fmla="*/ 1644002 w 5772449"/>
                <a:gd name="connsiteY41" fmla="*/ 3002510 h 4001900"/>
                <a:gd name="connsiteX42" fmla="*/ 322817 w 5772449"/>
                <a:gd name="connsiteY42" fmla="*/ 2316279 h 4001900"/>
                <a:gd name="connsiteX43" fmla="*/ 319955 w 5772449"/>
                <a:gd name="connsiteY43" fmla="*/ 2285283 h 4001900"/>
                <a:gd name="connsiteX44" fmla="*/ 312614 w 5772449"/>
                <a:gd name="connsiteY44" fmla="*/ 2193378 h 4001900"/>
                <a:gd name="connsiteX45" fmla="*/ 323623 w 5772449"/>
                <a:gd name="connsiteY45" fmla="*/ 2123565 h 4001900"/>
                <a:gd name="connsiteX46" fmla="*/ 329559 w 5772449"/>
                <a:gd name="connsiteY46" fmla="*/ 2080966 h 4001900"/>
                <a:gd name="connsiteX47" fmla="*/ 345424 w 5772449"/>
                <a:gd name="connsiteY47" fmla="*/ 2037364 h 4001900"/>
                <a:gd name="connsiteX48" fmla="*/ 292834 w 5772449"/>
                <a:gd name="connsiteY48" fmla="*/ 2040121 h 4001900"/>
                <a:gd name="connsiteX49" fmla="*/ 16945 w 5772449"/>
                <a:gd name="connsiteY49" fmla="*/ 2066088 h 4001900"/>
                <a:gd name="connsiteX50" fmla="*/ 16943 w 5772449"/>
                <a:gd name="connsiteY50" fmla="*/ 1572425 h 4001900"/>
                <a:gd name="connsiteX51" fmla="*/ 145695 w 5772449"/>
                <a:gd name="connsiteY51" fmla="*/ 1596532 h 4001900"/>
                <a:gd name="connsiteX52" fmla="*/ 372468 w 5772449"/>
                <a:gd name="connsiteY52" fmla="*/ 1613096 h 4001900"/>
                <a:gd name="connsiteX53" fmla="*/ 438705 w 5772449"/>
                <a:gd name="connsiteY53" fmla="*/ 1620294 h 4001900"/>
                <a:gd name="connsiteX54" fmla="*/ 465911 w 5772449"/>
                <a:gd name="connsiteY54" fmla="*/ 1540746 h 4001900"/>
                <a:gd name="connsiteX55" fmla="*/ 1128855 w 5772449"/>
                <a:gd name="connsiteY55" fmla="*/ 832819 h 4001900"/>
                <a:gd name="connsiteX56" fmla="*/ 1214543 w 5772449"/>
                <a:gd name="connsiteY56" fmla="*/ 795124 h 4001900"/>
                <a:gd name="connsiteX57" fmla="*/ 1208241 w 5772449"/>
                <a:gd name="connsiteY57" fmla="*/ 739279 h 4001900"/>
                <a:gd name="connsiteX58" fmla="*/ 981908 w 5772449"/>
                <a:gd name="connsiteY58" fmla="*/ 311290 h 4001900"/>
                <a:gd name="connsiteX59" fmla="*/ 1502720 w 5772449"/>
                <a:gd name="connsiteY59" fmla="*/ 700904 h 4001900"/>
                <a:gd name="connsiteX60" fmla="*/ 1502585 w 5772449"/>
                <a:gd name="connsiteY60" fmla="*/ 717422 h 4001900"/>
                <a:gd name="connsiteX61" fmla="*/ 1548635 w 5772449"/>
                <a:gd name="connsiteY61" fmla="*/ 716384 h 4001900"/>
                <a:gd name="connsiteX62" fmla="*/ 1754070 w 5772449"/>
                <a:gd name="connsiteY62" fmla="*/ 724702 h 4001900"/>
                <a:gd name="connsiteX63" fmla="*/ 1779982 w 5772449"/>
                <a:gd name="connsiteY63" fmla="*/ 732866 h 4001900"/>
                <a:gd name="connsiteX64" fmla="*/ 1787832 w 5772449"/>
                <a:gd name="connsiteY64" fmla="*/ 724363 h 4001900"/>
                <a:gd name="connsiteX65" fmla="*/ 1799151 w 5772449"/>
                <a:gd name="connsiteY65" fmla="*/ 730288 h 4001900"/>
                <a:gd name="connsiteX66" fmla="*/ 2299619 w 5772449"/>
                <a:gd name="connsiteY66" fmla="*/ 1099661 h 4001900"/>
                <a:gd name="connsiteX67" fmla="*/ 1967789 w 5772449"/>
                <a:gd name="connsiteY67" fmla="*/ 643362 h 4001900"/>
                <a:gd name="connsiteX68" fmla="*/ 1915934 w 5772449"/>
                <a:gd name="connsiteY68" fmla="*/ 610519 h 4001900"/>
                <a:gd name="connsiteX69" fmla="*/ 1940675 w 5772449"/>
                <a:gd name="connsiteY69" fmla="*/ 588560 h 4001900"/>
                <a:gd name="connsiteX70" fmla="*/ 3588807 w 5772449"/>
                <a:gd name="connsiteY70" fmla="*/ 0 h 4001900"/>
                <a:gd name="connsiteX0" fmla="*/ 2073803 w 5770128"/>
                <a:gd name="connsiteY0" fmla="*/ 2881727 h 4001900"/>
                <a:gd name="connsiteX1" fmla="*/ 2058457 w 5770128"/>
                <a:gd name="connsiteY1" fmla="*/ 2890254 h 4001900"/>
                <a:gd name="connsiteX2" fmla="*/ 2077851 w 5770128"/>
                <a:gd name="connsiteY2" fmla="*/ 2885391 h 4001900"/>
                <a:gd name="connsiteX3" fmla="*/ 2073803 w 5770128"/>
                <a:gd name="connsiteY3" fmla="*/ 2881727 h 4001900"/>
                <a:gd name="connsiteX4" fmla="*/ 1035246 w 5770128"/>
                <a:gd name="connsiteY4" fmla="*/ 1281349 h 4001900"/>
                <a:gd name="connsiteX5" fmla="*/ 927903 w 5770128"/>
                <a:gd name="connsiteY5" fmla="*/ 1468205 h 4001900"/>
                <a:gd name="connsiteX6" fmla="*/ 1035246 w 5770128"/>
                <a:gd name="connsiteY6" fmla="*/ 1655061 h 4001900"/>
                <a:gd name="connsiteX7" fmla="*/ 1142589 w 5770128"/>
                <a:gd name="connsiteY7" fmla="*/ 1468205 h 4001900"/>
                <a:gd name="connsiteX8" fmla="*/ 1035246 w 5770128"/>
                <a:gd name="connsiteY8" fmla="*/ 1281349 h 4001900"/>
                <a:gd name="connsiteX9" fmla="*/ 3612121 w 5770128"/>
                <a:gd name="connsiteY9" fmla="*/ 402681 h 4001900"/>
                <a:gd name="connsiteX10" fmla="*/ 2705368 w 5770128"/>
                <a:gd name="connsiteY10" fmla="*/ 743140 h 4001900"/>
                <a:gd name="connsiteX11" fmla="*/ 3607383 w 5770128"/>
                <a:gd name="connsiteY11" fmla="*/ 567175 h 4001900"/>
                <a:gd name="connsiteX12" fmla="*/ 4566252 w 5770128"/>
                <a:gd name="connsiteY12" fmla="*/ 714713 h 4001900"/>
                <a:gd name="connsiteX13" fmla="*/ 3612121 w 5770128"/>
                <a:gd name="connsiteY13" fmla="*/ 402681 h 4001900"/>
                <a:gd name="connsiteX14" fmla="*/ 3586486 w 5770128"/>
                <a:gd name="connsiteY14" fmla="*/ 0 h 4001900"/>
                <a:gd name="connsiteX15" fmla="*/ 5770128 w 5770128"/>
                <a:gd name="connsiteY15" fmla="*/ 1815152 h 4001900"/>
                <a:gd name="connsiteX16" fmla="*/ 5602792 w 5770128"/>
                <a:gd name="connsiteY16" fmla="*/ 2496102 h 4001900"/>
                <a:gd name="connsiteX17" fmla="*/ 5579068 w 5770128"/>
                <a:gd name="connsiteY17" fmla="*/ 2534708 h 4001900"/>
                <a:gd name="connsiteX18" fmla="*/ 5605645 w 5770128"/>
                <a:gd name="connsiteY18" fmla="*/ 2515459 h 4001900"/>
                <a:gd name="connsiteX19" fmla="*/ 5523049 w 5770128"/>
                <a:gd name="connsiteY19" fmla="*/ 2625869 h 4001900"/>
                <a:gd name="connsiteX20" fmla="*/ 5512905 w 5770128"/>
                <a:gd name="connsiteY20" fmla="*/ 2642377 h 4001900"/>
                <a:gd name="connsiteX21" fmla="*/ 5480845 w 5770128"/>
                <a:gd name="connsiteY21" fmla="*/ 2683046 h 4001900"/>
                <a:gd name="connsiteX22" fmla="*/ 5427475 w 5770128"/>
                <a:gd name="connsiteY22" fmla="*/ 2755748 h 4001900"/>
                <a:gd name="connsiteX23" fmla="*/ 5024936 w 5770128"/>
                <a:gd name="connsiteY23" fmla="*/ 3685544 h 4001900"/>
                <a:gd name="connsiteX24" fmla="*/ 4990267 w 5770128"/>
                <a:gd name="connsiteY24" fmla="*/ 4001900 h 4001900"/>
                <a:gd name="connsiteX25" fmla="*/ 4301217 w 5770128"/>
                <a:gd name="connsiteY25" fmla="*/ 4001900 h 4001900"/>
                <a:gd name="connsiteX26" fmla="*/ 4301217 w 5770128"/>
                <a:gd name="connsiteY26" fmla="*/ 3500305 h 4001900"/>
                <a:gd name="connsiteX27" fmla="*/ 4312264 w 5770128"/>
                <a:gd name="connsiteY27" fmla="*/ 3490055 h 4001900"/>
                <a:gd name="connsiteX28" fmla="*/ 4965533 w 5770128"/>
                <a:gd name="connsiteY28" fmla="*/ 2550105 h 4001900"/>
                <a:gd name="connsiteX29" fmla="*/ 4166449 w 5770128"/>
                <a:gd name="connsiteY29" fmla="*/ 3385681 h 4001900"/>
                <a:gd name="connsiteX30" fmla="*/ 4077730 w 5770128"/>
                <a:gd name="connsiteY30" fmla="*/ 3432467 h 4001900"/>
                <a:gd name="connsiteX31" fmla="*/ 3945655 w 5770128"/>
                <a:gd name="connsiteY31" fmla="*/ 3449665 h 4001900"/>
                <a:gd name="connsiteX32" fmla="*/ 3613782 w 5770128"/>
                <a:gd name="connsiteY32" fmla="*/ 3466531 h 4001900"/>
                <a:gd name="connsiteX33" fmla="*/ 2798570 w 5770128"/>
                <a:gd name="connsiteY33" fmla="*/ 3328134 h 4001900"/>
                <a:gd name="connsiteX34" fmla="*/ 2639553 w 5770128"/>
                <a:gd name="connsiteY34" fmla="*/ 3261967 h 4001900"/>
                <a:gd name="connsiteX35" fmla="*/ 2615592 w 5770128"/>
                <a:gd name="connsiteY35" fmla="*/ 3306221 h 4001900"/>
                <a:gd name="connsiteX36" fmla="*/ 2566279 w 5770128"/>
                <a:gd name="connsiteY36" fmla="*/ 3585868 h 4001900"/>
                <a:gd name="connsiteX37" fmla="*/ 2388599 w 5770128"/>
                <a:gd name="connsiteY37" fmla="*/ 4001899 h 4001900"/>
                <a:gd name="connsiteX38" fmla="*/ 1816558 w 5770128"/>
                <a:gd name="connsiteY38" fmla="*/ 4001899 h 4001900"/>
                <a:gd name="connsiteX39" fmla="*/ 1759266 w 5770128"/>
                <a:gd name="connsiteY39" fmla="*/ 3115295 h 4001900"/>
                <a:gd name="connsiteX40" fmla="*/ 1727768 w 5770128"/>
                <a:gd name="connsiteY40" fmla="*/ 2999002 h 4001900"/>
                <a:gd name="connsiteX41" fmla="*/ 1641681 w 5770128"/>
                <a:gd name="connsiteY41" fmla="*/ 3002510 h 4001900"/>
                <a:gd name="connsiteX42" fmla="*/ 320496 w 5770128"/>
                <a:gd name="connsiteY42" fmla="*/ 2316279 h 4001900"/>
                <a:gd name="connsiteX43" fmla="*/ 317634 w 5770128"/>
                <a:gd name="connsiteY43" fmla="*/ 2285283 h 4001900"/>
                <a:gd name="connsiteX44" fmla="*/ 310293 w 5770128"/>
                <a:gd name="connsiteY44" fmla="*/ 2193378 h 4001900"/>
                <a:gd name="connsiteX45" fmla="*/ 321302 w 5770128"/>
                <a:gd name="connsiteY45" fmla="*/ 2123565 h 4001900"/>
                <a:gd name="connsiteX46" fmla="*/ 327238 w 5770128"/>
                <a:gd name="connsiteY46" fmla="*/ 2080966 h 4001900"/>
                <a:gd name="connsiteX47" fmla="*/ 343103 w 5770128"/>
                <a:gd name="connsiteY47" fmla="*/ 2037364 h 4001900"/>
                <a:gd name="connsiteX48" fmla="*/ 290513 w 5770128"/>
                <a:gd name="connsiteY48" fmla="*/ 2040121 h 4001900"/>
                <a:gd name="connsiteX49" fmla="*/ 14624 w 5770128"/>
                <a:gd name="connsiteY49" fmla="*/ 2066088 h 4001900"/>
                <a:gd name="connsiteX50" fmla="*/ 20509 w 5770128"/>
                <a:gd name="connsiteY50" fmla="*/ 1601864 h 4001900"/>
                <a:gd name="connsiteX51" fmla="*/ 143374 w 5770128"/>
                <a:gd name="connsiteY51" fmla="*/ 1596532 h 4001900"/>
                <a:gd name="connsiteX52" fmla="*/ 370147 w 5770128"/>
                <a:gd name="connsiteY52" fmla="*/ 1613096 h 4001900"/>
                <a:gd name="connsiteX53" fmla="*/ 436384 w 5770128"/>
                <a:gd name="connsiteY53" fmla="*/ 1620294 h 4001900"/>
                <a:gd name="connsiteX54" fmla="*/ 463590 w 5770128"/>
                <a:gd name="connsiteY54" fmla="*/ 1540746 h 4001900"/>
                <a:gd name="connsiteX55" fmla="*/ 1126534 w 5770128"/>
                <a:gd name="connsiteY55" fmla="*/ 832819 h 4001900"/>
                <a:gd name="connsiteX56" fmla="*/ 1212222 w 5770128"/>
                <a:gd name="connsiteY56" fmla="*/ 795124 h 4001900"/>
                <a:gd name="connsiteX57" fmla="*/ 1205920 w 5770128"/>
                <a:gd name="connsiteY57" fmla="*/ 739279 h 4001900"/>
                <a:gd name="connsiteX58" fmla="*/ 979587 w 5770128"/>
                <a:gd name="connsiteY58" fmla="*/ 311290 h 4001900"/>
                <a:gd name="connsiteX59" fmla="*/ 1500399 w 5770128"/>
                <a:gd name="connsiteY59" fmla="*/ 700904 h 4001900"/>
                <a:gd name="connsiteX60" fmla="*/ 1500264 w 5770128"/>
                <a:gd name="connsiteY60" fmla="*/ 717422 h 4001900"/>
                <a:gd name="connsiteX61" fmla="*/ 1546314 w 5770128"/>
                <a:gd name="connsiteY61" fmla="*/ 716384 h 4001900"/>
                <a:gd name="connsiteX62" fmla="*/ 1751749 w 5770128"/>
                <a:gd name="connsiteY62" fmla="*/ 724702 h 4001900"/>
                <a:gd name="connsiteX63" fmla="*/ 1777661 w 5770128"/>
                <a:gd name="connsiteY63" fmla="*/ 732866 h 4001900"/>
                <a:gd name="connsiteX64" fmla="*/ 1785511 w 5770128"/>
                <a:gd name="connsiteY64" fmla="*/ 724363 h 4001900"/>
                <a:gd name="connsiteX65" fmla="*/ 1796830 w 5770128"/>
                <a:gd name="connsiteY65" fmla="*/ 730288 h 4001900"/>
                <a:gd name="connsiteX66" fmla="*/ 2297298 w 5770128"/>
                <a:gd name="connsiteY66" fmla="*/ 1099661 h 4001900"/>
                <a:gd name="connsiteX67" fmla="*/ 1965468 w 5770128"/>
                <a:gd name="connsiteY67" fmla="*/ 643362 h 4001900"/>
                <a:gd name="connsiteX68" fmla="*/ 1913613 w 5770128"/>
                <a:gd name="connsiteY68" fmla="*/ 610519 h 4001900"/>
                <a:gd name="connsiteX69" fmla="*/ 1938354 w 5770128"/>
                <a:gd name="connsiteY69" fmla="*/ 588560 h 4001900"/>
                <a:gd name="connsiteX70" fmla="*/ 3586486 w 5770128"/>
                <a:gd name="connsiteY70" fmla="*/ 0 h 4001900"/>
                <a:gd name="connsiteX0" fmla="*/ 2062867 w 5759192"/>
                <a:gd name="connsiteY0" fmla="*/ 2881727 h 4001900"/>
                <a:gd name="connsiteX1" fmla="*/ 2047521 w 5759192"/>
                <a:gd name="connsiteY1" fmla="*/ 2890254 h 4001900"/>
                <a:gd name="connsiteX2" fmla="*/ 2066915 w 5759192"/>
                <a:gd name="connsiteY2" fmla="*/ 2885391 h 4001900"/>
                <a:gd name="connsiteX3" fmla="*/ 2062867 w 5759192"/>
                <a:gd name="connsiteY3" fmla="*/ 2881727 h 4001900"/>
                <a:gd name="connsiteX4" fmla="*/ 1024310 w 5759192"/>
                <a:gd name="connsiteY4" fmla="*/ 1281349 h 4001900"/>
                <a:gd name="connsiteX5" fmla="*/ 916967 w 5759192"/>
                <a:gd name="connsiteY5" fmla="*/ 1468205 h 4001900"/>
                <a:gd name="connsiteX6" fmla="*/ 1024310 w 5759192"/>
                <a:gd name="connsiteY6" fmla="*/ 1655061 h 4001900"/>
                <a:gd name="connsiteX7" fmla="*/ 1131653 w 5759192"/>
                <a:gd name="connsiteY7" fmla="*/ 1468205 h 4001900"/>
                <a:gd name="connsiteX8" fmla="*/ 1024310 w 5759192"/>
                <a:gd name="connsiteY8" fmla="*/ 1281349 h 4001900"/>
                <a:gd name="connsiteX9" fmla="*/ 3601185 w 5759192"/>
                <a:gd name="connsiteY9" fmla="*/ 402681 h 4001900"/>
                <a:gd name="connsiteX10" fmla="*/ 2694432 w 5759192"/>
                <a:gd name="connsiteY10" fmla="*/ 743140 h 4001900"/>
                <a:gd name="connsiteX11" fmla="*/ 3596447 w 5759192"/>
                <a:gd name="connsiteY11" fmla="*/ 567175 h 4001900"/>
                <a:gd name="connsiteX12" fmla="*/ 4555316 w 5759192"/>
                <a:gd name="connsiteY12" fmla="*/ 714713 h 4001900"/>
                <a:gd name="connsiteX13" fmla="*/ 3601185 w 5759192"/>
                <a:gd name="connsiteY13" fmla="*/ 402681 h 4001900"/>
                <a:gd name="connsiteX14" fmla="*/ 3575550 w 5759192"/>
                <a:gd name="connsiteY14" fmla="*/ 0 h 4001900"/>
                <a:gd name="connsiteX15" fmla="*/ 5759192 w 5759192"/>
                <a:gd name="connsiteY15" fmla="*/ 1815152 h 4001900"/>
                <a:gd name="connsiteX16" fmla="*/ 5591856 w 5759192"/>
                <a:gd name="connsiteY16" fmla="*/ 2496102 h 4001900"/>
                <a:gd name="connsiteX17" fmla="*/ 5568132 w 5759192"/>
                <a:gd name="connsiteY17" fmla="*/ 2534708 h 4001900"/>
                <a:gd name="connsiteX18" fmla="*/ 5594709 w 5759192"/>
                <a:gd name="connsiteY18" fmla="*/ 2515459 h 4001900"/>
                <a:gd name="connsiteX19" fmla="*/ 5512113 w 5759192"/>
                <a:gd name="connsiteY19" fmla="*/ 2625869 h 4001900"/>
                <a:gd name="connsiteX20" fmla="*/ 5501969 w 5759192"/>
                <a:gd name="connsiteY20" fmla="*/ 2642377 h 4001900"/>
                <a:gd name="connsiteX21" fmla="*/ 5469909 w 5759192"/>
                <a:gd name="connsiteY21" fmla="*/ 2683046 h 4001900"/>
                <a:gd name="connsiteX22" fmla="*/ 5416539 w 5759192"/>
                <a:gd name="connsiteY22" fmla="*/ 2755748 h 4001900"/>
                <a:gd name="connsiteX23" fmla="*/ 5014000 w 5759192"/>
                <a:gd name="connsiteY23" fmla="*/ 3685544 h 4001900"/>
                <a:gd name="connsiteX24" fmla="*/ 4979331 w 5759192"/>
                <a:gd name="connsiteY24" fmla="*/ 4001900 h 4001900"/>
                <a:gd name="connsiteX25" fmla="*/ 4290281 w 5759192"/>
                <a:gd name="connsiteY25" fmla="*/ 4001900 h 4001900"/>
                <a:gd name="connsiteX26" fmla="*/ 4290281 w 5759192"/>
                <a:gd name="connsiteY26" fmla="*/ 3500305 h 4001900"/>
                <a:gd name="connsiteX27" fmla="*/ 4301328 w 5759192"/>
                <a:gd name="connsiteY27" fmla="*/ 3490055 h 4001900"/>
                <a:gd name="connsiteX28" fmla="*/ 4954597 w 5759192"/>
                <a:gd name="connsiteY28" fmla="*/ 2550105 h 4001900"/>
                <a:gd name="connsiteX29" fmla="*/ 4155513 w 5759192"/>
                <a:gd name="connsiteY29" fmla="*/ 3385681 h 4001900"/>
                <a:gd name="connsiteX30" fmla="*/ 4066794 w 5759192"/>
                <a:gd name="connsiteY30" fmla="*/ 3432467 h 4001900"/>
                <a:gd name="connsiteX31" fmla="*/ 3934719 w 5759192"/>
                <a:gd name="connsiteY31" fmla="*/ 3449665 h 4001900"/>
                <a:gd name="connsiteX32" fmla="*/ 3602846 w 5759192"/>
                <a:gd name="connsiteY32" fmla="*/ 3466531 h 4001900"/>
                <a:gd name="connsiteX33" fmla="*/ 2787634 w 5759192"/>
                <a:gd name="connsiteY33" fmla="*/ 3328134 h 4001900"/>
                <a:gd name="connsiteX34" fmla="*/ 2628617 w 5759192"/>
                <a:gd name="connsiteY34" fmla="*/ 3261967 h 4001900"/>
                <a:gd name="connsiteX35" fmla="*/ 2604656 w 5759192"/>
                <a:gd name="connsiteY35" fmla="*/ 3306221 h 4001900"/>
                <a:gd name="connsiteX36" fmla="*/ 2555343 w 5759192"/>
                <a:gd name="connsiteY36" fmla="*/ 3585868 h 4001900"/>
                <a:gd name="connsiteX37" fmla="*/ 2377663 w 5759192"/>
                <a:gd name="connsiteY37" fmla="*/ 4001899 h 4001900"/>
                <a:gd name="connsiteX38" fmla="*/ 1805622 w 5759192"/>
                <a:gd name="connsiteY38" fmla="*/ 4001899 h 4001900"/>
                <a:gd name="connsiteX39" fmla="*/ 1748330 w 5759192"/>
                <a:gd name="connsiteY39" fmla="*/ 3115295 h 4001900"/>
                <a:gd name="connsiteX40" fmla="*/ 1716832 w 5759192"/>
                <a:gd name="connsiteY40" fmla="*/ 2999002 h 4001900"/>
                <a:gd name="connsiteX41" fmla="*/ 1630745 w 5759192"/>
                <a:gd name="connsiteY41" fmla="*/ 3002510 h 4001900"/>
                <a:gd name="connsiteX42" fmla="*/ 309560 w 5759192"/>
                <a:gd name="connsiteY42" fmla="*/ 2316279 h 4001900"/>
                <a:gd name="connsiteX43" fmla="*/ 306698 w 5759192"/>
                <a:gd name="connsiteY43" fmla="*/ 2285283 h 4001900"/>
                <a:gd name="connsiteX44" fmla="*/ 299357 w 5759192"/>
                <a:gd name="connsiteY44" fmla="*/ 2193378 h 4001900"/>
                <a:gd name="connsiteX45" fmla="*/ 310366 w 5759192"/>
                <a:gd name="connsiteY45" fmla="*/ 2123565 h 4001900"/>
                <a:gd name="connsiteX46" fmla="*/ 316302 w 5759192"/>
                <a:gd name="connsiteY46" fmla="*/ 2080966 h 4001900"/>
                <a:gd name="connsiteX47" fmla="*/ 332167 w 5759192"/>
                <a:gd name="connsiteY47" fmla="*/ 2037364 h 4001900"/>
                <a:gd name="connsiteX48" fmla="*/ 279577 w 5759192"/>
                <a:gd name="connsiteY48" fmla="*/ 2040121 h 4001900"/>
                <a:gd name="connsiteX49" fmla="*/ 27239 w 5759192"/>
                <a:gd name="connsiteY49" fmla="*/ 2060201 h 4001900"/>
                <a:gd name="connsiteX50" fmla="*/ 9573 w 5759192"/>
                <a:gd name="connsiteY50" fmla="*/ 1601864 h 4001900"/>
                <a:gd name="connsiteX51" fmla="*/ 132438 w 5759192"/>
                <a:gd name="connsiteY51" fmla="*/ 1596532 h 4001900"/>
                <a:gd name="connsiteX52" fmla="*/ 359211 w 5759192"/>
                <a:gd name="connsiteY52" fmla="*/ 1613096 h 4001900"/>
                <a:gd name="connsiteX53" fmla="*/ 425448 w 5759192"/>
                <a:gd name="connsiteY53" fmla="*/ 1620294 h 4001900"/>
                <a:gd name="connsiteX54" fmla="*/ 452654 w 5759192"/>
                <a:gd name="connsiteY54" fmla="*/ 1540746 h 4001900"/>
                <a:gd name="connsiteX55" fmla="*/ 1115598 w 5759192"/>
                <a:gd name="connsiteY55" fmla="*/ 832819 h 4001900"/>
                <a:gd name="connsiteX56" fmla="*/ 1201286 w 5759192"/>
                <a:gd name="connsiteY56" fmla="*/ 795124 h 4001900"/>
                <a:gd name="connsiteX57" fmla="*/ 1194984 w 5759192"/>
                <a:gd name="connsiteY57" fmla="*/ 739279 h 4001900"/>
                <a:gd name="connsiteX58" fmla="*/ 968651 w 5759192"/>
                <a:gd name="connsiteY58" fmla="*/ 311290 h 4001900"/>
                <a:gd name="connsiteX59" fmla="*/ 1489463 w 5759192"/>
                <a:gd name="connsiteY59" fmla="*/ 700904 h 4001900"/>
                <a:gd name="connsiteX60" fmla="*/ 1489328 w 5759192"/>
                <a:gd name="connsiteY60" fmla="*/ 717422 h 4001900"/>
                <a:gd name="connsiteX61" fmla="*/ 1535378 w 5759192"/>
                <a:gd name="connsiteY61" fmla="*/ 716384 h 4001900"/>
                <a:gd name="connsiteX62" fmla="*/ 1740813 w 5759192"/>
                <a:gd name="connsiteY62" fmla="*/ 724702 h 4001900"/>
                <a:gd name="connsiteX63" fmla="*/ 1766725 w 5759192"/>
                <a:gd name="connsiteY63" fmla="*/ 732866 h 4001900"/>
                <a:gd name="connsiteX64" fmla="*/ 1774575 w 5759192"/>
                <a:gd name="connsiteY64" fmla="*/ 724363 h 4001900"/>
                <a:gd name="connsiteX65" fmla="*/ 1785894 w 5759192"/>
                <a:gd name="connsiteY65" fmla="*/ 730288 h 4001900"/>
                <a:gd name="connsiteX66" fmla="*/ 2286362 w 5759192"/>
                <a:gd name="connsiteY66" fmla="*/ 1099661 h 4001900"/>
                <a:gd name="connsiteX67" fmla="*/ 1954532 w 5759192"/>
                <a:gd name="connsiteY67" fmla="*/ 643362 h 4001900"/>
                <a:gd name="connsiteX68" fmla="*/ 1902677 w 5759192"/>
                <a:gd name="connsiteY68" fmla="*/ 610519 h 4001900"/>
                <a:gd name="connsiteX69" fmla="*/ 1927418 w 5759192"/>
                <a:gd name="connsiteY69" fmla="*/ 588560 h 4001900"/>
                <a:gd name="connsiteX70" fmla="*/ 3575550 w 5759192"/>
                <a:gd name="connsiteY70" fmla="*/ 0 h 4001900"/>
                <a:gd name="connsiteX0" fmla="*/ 2041662 w 5737987"/>
                <a:gd name="connsiteY0" fmla="*/ 2881727 h 4001900"/>
                <a:gd name="connsiteX1" fmla="*/ 2026316 w 5737987"/>
                <a:gd name="connsiteY1" fmla="*/ 2890254 h 4001900"/>
                <a:gd name="connsiteX2" fmla="*/ 2045710 w 5737987"/>
                <a:gd name="connsiteY2" fmla="*/ 2885391 h 4001900"/>
                <a:gd name="connsiteX3" fmla="*/ 2041662 w 5737987"/>
                <a:gd name="connsiteY3" fmla="*/ 2881727 h 4001900"/>
                <a:gd name="connsiteX4" fmla="*/ 1003105 w 5737987"/>
                <a:gd name="connsiteY4" fmla="*/ 1281349 h 4001900"/>
                <a:gd name="connsiteX5" fmla="*/ 895762 w 5737987"/>
                <a:gd name="connsiteY5" fmla="*/ 1468205 h 4001900"/>
                <a:gd name="connsiteX6" fmla="*/ 1003105 w 5737987"/>
                <a:gd name="connsiteY6" fmla="*/ 1655061 h 4001900"/>
                <a:gd name="connsiteX7" fmla="*/ 1110448 w 5737987"/>
                <a:gd name="connsiteY7" fmla="*/ 1468205 h 4001900"/>
                <a:gd name="connsiteX8" fmla="*/ 1003105 w 5737987"/>
                <a:gd name="connsiteY8" fmla="*/ 1281349 h 4001900"/>
                <a:gd name="connsiteX9" fmla="*/ 3579980 w 5737987"/>
                <a:gd name="connsiteY9" fmla="*/ 402681 h 4001900"/>
                <a:gd name="connsiteX10" fmla="*/ 2673227 w 5737987"/>
                <a:gd name="connsiteY10" fmla="*/ 743140 h 4001900"/>
                <a:gd name="connsiteX11" fmla="*/ 3575242 w 5737987"/>
                <a:gd name="connsiteY11" fmla="*/ 567175 h 4001900"/>
                <a:gd name="connsiteX12" fmla="*/ 4534111 w 5737987"/>
                <a:gd name="connsiteY12" fmla="*/ 714713 h 4001900"/>
                <a:gd name="connsiteX13" fmla="*/ 3579980 w 5737987"/>
                <a:gd name="connsiteY13" fmla="*/ 402681 h 4001900"/>
                <a:gd name="connsiteX14" fmla="*/ 3554345 w 5737987"/>
                <a:gd name="connsiteY14" fmla="*/ 0 h 4001900"/>
                <a:gd name="connsiteX15" fmla="*/ 5737987 w 5737987"/>
                <a:gd name="connsiteY15" fmla="*/ 1815152 h 4001900"/>
                <a:gd name="connsiteX16" fmla="*/ 5570651 w 5737987"/>
                <a:gd name="connsiteY16" fmla="*/ 2496102 h 4001900"/>
                <a:gd name="connsiteX17" fmla="*/ 5546927 w 5737987"/>
                <a:gd name="connsiteY17" fmla="*/ 2534708 h 4001900"/>
                <a:gd name="connsiteX18" fmla="*/ 5573504 w 5737987"/>
                <a:gd name="connsiteY18" fmla="*/ 2515459 h 4001900"/>
                <a:gd name="connsiteX19" fmla="*/ 5490908 w 5737987"/>
                <a:gd name="connsiteY19" fmla="*/ 2625869 h 4001900"/>
                <a:gd name="connsiteX20" fmla="*/ 5480764 w 5737987"/>
                <a:gd name="connsiteY20" fmla="*/ 2642377 h 4001900"/>
                <a:gd name="connsiteX21" fmla="*/ 5448704 w 5737987"/>
                <a:gd name="connsiteY21" fmla="*/ 2683046 h 4001900"/>
                <a:gd name="connsiteX22" fmla="*/ 5395334 w 5737987"/>
                <a:gd name="connsiteY22" fmla="*/ 2755748 h 4001900"/>
                <a:gd name="connsiteX23" fmla="*/ 4992795 w 5737987"/>
                <a:gd name="connsiteY23" fmla="*/ 3685544 h 4001900"/>
                <a:gd name="connsiteX24" fmla="*/ 4958126 w 5737987"/>
                <a:gd name="connsiteY24" fmla="*/ 4001900 h 4001900"/>
                <a:gd name="connsiteX25" fmla="*/ 4269076 w 5737987"/>
                <a:gd name="connsiteY25" fmla="*/ 4001900 h 4001900"/>
                <a:gd name="connsiteX26" fmla="*/ 4269076 w 5737987"/>
                <a:gd name="connsiteY26" fmla="*/ 3500305 h 4001900"/>
                <a:gd name="connsiteX27" fmla="*/ 4280123 w 5737987"/>
                <a:gd name="connsiteY27" fmla="*/ 3490055 h 4001900"/>
                <a:gd name="connsiteX28" fmla="*/ 4933392 w 5737987"/>
                <a:gd name="connsiteY28" fmla="*/ 2550105 h 4001900"/>
                <a:gd name="connsiteX29" fmla="*/ 4134308 w 5737987"/>
                <a:gd name="connsiteY29" fmla="*/ 3385681 h 4001900"/>
                <a:gd name="connsiteX30" fmla="*/ 4045589 w 5737987"/>
                <a:gd name="connsiteY30" fmla="*/ 3432467 h 4001900"/>
                <a:gd name="connsiteX31" fmla="*/ 3913514 w 5737987"/>
                <a:gd name="connsiteY31" fmla="*/ 3449665 h 4001900"/>
                <a:gd name="connsiteX32" fmla="*/ 3581641 w 5737987"/>
                <a:gd name="connsiteY32" fmla="*/ 3466531 h 4001900"/>
                <a:gd name="connsiteX33" fmla="*/ 2766429 w 5737987"/>
                <a:gd name="connsiteY33" fmla="*/ 3328134 h 4001900"/>
                <a:gd name="connsiteX34" fmla="*/ 2607412 w 5737987"/>
                <a:gd name="connsiteY34" fmla="*/ 3261967 h 4001900"/>
                <a:gd name="connsiteX35" fmla="*/ 2583451 w 5737987"/>
                <a:gd name="connsiteY35" fmla="*/ 3306221 h 4001900"/>
                <a:gd name="connsiteX36" fmla="*/ 2534138 w 5737987"/>
                <a:gd name="connsiteY36" fmla="*/ 3585868 h 4001900"/>
                <a:gd name="connsiteX37" fmla="*/ 2356458 w 5737987"/>
                <a:gd name="connsiteY37" fmla="*/ 4001899 h 4001900"/>
                <a:gd name="connsiteX38" fmla="*/ 1784417 w 5737987"/>
                <a:gd name="connsiteY38" fmla="*/ 4001899 h 4001900"/>
                <a:gd name="connsiteX39" fmla="*/ 1727125 w 5737987"/>
                <a:gd name="connsiteY39" fmla="*/ 3115295 h 4001900"/>
                <a:gd name="connsiteX40" fmla="*/ 1695627 w 5737987"/>
                <a:gd name="connsiteY40" fmla="*/ 2999002 h 4001900"/>
                <a:gd name="connsiteX41" fmla="*/ 1609540 w 5737987"/>
                <a:gd name="connsiteY41" fmla="*/ 3002510 h 4001900"/>
                <a:gd name="connsiteX42" fmla="*/ 288355 w 5737987"/>
                <a:gd name="connsiteY42" fmla="*/ 2316279 h 4001900"/>
                <a:gd name="connsiteX43" fmla="*/ 285493 w 5737987"/>
                <a:gd name="connsiteY43" fmla="*/ 2285283 h 4001900"/>
                <a:gd name="connsiteX44" fmla="*/ 278152 w 5737987"/>
                <a:gd name="connsiteY44" fmla="*/ 2193378 h 4001900"/>
                <a:gd name="connsiteX45" fmla="*/ 289161 w 5737987"/>
                <a:gd name="connsiteY45" fmla="*/ 2123565 h 4001900"/>
                <a:gd name="connsiteX46" fmla="*/ 295097 w 5737987"/>
                <a:gd name="connsiteY46" fmla="*/ 2080966 h 4001900"/>
                <a:gd name="connsiteX47" fmla="*/ 310962 w 5737987"/>
                <a:gd name="connsiteY47" fmla="*/ 2037364 h 4001900"/>
                <a:gd name="connsiteX48" fmla="*/ 258372 w 5737987"/>
                <a:gd name="connsiteY48" fmla="*/ 2040121 h 4001900"/>
                <a:gd name="connsiteX49" fmla="*/ 6034 w 5737987"/>
                <a:gd name="connsiteY49" fmla="*/ 2060201 h 4001900"/>
                <a:gd name="connsiteX50" fmla="*/ 64909 w 5737987"/>
                <a:gd name="connsiteY50" fmla="*/ 1595976 h 4001900"/>
                <a:gd name="connsiteX51" fmla="*/ 111233 w 5737987"/>
                <a:gd name="connsiteY51" fmla="*/ 1596532 h 4001900"/>
                <a:gd name="connsiteX52" fmla="*/ 338006 w 5737987"/>
                <a:gd name="connsiteY52" fmla="*/ 1613096 h 4001900"/>
                <a:gd name="connsiteX53" fmla="*/ 404243 w 5737987"/>
                <a:gd name="connsiteY53" fmla="*/ 1620294 h 4001900"/>
                <a:gd name="connsiteX54" fmla="*/ 431449 w 5737987"/>
                <a:gd name="connsiteY54" fmla="*/ 1540746 h 4001900"/>
                <a:gd name="connsiteX55" fmla="*/ 1094393 w 5737987"/>
                <a:gd name="connsiteY55" fmla="*/ 832819 h 4001900"/>
                <a:gd name="connsiteX56" fmla="*/ 1180081 w 5737987"/>
                <a:gd name="connsiteY56" fmla="*/ 795124 h 4001900"/>
                <a:gd name="connsiteX57" fmla="*/ 1173779 w 5737987"/>
                <a:gd name="connsiteY57" fmla="*/ 739279 h 4001900"/>
                <a:gd name="connsiteX58" fmla="*/ 947446 w 5737987"/>
                <a:gd name="connsiteY58" fmla="*/ 311290 h 4001900"/>
                <a:gd name="connsiteX59" fmla="*/ 1468258 w 5737987"/>
                <a:gd name="connsiteY59" fmla="*/ 700904 h 4001900"/>
                <a:gd name="connsiteX60" fmla="*/ 1468123 w 5737987"/>
                <a:gd name="connsiteY60" fmla="*/ 717422 h 4001900"/>
                <a:gd name="connsiteX61" fmla="*/ 1514173 w 5737987"/>
                <a:gd name="connsiteY61" fmla="*/ 716384 h 4001900"/>
                <a:gd name="connsiteX62" fmla="*/ 1719608 w 5737987"/>
                <a:gd name="connsiteY62" fmla="*/ 724702 h 4001900"/>
                <a:gd name="connsiteX63" fmla="*/ 1745520 w 5737987"/>
                <a:gd name="connsiteY63" fmla="*/ 732866 h 4001900"/>
                <a:gd name="connsiteX64" fmla="*/ 1753370 w 5737987"/>
                <a:gd name="connsiteY64" fmla="*/ 724363 h 4001900"/>
                <a:gd name="connsiteX65" fmla="*/ 1764689 w 5737987"/>
                <a:gd name="connsiteY65" fmla="*/ 730288 h 4001900"/>
                <a:gd name="connsiteX66" fmla="*/ 2265157 w 5737987"/>
                <a:gd name="connsiteY66" fmla="*/ 1099661 h 4001900"/>
                <a:gd name="connsiteX67" fmla="*/ 1933327 w 5737987"/>
                <a:gd name="connsiteY67" fmla="*/ 643362 h 4001900"/>
                <a:gd name="connsiteX68" fmla="*/ 1881472 w 5737987"/>
                <a:gd name="connsiteY68" fmla="*/ 610519 h 4001900"/>
                <a:gd name="connsiteX69" fmla="*/ 1906213 w 5737987"/>
                <a:gd name="connsiteY69" fmla="*/ 588560 h 4001900"/>
                <a:gd name="connsiteX70" fmla="*/ 3554345 w 5737987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37370 w 5687002"/>
                <a:gd name="connsiteY42" fmla="*/ 2316279 h 4001900"/>
                <a:gd name="connsiteX43" fmla="*/ 234508 w 5687002"/>
                <a:gd name="connsiteY43" fmla="*/ 2285283 h 4001900"/>
                <a:gd name="connsiteX44" fmla="*/ 227167 w 5687002"/>
                <a:gd name="connsiteY44" fmla="*/ 2193378 h 4001900"/>
                <a:gd name="connsiteX45" fmla="*/ 238176 w 5687002"/>
                <a:gd name="connsiteY45" fmla="*/ 2123565 h 4001900"/>
                <a:gd name="connsiteX46" fmla="*/ 244112 w 5687002"/>
                <a:gd name="connsiteY46" fmla="*/ 2080966 h 4001900"/>
                <a:gd name="connsiteX47" fmla="*/ 259977 w 5687002"/>
                <a:gd name="connsiteY47" fmla="*/ 2037364 h 4001900"/>
                <a:gd name="connsiteX48" fmla="*/ 207387 w 5687002"/>
                <a:gd name="connsiteY48" fmla="*/ 2040121 h 4001900"/>
                <a:gd name="connsiteX49" fmla="*/ 19813 w 5687002"/>
                <a:gd name="connsiteY49" fmla="*/ 2054313 h 4001900"/>
                <a:gd name="connsiteX50" fmla="*/ 13924 w 5687002"/>
                <a:gd name="connsiteY50" fmla="*/ 1595976 h 4001900"/>
                <a:gd name="connsiteX51" fmla="*/ 60248 w 5687002"/>
                <a:gd name="connsiteY51" fmla="*/ 1596532 h 4001900"/>
                <a:gd name="connsiteX52" fmla="*/ 287021 w 5687002"/>
                <a:gd name="connsiteY52" fmla="*/ 1613096 h 4001900"/>
                <a:gd name="connsiteX53" fmla="*/ 353258 w 5687002"/>
                <a:gd name="connsiteY53" fmla="*/ 1620294 h 4001900"/>
                <a:gd name="connsiteX54" fmla="*/ 380464 w 5687002"/>
                <a:gd name="connsiteY54" fmla="*/ 1540746 h 4001900"/>
                <a:gd name="connsiteX55" fmla="*/ 1043408 w 5687002"/>
                <a:gd name="connsiteY55" fmla="*/ 832819 h 4001900"/>
                <a:gd name="connsiteX56" fmla="*/ 1129096 w 5687002"/>
                <a:gd name="connsiteY56" fmla="*/ 795124 h 4001900"/>
                <a:gd name="connsiteX57" fmla="*/ 1122794 w 5687002"/>
                <a:gd name="connsiteY57" fmla="*/ 739279 h 4001900"/>
                <a:gd name="connsiteX58" fmla="*/ 896461 w 5687002"/>
                <a:gd name="connsiteY58" fmla="*/ 311290 h 4001900"/>
                <a:gd name="connsiteX59" fmla="*/ 1417273 w 5687002"/>
                <a:gd name="connsiteY59" fmla="*/ 700904 h 4001900"/>
                <a:gd name="connsiteX60" fmla="*/ 1417138 w 5687002"/>
                <a:gd name="connsiteY60" fmla="*/ 717422 h 4001900"/>
                <a:gd name="connsiteX61" fmla="*/ 1463188 w 5687002"/>
                <a:gd name="connsiteY61" fmla="*/ 716384 h 4001900"/>
                <a:gd name="connsiteX62" fmla="*/ 1668623 w 5687002"/>
                <a:gd name="connsiteY62" fmla="*/ 724702 h 4001900"/>
                <a:gd name="connsiteX63" fmla="*/ 1694535 w 5687002"/>
                <a:gd name="connsiteY63" fmla="*/ 732866 h 4001900"/>
                <a:gd name="connsiteX64" fmla="*/ 1702385 w 5687002"/>
                <a:gd name="connsiteY64" fmla="*/ 724363 h 4001900"/>
                <a:gd name="connsiteX65" fmla="*/ 1713704 w 5687002"/>
                <a:gd name="connsiteY65" fmla="*/ 730288 h 4001900"/>
                <a:gd name="connsiteX66" fmla="*/ 2214172 w 5687002"/>
                <a:gd name="connsiteY66" fmla="*/ 1099661 h 4001900"/>
                <a:gd name="connsiteX67" fmla="*/ 1882342 w 5687002"/>
                <a:gd name="connsiteY67" fmla="*/ 643362 h 4001900"/>
                <a:gd name="connsiteX68" fmla="*/ 1830487 w 5687002"/>
                <a:gd name="connsiteY68" fmla="*/ 610519 h 4001900"/>
                <a:gd name="connsiteX69" fmla="*/ 1855228 w 5687002"/>
                <a:gd name="connsiteY69" fmla="*/ 588560 h 4001900"/>
                <a:gd name="connsiteX70" fmla="*/ 3503360 w 5687002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4508 w 5687002"/>
                <a:gd name="connsiteY43" fmla="*/ 2285283 h 4001900"/>
                <a:gd name="connsiteX44" fmla="*/ 227167 w 5687002"/>
                <a:gd name="connsiteY44" fmla="*/ 2193378 h 4001900"/>
                <a:gd name="connsiteX45" fmla="*/ 238176 w 5687002"/>
                <a:gd name="connsiteY45" fmla="*/ 2123565 h 4001900"/>
                <a:gd name="connsiteX46" fmla="*/ 244112 w 5687002"/>
                <a:gd name="connsiteY46" fmla="*/ 2080966 h 4001900"/>
                <a:gd name="connsiteX47" fmla="*/ 259977 w 5687002"/>
                <a:gd name="connsiteY47" fmla="*/ 2037364 h 4001900"/>
                <a:gd name="connsiteX48" fmla="*/ 207387 w 5687002"/>
                <a:gd name="connsiteY48" fmla="*/ 2040121 h 4001900"/>
                <a:gd name="connsiteX49" fmla="*/ 19813 w 5687002"/>
                <a:gd name="connsiteY49" fmla="*/ 2054313 h 4001900"/>
                <a:gd name="connsiteX50" fmla="*/ 13924 w 5687002"/>
                <a:gd name="connsiteY50" fmla="*/ 1595976 h 4001900"/>
                <a:gd name="connsiteX51" fmla="*/ 60248 w 5687002"/>
                <a:gd name="connsiteY51" fmla="*/ 1596532 h 4001900"/>
                <a:gd name="connsiteX52" fmla="*/ 287021 w 5687002"/>
                <a:gd name="connsiteY52" fmla="*/ 1613096 h 4001900"/>
                <a:gd name="connsiteX53" fmla="*/ 353258 w 5687002"/>
                <a:gd name="connsiteY53" fmla="*/ 1620294 h 4001900"/>
                <a:gd name="connsiteX54" fmla="*/ 380464 w 5687002"/>
                <a:gd name="connsiteY54" fmla="*/ 1540746 h 4001900"/>
                <a:gd name="connsiteX55" fmla="*/ 1043408 w 5687002"/>
                <a:gd name="connsiteY55" fmla="*/ 832819 h 4001900"/>
                <a:gd name="connsiteX56" fmla="*/ 1129096 w 5687002"/>
                <a:gd name="connsiteY56" fmla="*/ 795124 h 4001900"/>
                <a:gd name="connsiteX57" fmla="*/ 1122794 w 5687002"/>
                <a:gd name="connsiteY57" fmla="*/ 739279 h 4001900"/>
                <a:gd name="connsiteX58" fmla="*/ 896461 w 5687002"/>
                <a:gd name="connsiteY58" fmla="*/ 311290 h 4001900"/>
                <a:gd name="connsiteX59" fmla="*/ 1417273 w 5687002"/>
                <a:gd name="connsiteY59" fmla="*/ 700904 h 4001900"/>
                <a:gd name="connsiteX60" fmla="*/ 1417138 w 5687002"/>
                <a:gd name="connsiteY60" fmla="*/ 717422 h 4001900"/>
                <a:gd name="connsiteX61" fmla="*/ 1463188 w 5687002"/>
                <a:gd name="connsiteY61" fmla="*/ 716384 h 4001900"/>
                <a:gd name="connsiteX62" fmla="*/ 1668623 w 5687002"/>
                <a:gd name="connsiteY62" fmla="*/ 724702 h 4001900"/>
                <a:gd name="connsiteX63" fmla="*/ 1694535 w 5687002"/>
                <a:gd name="connsiteY63" fmla="*/ 732866 h 4001900"/>
                <a:gd name="connsiteX64" fmla="*/ 1702385 w 5687002"/>
                <a:gd name="connsiteY64" fmla="*/ 724363 h 4001900"/>
                <a:gd name="connsiteX65" fmla="*/ 1713704 w 5687002"/>
                <a:gd name="connsiteY65" fmla="*/ 730288 h 4001900"/>
                <a:gd name="connsiteX66" fmla="*/ 2214172 w 5687002"/>
                <a:gd name="connsiteY66" fmla="*/ 1099661 h 4001900"/>
                <a:gd name="connsiteX67" fmla="*/ 1882342 w 5687002"/>
                <a:gd name="connsiteY67" fmla="*/ 643362 h 4001900"/>
                <a:gd name="connsiteX68" fmla="*/ 1830487 w 5687002"/>
                <a:gd name="connsiteY68" fmla="*/ 610519 h 4001900"/>
                <a:gd name="connsiteX69" fmla="*/ 1855228 w 5687002"/>
                <a:gd name="connsiteY69" fmla="*/ 588560 h 4001900"/>
                <a:gd name="connsiteX70" fmla="*/ 3503360 w 5687002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4508 w 5687002"/>
                <a:gd name="connsiteY43" fmla="*/ 2285283 h 4001900"/>
                <a:gd name="connsiteX44" fmla="*/ 238176 w 5687002"/>
                <a:gd name="connsiteY44" fmla="*/ 2123565 h 4001900"/>
                <a:gd name="connsiteX45" fmla="*/ 244112 w 5687002"/>
                <a:gd name="connsiteY45" fmla="*/ 2080966 h 4001900"/>
                <a:gd name="connsiteX46" fmla="*/ 259977 w 5687002"/>
                <a:gd name="connsiteY46" fmla="*/ 2037364 h 4001900"/>
                <a:gd name="connsiteX47" fmla="*/ 207387 w 5687002"/>
                <a:gd name="connsiteY47" fmla="*/ 2040121 h 4001900"/>
                <a:gd name="connsiteX48" fmla="*/ 19813 w 5687002"/>
                <a:gd name="connsiteY48" fmla="*/ 2054313 h 4001900"/>
                <a:gd name="connsiteX49" fmla="*/ 13924 w 5687002"/>
                <a:gd name="connsiteY49" fmla="*/ 1595976 h 4001900"/>
                <a:gd name="connsiteX50" fmla="*/ 60248 w 5687002"/>
                <a:gd name="connsiteY50" fmla="*/ 1596532 h 4001900"/>
                <a:gd name="connsiteX51" fmla="*/ 287021 w 5687002"/>
                <a:gd name="connsiteY51" fmla="*/ 1613096 h 4001900"/>
                <a:gd name="connsiteX52" fmla="*/ 353258 w 5687002"/>
                <a:gd name="connsiteY52" fmla="*/ 1620294 h 4001900"/>
                <a:gd name="connsiteX53" fmla="*/ 380464 w 5687002"/>
                <a:gd name="connsiteY53" fmla="*/ 1540746 h 4001900"/>
                <a:gd name="connsiteX54" fmla="*/ 1043408 w 5687002"/>
                <a:gd name="connsiteY54" fmla="*/ 832819 h 4001900"/>
                <a:gd name="connsiteX55" fmla="*/ 1129096 w 5687002"/>
                <a:gd name="connsiteY55" fmla="*/ 795124 h 4001900"/>
                <a:gd name="connsiteX56" fmla="*/ 1122794 w 5687002"/>
                <a:gd name="connsiteY56" fmla="*/ 739279 h 4001900"/>
                <a:gd name="connsiteX57" fmla="*/ 896461 w 5687002"/>
                <a:gd name="connsiteY57" fmla="*/ 311290 h 4001900"/>
                <a:gd name="connsiteX58" fmla="*/ 1417273 w 5687002"/>
                <a:gd name="connsiteY58" fmla="*/ 700904 h 4001900"/>
                <a:gd name="connsiteX59" fmla="*/ 1417138 w 5687002"/>
                <a:gd name="connsiteY59" fmla="*/ 717422 h 4001900"/>
                <a:gd name="connsiteX60" fmla="*/ 1463188 w 5687002"/>
                <a:gd name="connsiteY60" fmla="*/ 716384 h 4001900"/>
                <a:gd name="connsiteX61" fmla="*/ 1668623 w 5687002"/>
                <a:gd name="connsiteY61" fmla="*/ 724702 h 4001900"/>
                <a:gd name="connsiteX62" fmla="*/ 1694535 w 5687002"/>
                <a:gd name="connsiteY62" fmla="*/ 732866 h 4001900"/>
                <a:gd name="connsiteX63" fmla="*/ 1702385 w 5687002"/>
                <a:gd name="connsiteY63" fmla="*/ 724363 h 4001900"/>
                <a:gd name="connsiteX64" fmla="*/ 1713704 w 5687002"/>
                <a:gd name="connsiteY64" fmla="*/ 730288 h 4001900"/>
                <a:gd name="connsiteX65" fmla="*/ 2214172 w 5687002"/>
                <a:gd name="connsiteY65" fmla="*/ 1099661 h 4001900"/>
                <a:gd name="connsiteX66" fmla="*/ 1882342 w 5687002"/>
                <a:gd name="connsiteY66" fmla="*/ 643362 h 4001900"/>
                <a:gd name="connsiteX67" fmla="*/ 1830487 w 5687002"/>
                <a:gd name="connsiteY67" fmla="*/ 610519 h 4001900"/>
                <a:gd name="connsiteX68" fmla="*/ 1855228 w 5687002"/>
                <a:gd name="connsiteY68" fmla="*/ 588560 h 4001900"/>
                <a:gd name="connsiteX69" fmla="*/ 3503360 w 5687002"/>
                <a:gd name="connsiteY69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8176 w 5687002"/>
                <a:gd name="connsiteY43" fmla="*/ 2123565 h 4001900"/>
                <a:gd name="connsiteX44" fmla="*/ 244112 w 5687002"/>
                <a:gd name="connsiteY44" fmla="*/ 2080966 h 4001900"/>
                <a:gd name="connsiteX45" fmla="*/ 259977 w 5687002"/>
                <a:gd name="connsiteY45" fmla="*/ 2037364 h 4001900"/>
                <a:gd name="connsiteX46" fmla="*/ 207387 w 5687002"/>
                <a:gd name="connsiteY46" fmla="*/ 2040121 h 4001900"/>
                <a:gd name="connsiteX47" fmla="*/ 19813 w 5687002"/>
                <a:gd name="connsiteY47" fmla="*/ 2054313 h 4001900"/>
                <a:gd name="connsiteX48" fmla="*/ 13924 w 5687002"/>
                <a:gd name="connsiteY48" fmla="*/ 1595976 h 4001900"/>
                <a:gd name="connsiteX49" fmla="*/ 60248 w 5687002"/>
                <a:gd name="connsiteY49" fmla="*/ 1596532 h 4001900"/>
                <a:gd name="connsiteX50" fmla="*/ 287021 w 5687002"/>
                <a:gd name="connsiteY50" fmla="*/ 1613096 h 4001900"/>
                <a:gd name="connsiteX51" fmla="*/ 353258 w 5687002"/>
                <a:gd name="connsiteY51" fmla="*/ 1620294 h 4001900"/>
                <a:gd name="connsiteX52" fmla="*/ 380464 w 5687002"/>
                <a:gd name="connsiteY52" fmla="*/ 1540746 h 4001900"/>
                <a:gd name="connsiteX53" fmla="*/ 1043408 w 5687002"/>
                <a:gd name="connsiteY53" fmla="*/ 832819 h 4001900"/>
                <a:gd name="connsiteX54" fmla="*/ 1129096 w 5687002"/>
                <a:gd name="connsiteY54" fmla="*/ 795124 h 4001900"/>
                <a:gd name="connsiteX55" fmla="*/ 1122794 w 5687002"/>
                <a:gd name="connsiteY55" fmla="*/ 739279 h 4001900"/>
                <a:gd name="connsiteX56" fmla="*/ 896461 w 5687002"/>
                <a:gd name="connsiteY56" fmla="*/ 311290 h 4001900"/>
                <a:gd name="connsiteX57" fmla="*/ 1417273 w 5687002"/>
                <a:gd name="connsiteY57" fmla="*/ 700904 h 4001900"/>
                <a:gd name="connsiteX58" fmla="*/ 1417138 w 5687002"/>
                <a:gd name="connsiteY58" fmla="*/ 717422 h 4001900"/>
                <a:gd name="connsiteX59" fmla="*/ 1463188 w 5687002"/>
                <a:gd name="connsiteY59" fmla="*/ 716384 h 4001900"/>
                <a:gd name="connsiteX60" fmla="*/ 1668623 w 5687002"/>
                <a:gd name="connsiteY60" fmla="*/ 724702 h 4001900"/>
                <a:gd name="connsiteX61" fmla="*/ 1694535 w 5687002"/>
                <a:gd name="connsiteY61" fmla="*/ 732866 h 4001900"/>
                <a:gd name="connsiteX62" fmla="*/ 1702385 w 5687002"/>
                <a:gd name="connsiteY62" fmla="*/ 724363 h 4001900"/>
                <a:gd name="connsiteX63" fmla="*/ 1713704 w 5687002"/>
                <a:gd name="connsiteY63" fmla="*/ 730288 h 4001900"/>
                <a:gd name="connsiteX64" fmla="*/ 2214172 w 5687002"/>
                <a:gd name="connsiteY64" fmla="*/ 1099661 h 4001900"/>
                <a:gd name="connsiteX65" fmla="*/ 1882342 w 5687002"/>
                <a:gd name="connsiteY65" fmla="*/ 643362 h 4001900"/>
                <a:gd name="connsiteX66" fmla="*/ 1830487 w 5687002"/>
                <a:gd name="connsiteY66" fmla="*/ 610519 h 4001900"/>
                <a:gd name="connsiteX67" fmla="*/ 1855228 w 5687002"/>
                <a:gd name="connsiteY67" fmla="*/ 588560 h 4001900"/>
                <a:gd name="connsiteX68" fmla="*/ 3503360 w 5687002"/>
                <a:gd name="connsiteY68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8176 w 5687002"/>
                <a:gd name="connsiteY43" fmla="*/ 2123565 h 4001900"/>
                <a:gd name="connsiteX44" fmla="*/ 259977 w 5687002"/>
                <a:gd name="connsiteY44" fmla="*/ 2037364 h 4001900"/>
                <a:gd name="connsiteX45" fmla="*/ 207387 w 5687002"/>
                <a:gd name="connsiteY45" fmla="*/ 2040121 h 4001900"/>
                <a:gd name="connsiteX46" fmla="*/ 19813 w 5687002"/>
                <a:gd name="connsiteY46" fmla="*/ 2054313 h 4001900"/>
                <a:gd name="connsiteX47" fmla="*/ 13924 w 5687002"/>
                <a:gd name="connsiteY47" fmla="*/ 1595976 h 4001900"/>
                <a:gd name="connsiteX48" fmla="*/ 60248 w 5687002"/>
                <a:gd name="connsiteY48" fmla="*/ 1596532 h 4001900"/>
                <a:gd name="connsiteX49" fmla="*/ 287021 w 5687002"/>
                <a:gd name="connsiteY49" fmla="*/ 1613096 h 4001900"/>
                <a:gd name="connsiteX50" fmla="*/ 353258 w 5687002"/>
                <a:gd name="connsiteY50" fmla="*/ 1620294 h 4001900"/>
                <a:gd name="connsiteX51" fmla="*/ 380464 w 5687002"/>
                <a:gd name="connsiteY51" fmla="*/ 1540746 h 4001900"/>
                <a:gd name="connsiteX52" fmla="*/ 1043408 w 5687002"/>
                <a:gd name="connsiteY52" fmla="*/ 832819 h 4001900"/>
                <a:gd name="connsiteX53" fmla="*/ 1129096 w 5687002"/>
                <a:gd name="connsiteY53" fmla="*/ 795124 h 4001900"/>
                <a:gd name="connsiteX54" fmla="*/ 1122794 w 5687002"/>
                <a:gd name="connsiteY54" fmla="*/ 739279 h 4001900"/>
                <a:gd name="connsiteX55" fmla="*/ 896461 w 5687002"/>
                <a:gd name="connsiteY55" fmla="*/ 311290 h 4001900"/>
                <a:gd name="connsiteX56" fmla="*/ 1417273 w 5687002"/>
                <a:gd name="connsiteY56" fmla="*/ 700904 h 4001900"/>
                <a:gd name="connsiteX57" fmla="*/ 1417138 w 5687002"/>
                <a:gd name="connsiteY57" fmla="*/ 717422 h 4001900"/>
                <a:gd name="connsiteX58" fmla="*/ 1463188 w 5687002"/>
                <a:gd name="connsiteY58" fmla="*/ 716384 h 4001900"/>
                <a:gd name="connsiteX59" fmla="*/ 1668623 w 5687002"/>
                <a:gd name="connsiteY59" fmla="*/ 724702 h 4001900"/>
                <a:gd name="connsiteX60" fmla="*/ 1694535 w 5687002"/>
                <a:gd name="connsiteY60" fmla="*/ 732866 h 4001900"/>
                <a:gd name="connsiteX61" fmla="*/ 1702385 w 5687002"/>
                <a:gd name="connsiteY61" fmla="*/ 724363 h 4001900"/>
                <a:gd name="connsiteX62" fmla="*/ 1713704 w 5687002"/>
                <a:gd name="connsiteY62" fmla="*/ 730288 h 4001900"/>
                <a:gd name="connsiteX63" fmla="*/ 2214172 w 5687002"/>
                <a:gd name="connsiteY63" fmla="*/ 1099661 h 4001900"/>
                <a:gd name="connsiteX64" fmla="*/ 1882342 w 5687002"/>
                <a:gd name="connsiteY64" fmla="*/ 643362 h 4001900"/>
                <a:gd name="connsiteX65" fmla="*/ 1830487 w 5687002"/>
                <a:gd name="connsiteY65" fmla="*/ 610519 h 4001900"/>
                <a:gd name="connsiteX66" fmla="*/ 1855228 w 5687002"/>
                <a:gd name="connsiteY66" fmla="*/ 588560 h 4001900"/>
                <a:gd name="connsiteX67" fmla="*/ 3503360 w 5687002"/>
                <a:gd name="connsiteY67" fmla="*/ 0 h 400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687002" h="4001900">
                  <a:moveTo>
                    <a:pt x="1990677" y="2881727"/>
                  </a:moveTo>
                  <a:lnTo>
                    <a:pt x="1975331" y="2890254"/>
                  </a:lnTo>
                  <a:lnTo>
                    <a:pt x="1994725" y="2885391"/>
                  </a:lnTo>
                  <a:lnTo>
                    <a:pt x="1990677" y="2881727"/>
                  </a:lnTo>
                  <a:close/>
                  <a:moveTo>
                    <a:pt x="952120" y="1281349"/>
                  </a:moveTo>
                  <a:cubicBezTo>
                    <a:pt x="892836" y="1281349"/>
                    <a:pt x="844777" y="1365007"/>
                    <a:pt x="844777" y="1468205"/>
                  </a:cubicBezTo>
                  <a:cubicBezTo>
                    <a:pt x="844777" y="1571403"/>
                    <a:pt x="892836" y="1655061"/>
                    <a:pt x="952120" y="1655061"/>
                  </a:cubicBezTo>
                  <a:cubicBezTo>
                    <a:pt x="1011404" y="1655061"/>
                    <a:pt x="1059463" y="1571403"/>
                    <a:pt x="1059463" y="1468205"/>
                  </a:cubicBezTo>
                  <a:cubicBezTo>
                    <a:pt x="1059463" y="1365007"/>
                    <a:pt x="1011404" y="1281349"/>
                    <a:pt x="952120" y="1281349"/>
                  </a:cubicBezTo>
                  <a:close/>
                  <a:moveTo>
                    <a:pt x="3528995" y="402681"/>
                  </a:moveTo>
                  <a:cubicBezTo>
                    <a:pt x="3000908" y="402682"/>
                    <a:pt x="2547228" y="625706"/>
                    <a:pt x="2622242" y="743140"/>
                  </a:cubicBezTo>
                  <a:cubicBezTo>
                    <a:pt x="2792014" y="860575"/>
                    <a:pt x="2915628" y="557700"/>
                    <a:pt x="3524257" y="567175"/>
                  </a:cubicBezTo>
                  <a:cubicBezTo>
                    <a:pt x="4227644" y="571913"/>
                    <a:pt x="4426272" y="836476"/>
                    <a:pt x="4483126" y="714713"/>
                  </a:cubicBezTo>
                  <a:cubicBezTo>
                    <a:pt x="4539979" y="602426"/>
                    <a:pt x="4123412" y="397943"/>
                    <a:pt x="3528995" y="402681"/>
                  </a:cubicBezTo>
                  <a:close/>
                  <a:moveTo>
                    <a:pt x="3503360" y="0"/>
                  </a:moveTo>
                  <a:cubicBezTo>
                    <a:pt x="4709352" y="0"/>
                    <a:pt x="5687002" y="812671"/>
                    <a:pt x="5687002" y="1815152"/>
                  </a:cubicBezTo>
                  <a:cubicBezTo>
                    <a:pt x="5687002" y="2065772"/>
                    <a:pt x="5627605" y="2294294"/>
                    <a:pt x="5519666" y="2496102"/>
                  </a:cubicBezTo>
                  <a:lnTo>
                    <a:pt x="5495942" y="2534708"/>
                  </a:lnTo>
                  <a:lnTo>
                    <a:pt x="5522519" y="2515459"/>
                  </a:lnTo>
                  <a:lnTo>
                    <a:pt x="5439923" y="2625869"/>
                  </a:lnTo>
                  <a:lnTo>
                    <a:pt x="5429779" y="2642377"/>
                  </a:lnTo>
                  <a:lnTo>
                    <a:pt x="5397719" y="2683046"/>
                  </a:lnTo>
                  <a:lnTo>
                    <a:pt x="5344349" y="2755748"/>
                  </a:lnTo>
                  <a:cubicBezTo>
                    <a:pt x="4981785" y="3255633"/>
                    <a:pt x="4973410" y="3359436"/>
                    <a:pt x="4941810" y="3685544"/>
                  </a:cubicBezTo>
                  <a:lnTo>
                    <a:pt x="4907141" y="4001900"/>
                  </a:lnTo>
                  <a:lnTo>
                    <a:pt x="4218091" y="4001900"/>
                  </a:lnTo>
                  <a:lnTo>
                    <a:pt x="4218091" y="3500305"/>
                  </a:lnTo>
                  <a:lnTo>
                    <a:pt x="4229138" y="3490055"/>
                  </a:lnTo>
                  <a:cubicBezTo>
                    <a:pt x="4898537" y="2998085"/>
                    <a:pt x="4931208" y="2601035"/>
                    <a:pt x="4882407" y="2550105"/>
                  </a:cubicBezTo>
                  <a:cubicBezTo>
                    <a:pt x="4771651" y="2449542"/>
                    <a:pt x="4794373" y="2975425"/>
                    <a:pt x="4083323" y="3385681"/>
                  </a:cubicBezTo>
                  <a:lnTo>
                    <a:pt x="3994604" y="3432467"/>
                  </a:lnTo>
                  <a:lnTo>
                    <a:pt x="3862529" y="3449665"/>
                  </a:lnTo>
                  <a:cubicBezTo>
                    <a:pt x="3754533" y="3460828"/>
                    <a:pt x="3643718" y="3466531"/>
                    <a:pt x="3530656" y="3466531"/>
                  </a:cubicBezTo>
                  <a:cubicBezTo>
                    <a:pt x="3229158" y="3466531"/>
                    <a:pt x="2957570" y="3416490"/>
                    <a:pt x="2715444" y="3328134"/>
                  </a:cubicBezTo>
                  <a:lnTo>
                    <a:pt x="2556427" y="3261967"/>
                  </a:lnTo>
                  <a:lnTo>
                    <a:pt x="2532466" y="3306221"/>
                  </a:lnTo>
                  <a:cubicBezTo>
                    <a:pt x="2502316" y="3376431"/>
                    <a:pt x="2496696" y="3446108"/>
                    <a:pt x="2483153" y="3585868"/>
                  </a:cubicBezTo>
                  <a:lnTo>
                    <a:pt x="2305473" y="4001899"/>
                  </a:lnTo>
                  <a:lnTo>
                    <a:pt x="1733432" y="4001899"/>
                  </a:lnTo>
                  <a:cubicBezTo>
                    <a:pt x="1732168" y="3738991"/>
                    <a:pt x="1750813" y="3439585"/>
                    <a:pt x="1676140" y="3115295"/>
                  </a:cubicBezTo>
                  <a:lnTo>
                    <a:pt x="1644642" y="2999002"/>
                  </a:lnTo>
                  <a:lnTo>
                    <a:pt x="1558555" y="3002510"/>
                  </a:lnTo>
                  <a:cubicBezTo>
                    <a:pt x="1251712" y="2989473"/>
                    <a:pt x="374675" y="2817230"/>
                    <a:pt x="266808" y="2316279"/>
                  </a:cubicBezTo>
                  <a:lnTo>
                    <a:pt x="238176" y="2123565"/>
                  </a:lnTo>
                  <a:lnTo>
                    <a:pt x="259977" y="2037364"/>
                  </a:lnTo>
                  <a:lnTo>
                    <a:pt x="207387" y="2040121"/>
                  </a:lnTo>
                  <a:cubicBezTo>
                    <a:pt x="95702" y="2047681"/>
                    <a:pt x="141359" y="2047301"/>
                    <a:pt x="19813" y="2054313"/>
                  </a:cubicBezTo>
                  <a:cubicBezTo>
                    <a:pt x="-6366" y="1882279"/>
                    <a:pt x="-4776" y="1773619"/>
                    <a:pt x="13924" y="1595976"/>
                  </a:cubicBezTo>
                  <a:cubicBezTo>
                    <a:pt x="36364" y="1595976"/>
                    <a:pt x="37808" y="1596532"/>
                    <a:pt x="60248" y="1596532"/>
                  </a:cubicBezTo>
                  <a:cubicBezTo>
                    <a:pt x="135980" y="1626451"/>
                    <a:pt x="214794" y="1604214"/>
                    <a:pt x="287021" y="1613096"/>
                  </a:cubicBezTo>
                  <a:lnTo>
                    <a:pt x="353258" y="1620294"/>
                  </a:lnTo>
                  <a:lnTo>
                    <a:pt x="380464" y="1540746"/>
                  </a:lnTo>
                  <a:cubicBezTo>
                    <a:pt x="514057" y="1211922"/>
                    <a:pt x="784879" y="967067"/>
                    <a:pt x="1043408" y="832819"/>
                  </a:cubicBezTo>
                  <a:lnTo>
                    <a:pt x="1129096" y="795124"/>
                  </a:lnTo>
                  <a:lnTo>
                    <a:pt x="1122794" y="739279"/>
                  </a:lnTo>
                  <a:cubicBezTo>
                    <a:pt x="1075759" y="566685"/>
                    <a:pt x="854717" y="383184"/>
                    <a:pt x="896461" y="311290"/>
                  </a:cubicBezTo>
                  <a:cubicBezTo>
                    <a:pt x="960072" y="252980"/>
                    <a:pt x="1441127" y="348892"/>
                    <a:pt x="1417273" y="700904"/>
                  </a:cubicBezTo>
                  <a:lnTo>
                    <a:pt x="1417138" y="717422"/>
                  </a:lnTo>
                  <a:lnTo>
                    <a:pt x="1463188" y="716384"/>
                  </a:lnTo>
                  <a:cubicBezTo>
                    <a:pt x="1556703" y="720358"/>
                    <a:pt x="1617147" y="713916"/>
                    <a:pt x="1668623" y="724702"/>
                  </a:cubicBezTo>
                  <a:lnTo>
                    <a:pt x="1694535" y="732866"/>
                  </a:lnTo>
                  <a:lnTo>
                    <a:pt x="1702385" y="724363"/>
                  </a:lnTo>
                  <a:lnTo>
                    <a:pt x="1713704" y="730288"/>
                  </a:lnTo>
                  <a:cubicBezTo>
                    <a:pt x="2073407" y="938958"/>
                    <a:pt x="2153595" y="1208074"/>
                    <a:pt x="2214172" y="1099661"/>
                  </a:cubicBezTo>
                  <a:cubicBezTo>
                    <a:pt x="2237970" y="1050160"/>
                    <a:pt x="2179594" y="846188"/>
                    <a:pt x="1882342" y="643362"/>
                  </a:cubicBezTo>
                  <a:lnTo>
                    <a:pt x="1830487" y="610519"/>
                  </a:lnTo>
                  <a:lnTo>
                    <a:pt x="1855228" y="588560"/>
                  </a:lnTo>
                  <a:cubicBezTo>
                    <a:pt x="2285078" y="241110"/>
                    <a:pt x="2900364" y="0"/>
                    <a:pt x="3503360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61522" y="-18464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958703" y="1175257"/>
            <a:ext cx="792000" cy="792000"/>
            <a:chOff x="1180984" y="-1670104"/>
            <a:chExt cx="792000" cy="792000"/>
          </a:xfrm>
        </p:grpSpPr>
        <p:sp>
          <p:nvSpPr>
            <p:cNvPr id="141" name="Freeform 140"/>
            <p:cNvSpPr/>
            <p:nvPr/>
          </p:nvSpPr>
          <p:spPr>
            <a:xfrm>
              <a:off x="1217035" y="-1580233"/>
              <a:ext cx="719899" cy="612259"/>
            </a:xfrm>
            <a:custGeom>
              <a:avLst/>
              <a:gdLst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349313 w 3735977"/>
                <a:gd name="connsiteY13" fmla="*/ 126244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840892 w 3735977"/>
                <a:gd name="connsiteY16" fmla="*/ 0 h 3177362"/>
                <a:gd name="connsiteX17" fmla="*/ 2791601 w 3735977"/>
                <a:gd name="connsiteY17" fmla="*/ 0 h 3177362"/>
                <a:gd name="connsiteX18" fmla="*/ 3516593 w 3735977"/>
                <a:gd name="connsiteY18" fmla="*/ 1099462 h 3177362"/>
                <a:gd name="connsiteX19" fmla="*/ 3574622 w 3735977"/>
                <a:gd name="connsiteY19" fmla="*/ 1273078 h 3177362"/>
                <a:gd name="connsiteX20" fmla="*/ 3597686 w 3735977"/>
                <a:gd name="connsiteY20" fmla="*/ 1280238 h 3177362"/>
                <a:gd name="connsiteX21" fmla="*/ 3735977 w 3735977"/>
                <a:gd name="connsiteY21" fmla="*/ 1488871 h 3177362"/>
                <a:gd name="connsiteX22" fmla="*/ 3735977 w 3735977"/>
                <a:gd name="connsiteY22" fmla="*/ 2394554 h 3177362"/>
                <a:gd name="connsiteX23" fmla="*/ 3509550 w 3735977"/>
                <a:gd name="connsiteY23" fmla="*/ 2620981 h 3177362"/>
                <a:gd name="connsiteX24" fmla="*/ 3471295 w 3735977"/>
                <a:gd name="connsiteY24" fmla="*/ 2620981 h 3177362"/>
                <a:gd name="connsiteX25" fmla="*/ 3471295 w 3735977"/>
                <a:gd name="connsiteY25" fmla="*/ 3079389 h 3177362"/>
                <a:gd name="connsiteX26" fmla="*/ 3373322 w 3735977"/>
                <a:gd name="connsiteY26" fmla="*/ 3177362 h 3177362"/>
                <a:gd name="connsiteX27" fmla="*/ 2981439 w 3735977"/>
                <a:gd name="connsiteY27" fmla="*/ 3177362 h 3177362"/>
                <a:gd name="connsiteX28" fmla="*/ 2883466 w 3735977"/>
                <a:gd name="connsiteY28" fmla="*/ 3079389 h 3177362"/>
                <a:gd name="connsiteX29" fmla="*/ 2883466 w 3735977"/>
                <a:gd name="connsiteY29" fmla="*/ 2620981 h 3177362"/>
                <a:gd name="connsiteX30" fmla="*/ 812571 w 3735977"/>
                <a:gd name="connsiteY30" fmla="*/ 2620981 h 3177362"/>
                <a:gd name="connsiteX31" fmla="*/ 812571 w 3735977"/>
                <a:gd name="connsiteY31" fmla="*/ 3079389 h 3177362"/>
                <a:gd name="connsiteX32" fmla="*/ 714598 w 3735977"/>
                <a:gd name="connsiteY32" fmla="*/ 3177362 h 3177362"/>
                <a:gd name="connsiteX33" fmla="*/ 322715 w 3735977"/>
                <a:gd name="connsiteY33" fmla="*/ 3177362 h 3177362"/>
                <a:gd name="connsiteX34" fmla="*/ 224742 w 3735977"/>
                <a:gd name="connsiteY34" fmla="*/ 3079389 h 3177362"/>
                <a:gd name="connsiteX35" fmla="*/ 224742 w 3735977"/>
                <a:gd name="connsiteY35" fmla="*/ 2620811 h 3177362"/>
                <a:gd name="connsiteX36" fmla="*/ 180794 w 3735977"/>
                <a:gd name="connsiteY36" fmla="*/ 2616381 h 3177362"/>
                <a:gd name="connsiteX37" fmla="*/ 0 w 3735977"/>
                <a:gd name="connsiteY37" fmla="*/ 2394554 h 3177362"/>
                <a:gd name="connsiteX38" fmla="*/ 0 w 3735977"/>
                <a:gd name="connsiteY38" fmla="*/ 1488871 h 3177362"/>
                <a:gd name="connsiteX39" fmla="*/ 180794 w 3735977"/>
                <a:gd name="connsiteY39" fmla="*/ 1267044 h 3177362"/>
                <a:gd name="connsiteX40" fmla="*/ 194961 w 3735977"/>
                <a:gd name="connsiteY40" fmla="*/ 1265616 h 3177362"/>
                <a:gd name="connsiteX41" fmla="*/ 250202 w 3735977"/>
                <a:gd name="connsiteY41" fmla="*/ 1120715 h 3177362"/>
                <a:gd name="connsiteX42" fmla="*/ 840892 w 3735977"/>
                <a:gd name="connsiteY42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2739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735977" h="3177362">
                  <a:moveTo>
                    <a:pt x="2872378" y="1656959"/>
                  </a:moveTo>
                  <a:cubicBezTo>
                    <a:pt x="2722745" y="1656959"/>
                    <a:pt x="2601444" y="1778260"/>
                    <a:pt x="2601444" y="1927893"/>
                  </a:cubicBezTo>
                  <a:cubicBezTo>
                    <a:pt x="2601444" y="2077526"/>
                    <a:pt x="2722745" y="2198827"/>
                    <a:pt x="2872378" y="2198827"/>
                  </a:cubicBezTo>
                  <a:cubicBezTo>
                    <a:pt x="3022011" y="2198827"/>
                    <a:pt x="3143312" y="2077526"/>
                    <a:pt x="3143312" y="1927893"/>
                  </a:cubicBezTo>
                  <a:cubicBezTo>
                    <a:pt x="3143312" y="1778260"/>
                    <a:pt x="3022011" y="1656959"/>
                    <a:pt x="2872378" y="1656959"/>
                  </a:cubicBezTo>
                  <a:close/>
                  <a:moveTo>
                    <a:pt x="736384" y="1656959"/>
                  </a:moveTo>
                  <a:cubicBezTo>
                    <a:pt x="586751" y="1656959"/>
                    <a:pt x="465450" y="1778260"/>
                    <a:pt x="465450" y="1927893"/>
                  </a:cubicBezTo>
                  <a:cubicBezTo>
                    <a:pt x="465450" y="2077526"/>
                    <a:pt x="586751" y="2198827"/>
                    <a:pt x="736384" y="2198827"/>
                  </a:cubicBezTo>
                  <a:cubicBezTo>
                    <a:pt x="886017" y="2198827"/>
                    <a:pt x="1007318" y="2077526"/>
                    <a:pt x="1007318" y="1927893"/>
                  </a:cubicBezTo>
                  <a:cubicBezTo>
                    <a:pt x="1007318" y="1778260"/>
                    <a:pt x="886017" y="1656959"/>
                    <a:pt x="736384" y="1656959"/>
                  </a:cubicBezTo>
                  <a:close/>
                  <a:moveTo>
                    <a:pt x="931614" y="163939"/>
                  </a:moveTo>
                  <a:cubicBezTo>
                    <a:pt x="654378" y="163683"/>
                    <a:pt x="666973" y="446506"/>
                    <a:pt x="409512" y="1127397"/>
                  </a:cubicBezTo>
                  <a:cubicBezTo>
                    <a:pt x="390597" y="1204163"/>
                    <a:pt x="352633" y="1265688"/>
                    <a:pt x="478498" y="1266254"/>
                  </a:cubicBezTo>
                  <a:lnTo>
                    <a:pt x="3235013" y="1266254"/>
                  </a:lnTo>
                  <a:cubicBezTo>
                    <a:pt x="3324131" y="1264678"/>
                    <a:pt x="3314188" y="1160232"/>
                    <a:pt x="3296626" y="1109126"/>
                  </a:cubicBezTo>
                  <a:cubicBezTo>
                    <a:pt x="3058529" y="397784"/>
                    <a:pt x="3108411" y="167020"/>
                    <a:pt x="2655816" y="163939"/>
                  </a:cubicBezTo>
                  <a:lnTo>
                    <a:pt x="931614" y="163939"/>
                  </a:lnTo>
                  <a:close/>
                  <a:moveTo>
                    <a:pt x="840892" y="0"/>
                  </a:moveTo>
                  <a:lnTo>
                    <a:pt x="2791601" y="0"/>
                  </a:lnTo>
                  <a:cubicBezTo>
                    <a:pt x="3260547" y="34607"/>
                    <a:pt x="3247217" y="272013"/>
                    <a:pt x="3516593" y="1099462"/>
                  </a:cubicBezTo>
                  <a:lnTo>
                    <a:pt x="3574622" y="1273078"/>
                  </a:lnTo>
                  <a:lnTo>
                    <a:pt x="3597686" y="1280238"/>
                  </a:lnTo>
                  <a:cubicBezTo>
                    <a:pt x="3678954" y="1314611"/>
                    <a:pt x="3735977" y="1395082"/>
                    <a:pt x="3735977" y="1488871"/>
                  </a:cubicBezTo>
                  <a:lnTo>
                    <a:pt x="3735977" y="2394554"/>
                  </a:lnTo>
                  <a:cubicBezTo>
                    <a:pt x="3735977" y="2519606"/>
                    <a:pt x="3634602" y="2620981"/>
                    <a:pt x="3509550" y="2620981"/>
                  </a:cubicBezTo>
                  <a:lnTo>
                    <a:pt x="3471295" y="2620981"/>
                  </a:lnTo>
                  <a:lnTo>
                    <a:pt x="3471295" y="3079389"/>
                  </a:lnTo>
                  <a:cubicBezTo>
                    <a:pt x="3471295" y="3133498"/>
                    <a:pt x="3427431" y="3177362"/>
                    <a:pt x="3373322" y="3177362"/>
                  </a:cubicBezTo>
                  <a:lnTo>
                    <a:pt x="2981439" y="3177362"/>
                  </a:lnTo>
                  <a:cubicBezTo>
                    <a:pt x="2927330" y="3177362"/>
                    <a:pt x="2883466" y="3133498"/>
                    <a:pt x="2883466" y="3079389"/>
                  </a:cubicBezTo>
                  <a:lnTo>
                    <a:pt x="2883466" y="2620981"/>
                  </a:lnTo>
                  <a:lnTo>
                    <a:pt x="812571" y="2620981"/>
                  </a:lnTo>
                  <a:lnTo>
                    <a:pt x="812571" y="3079389"/>
                  </a:lnTo>
                  <a:cubicBezTo>
                    <a:pt x="812571" y="3133498"/>
                    <a:pt x="768707" y="3177362"/>
                    <a:pt x="714598" y="3177362"/>
                  </a:cubicBezTo>
                  <a:lnTo>
                    <a:pt x="322715" y="3177362"/>
                  </a:lnTo>
                  <a:cubicBezTo>
                    <a:pt x="268606" y="3177362"/>
                    <a:pt x="224742" y="3133498"/>
                    <a:pt x="224742" y="3079389"/>
                  </a:cubicBezTo>
                  <a:lnTo>
                    <a:pt x="224742" y="2620811"/>
                  </a:lnTo>
                  <a:lnTo>
                    <a:pt x="180794" y="2616381"/>
                  </a:lnTo>
                  <a:cubicBezTo>
                    <a:pt x="77615" y="2595268"/>
                    <a:pt x="0" y="2503975"/>
                    <a:pt x="0" y="2394554"/>
                  </a:cubicBezTo>
                  <a:lnTo>
                    <a:pt x="0" y="1488871"/>
                  </a:lnTo>
                  <a:cubicBezTo>
                    <a:pt x="0" y="1379451"/>
                    <a:pt x="77615" y="1288158"/>
                    <a:pt x="180794" y="1267044"/>
                  </a:cubicBezTo>
                  <a:lnTo>
                    <a:pt x="194961" y="1265616"/>
                  </a:lnTo>
                  <a:lnTo>
                    <a:pt x="250202" y="1120715"/>
                  </a:lnTo>
                  <a:cubicBezTo>
                    <a:pt x="541485" y="328688"/>
                    <a:pt x="573876" y="4126"/>
                    <a:pt x="840892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1180984" y="-167010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5196148" y="1170922"/>
            <a:ext cx="792000" cy="792000"/>
            <a:chOff x="6308915" y="-2785797"/>
            <a:chExt cx="792000" cy="792000"/>
          </a:xfrm>
        </p:grpSpPr>
        <p:sp>
          <p:nvSpPr>
            <p:cNvPr id="142" name="Freeform 141"/>
            <p:cNvSpPr/>
            <p:nvPr/>
          </p:nvSpPr>
          <p:spPr>
            <a:xfrm>
              <a:off x="6390925" y="-2756429"/>
              <a:ext cx="627981" cy="733265"/>
            </a:xfrm>
            <a:custGeom>
              <a:avLst/>
              <a:gdLst>
                <a:gd name="connsiteX0" fmla="*/ 1787320 w 2188565"/>
                <a:gd name="connsiteY0" fmla="*/ 719233 h 2555493"/>
                <a:gd name="connsiteX1" fmla="*/ 1784159 w 2188565"/>
                <a:gd name="connsiteY1" fmla="*/ 848908 h 2555493"/>
                <a:gd name="connsiteX2" fmla="*/ 1100901 w 2188565"/>
                <a:gd name="connsiteY2" fmla="*/ 2071287 h 2555493"/>
                <a:gd name="connsiteX3" fmla="*/ 747527 w 2188565"/>
                <a:gd name="connsiteY3" fmla="*/ 1817336 h 2555493"/>
                <a:gd name="connsiteX4" fmla="*/ 690853 w 2188565"/>
                <a:gd name="connsiteY4" fmla="*/ 1752876 h 2555493"/>
                <a:gd name="connsiteX5" fmla="*/ 1075160 w 2188565"/>
                <a:gd name="connsiteY5" fmla="*/ 445400 h 2555493"/>
                <a:gd name="connsiteX6" fmla="*/ 1459621 w 2188565"/>
                <a:gd name="connsiteY6" fmla="*/ 670640 h 2555493"/>
                <a:gd name="connsiteX7" fmla="*/ 1477007 w 2188565"/>
                <a:gd name="connsiteY7" fmla="*/ 673429 h 2555493"/>
                <a:gd name="connsiteX8" fmla="*/ 551214 w 2188565"/>
                <a:gd name="connsiteY8" fmla="*/ 1545848 h 2555493"/>
                <a:gd name="connsiteX9" fmla="*/ 537612 w 2188565"/>
                <a:gd name="connsiteY9" fmla="*/ 1521396 h 2555493"/>
                <a:gd name="connsiteX10" fmla="*/ 395906 w 2188565"/>
                <a:gd name="connsiteY10" fmla="*/ 658259 h 2555493"/>
                <a:gd name="connsiteX11" fmla="*/ 1075160 w 2188565"/>
                <a:gd name="connsiteY11" fmla="*/ 445400 h 2555493"/>
                <a:gd name="connsiteX12" fmla="*/ 1073552 w 2188565"/>
                <a:gd name="connsiteY12" fmla="*/ 284332 h 2555493"/>
                <a:gd name="connsiteX13" fmla="*/ 243506 w 2188565"/>
                <a:gd name="connsiteY13" fmla="*/ 544444 h 2555493"/>
                <a:gd name="connsiteX14" fmla="*/ 1105008 w 2188565"/>
                <a:gd name="connsiteY14" fmla="*/ 2271160 h 2555493"/>
                <a:gd name="connsiteX15" fmla="*/ 1945057 w 2188565"/>
                <a:gd name="connsiteY15" fmla="*/ 567753 h 2555493"/>
                <a:gd name="connsiteX16" fmla="*/ 1073552 w 2188565"/>
                <a:gd name="connsiteY16" fmla="*/ 284332 h 2555493"/>
                <a:gd name="connsiteX17" fmla="*/ 1067619 w 2188565"/>
                <a:gd name="connsiteY17" fmla="*/ 0 h 2555493"/>
                <a:gd name="connsiteX18" fmla="*/ 2188565 w 2188565"/>
                <a:gd name="connsiteY18" fmla="*/ 364541 h 2555493"/>
                <a:gd name="connsiteX19" fmla="*/ 1108079 w 2188565"/>
                <a:gd name="connsiteY19" fmla="*/ 2555493 h 2555493"/>
                <a:gd name="connsiteX20" fmla="*/ 0 w 2188565"/>
                <a:gd name="connsiteY20" fmla="*/ 334561 h 2555493"/>
                <a:gd name="connsiteX21" fmla="*/ 1067619 w 2188565"/>
                <a:gd name="connsiteY21" fmla="*/ 0 h 2555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88565" h="2555493">
                  <a:moveTo>
                    <a:pt x="1787320" y="719233"/>
                  </a:moveTo>
                  <a:lnTo>
                    <a:pt x="1784159" y="848908"/>
                  </a:lnTo>
                  <a:cubicBezTo>
                    <a:pt x="1762455" y="1268976"/>
                    <a:pt x="1641830" y="1808282"/>
                    <a:pt x="1100901" y="2071287"/>
                  </a:cubicBezTo>
                  <a:cubicBezTo>
                    <a:pt x="955063" y="1997326"/>
                    <a:pt x="839340" y="1910830"/>
                    <a:pt x="747527" y="1817336"/>
                  </a:cubicBezTo>
                  <a:lnTo>
                    <a:pt x="690853" y="1752876"/>
                  </a:lnTo>
                  <a:close/>
                  <a:moveTo>
                    <a:pt x="1075160" y="445400"/>
                  </a:moveTo>
                  <a:cubicBezTo>
                    <a:pt x="1152632" y="543920"/>
                    <a:pt x="1291185" y="632226"/>
                    <a:pt x="1459621" y="670640"/>
                  </a:cubicBezTo>
                  <a:lnTo>
                    <a:pt x="1477007" y="673429"/>
                  </a:lnTo>
                  <a:lnTo>
                    <a:pt x="551214" y="1545848"/>
                  </a:lnTo>
                  <a:lnTo>
                    <a:pt x="537612" y="1521396"/>
                  </a:lnTo>
                  <a:cubicBezTo>
                    <a:pt x="370281" y="1181552"/>
                    <a:pt x="399661" y="825477"/>
                    <a:pt x="395906" y="658259"/>
                  </a:cubicBezTo>
                  <a:cubicBezTo>
                    <a:pt x="709101" y="715060"/>
                    <a:pt x="915164" y="617267"/>
                    <a:pt x="1075160" y="445400"/>
                  </a:cubicBezTo>
                  <a:close/>
                  <a:moveTo>
                    <a:pt x="1073552" y="284332"/>
                  </a:moveTo>
                  <a:cubicBezTo>
                    <a:pt x="878038" y="494353"/>
                    <a:pt x="626229" y="613855"/>
                    <a:pt x="243506" y="544444"/>
                  </a:cubicBezTo>
                  <a:cubicBezTo>
                    <a:pt x="250846" y="871388"/>
                    <a:pt x="154533" y="1789134"/>
                    <a:pt x="1105008" y="2271160"/>
                  </a:cubicBezTo>
                  <a:cubicBezTo>
                    <a:pt x="1860451" y="1903856"/>
                    <a:pt x="1945057" y="1095553"/>
                    <a:pt x="1945057" y="567753"/>
                  </a:cubicBezTo>
                  <a:cubicBezTo>
                    <a:pt x="1567577" y="637631"/>
                    <a:pt x="1225025" y="476957"/>
                    <a:pt x="1073552" y="284332"/>
                  </a:cubicBezTo>
                  <a:close/>
                  <a:moveTo>
                    <a:pt x="1067619" y="0"/>
                  </a:moveTo>
                  <a:cubicBezTo>
                    <a:pt x="1262447" y="247758"/>
                    <a:pt x="1703043" y="454419"/>
                    <a:pt x="2188565" y="364541"/>
                  </a:cubicBezTo>
                  <a:cubicBezTo>
                    <a:pt x="2188565" y="1043406"/>
                    <a:pt x="2079743" y="2083060"/>
                    <a:pt x="1108079" y="2555493"/>
                  </a:cubicBezTo>
                  <a:cubicBezTo>
                    <a:pt x="-114438" y="1935502"/>
                    <a:pt x="9441" y="755082"/>
                    <a:pt x="0" y="334561"/>
                  </a:cubicBezTo>
                  <a:cubicBezTo>
                    <a:pt x="492265" y="423838"/>
                    <a:pt x="816146" y="270132"/>
                    <a:pt x="1067619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6308915" y="-278579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2990789" y="4292398"/>
            <a:ext cx="792000" cy="792000"/>
            <a:chOff x="2402202" y="-2875380"/>
            <a:chExt cx="792000" cy="792000"/>
          </a:xfrm>
        </p:grpSpPr>
        <p:sp>
          <p:nvSpPr>
            <p:cNvPr id="135" name="Freeform 134"/>
            <p:cNvSpPr/>
            <p:nvPr/>
          </p:nvSpPr>
          <p:spPr>
            <a:xfrm>
              <a:off x="2435245" y="-2754437"/>
              <a:ext cx="725914" cy="550115"/>
            </a:xfrm>
            <a:custGeom>
              <a:avLst/>
              <a:gdLst>
                <a:gd name="connsiteX0" fmla="*/ 3418882 w 6378694"/>
                <a:gd name="connsiteY0" fmla="*/ 2386361 h 4833928"/>
                <a:gd name="connsiteX1" fmla="*/ 3418882 w 6378694"/>
                <a:gd name="connsiteY1" fmla="*/ 3838643 h 4833928"/>
                <a:gd name="connsiteX2" fmla="*/ 4142035 w 6378694"/>
                <a:gd name="connsiteY2" fmla="*/ 3838643 h 4833928"/>
                <a:gd name="connsiteX3" fmla="*/ 4142035 w 6378694"/>
                <a:gd name="connsiteY3" fmla="*/ 3271284 h 4833928"/>
                <a:gd name="connsiteX4" fmla="*/ 4146646 w 6378694"/>
                <a:gd name="connsiteY4" fmla="*/ 3268019 h 4833928"/>
                <a:gd name="connsiteX5" fmla="*/ 4205581 w 6378694"/>
                <a:gd name="connsiteY5" fmla="*/ 3250308 h 4833928"/>
                <a:gd name="connsiteX6" fmla="*/ 4365919 w 6378694"/>
                <a:gd name="connsiteY6" fmla="*/ 3105052 h 4833928"/>
                <a:gd name="connsiteX7" fmla="*/ 4150267 w 6378694"/>
                <a:gd name="connsiteY7" fmla="*/ 2743848 h 4833928"/>
                <a:gd name="connsiteX8" fmla="*/ 4142035 w 6378694"/>
                <a:gd name="connsiteY8" fmla="*/ 2711512 h 4833928"/>
                <a:gd name="connsiteX9" fmla="*/ 4142035 w 6378694"/>
                <a:gd name="connsiteY9" fmla="*/ 2386361 h 4833928"/>
                <a:gd name="connsiteX10" fmla="*/ 3911192 w 6378694"/>
                <a:gd name="connsiteY10" fmla="*/ 1086263 h 4833928"/>
                <a:gd name="connsiteX11" fmla="*/ 3289639 w 6378694"/>
                <a:gd name="connsiteY11" fmla="*/ 1854240 h 4833928"/>
                <a:gd name="connsiteX12" fmla="*/ 3289918 w 6378694"/>
                <a:gd name="connsiteY12" fmla="*/ 1855738 h 4833928"/>
                <a:gd name="connsiteX13" fmla="*/ 3289639 w 6378694"/>
                <a:gd name="connsiteY13" fmla="*/ 1858444 h 4833928"/>
                <a:gd name="connsiteX14" fmla="*/ 3561577 w 6378694"/>
                <a:gd name="connsiteY14" fmla="*/ 2259322 h 4833928"/>
                <a:gd name="connsiteX15" fmla="*/ 3598918 w 6378694"/>
                <a:gd name="connsiteY15" fmla="*/ 2270649 h 4833928"/>
                <a:gd name="connsiteX16" fmla="*/ 3587192 w 6378694"/>
                <a:gd name="connsiteY16" fmla="*/ 2192644 h 4833928"/>
                <a:gd name="connsiteX17" fmla="*/ 3817381 w 6378694"/>
                <a:gd name="connsiteY17" fmla="*/ 1807791 h 4833928"/>
                <a:gd name="connsiteX18" fmla="*/ 3899841 w 6378694"/>
                <a:gd name="connsiteY18" fmla="*/ 2252583 h 4833928"/>
                <a:gd name="connsiteX19" fmla="*/ 3909769 w 6378694"/>
                <a:gd name="connsiteY19" fmla="*/ 2257696 h 4833928"/>
                <a:gd name="connsiteX20" fmla="*/ 3965765 w 6378694"/>
                <a:gd name="connsiteY20" fmla="*/ 2230526 h 4833928"/>
                <a:gd name="connsiteX21" fmla="*/ 4180135 w 6378694"/>
                <a:gd name="connsiteY21" fmla="*/ 1858444 h 4833928"/>
                <a:gd name="connsiteX22" fmla="*/ 4179882 w 6378694"/>
                <a:gd name="connsiteY22" fmla="*/ 1855988 h 4833928"/>
                <a:gd name="connsiteX23" fmla="*/ 4180134 w 6378694"/>
                <a:gd name="connsiteY23" fmla="*/ 1854240 h 4833928"/>
                <a:gd name="connsiteX24" fmla="*/ 4175498 w 6378694"/>
                <a:gd name="connsiteY24" fmla="*/ 1813498 h 4833928"/>
                <a:gd name="connsiteX25" fmla="*/ 4171089 w 6378694"/>
                <a:gd name="connsiteY25" fmla="*/ 1770763 h 4833928"/>
                <a:gd name="connsiteX26" fmla="*/ 4166342 w 6378694"/>
                <a:gd name="connsiteY26" fmla="*/ 1755819 h 4833928"/>
                <a:gd name="connsiteX27" fmla="*/ 4163868 w 6378694"/>
                <a:gd name="connsiteY27" fmla="*/ 1742258 h 4833928"/>
                <a:gd name="connsiteX28" fmla="*/ 4066955 w 6378694"/>
                <a:gd name="connsiteY28" fmla="*/ 1569962 h 4833928"/>
                <a:gd name="connsiteX29" fmla="*/ 4064273 w 6378694"/>
                <a:gd name="connsiteY29" fmla="*/ 1568034 h 4833928"/>
                <a:gd name="connsiteX30" fmla="*/ 4049725 w 6378694"/>
                <a:gd name="connsiteY30" fmla="*/ 1550805 h 4833928"/>
                <a:gd name="connsiteX31" fmla="*/ 3983830 w 6378694"/>
                <a:gd name="connsiteY31" fmla="*/ 1497679 h 4833928"/>
                <a:gd name="connsiteX32" fmla="*/ 3947122 w 6378694"/>
                <a:gd name="connsiteY32" fmla="*/ 1478210 h 4833928"/>
                <a:gd name="connsiteX33" fmla="*/ 3930962 w 6378694"/>
                <a:gd name="connsiteY33" fmla="*/ 1463666 h 4833928"/>
                <a:gd name="connsiteX34" fmla="*/ 3884299 w 6378694"/>
                <a:gd name="connsiteY34" fmla="*/ 1403016 h 4833928"/>
                <a:gd name="connsiteX35" fmla="*/ 3911192 w 6378694"/>
                <a:gd name="connsiteY35" fmla="*/ 1086263 h 4833928"/>
                <a:gd name="connsiteX36" fmla="*/ 2475243 w 6378694"/>
                <a:gd name="connsiteY36" fmla="*/ 0 h 4833928"/>
                <a:gd name="connsiteX37" fmla="*/ 2475248 w 6378694"/>
                <a:gd name="connsiteY37" fmla="*/ 0 h 4833928"/>
                <a:gd name="connsiteX38" fmla="*/ 3839806 w 6378694"/>
                <a:gd name="connsiteY38" fmla="*/ 0 h 4833928"/>
                <a:gd name="connsiteX39" fmla="*/ 3839809 w 6378694"/>
                <a:gd name="connsiteY39" fmla="*/ 0 h 4833928"/>
                <a:gd name="connsiteX40" fmla="*/ 5176652 w 6378694"/>
                <a:gd name="connsiteY40" fmla="*/ 1089558 h 4833928"/>
                <a:gd name="connsiteX41" fmla="*/ 5197153 w 6378694"/>
                <a:gd name="connsiteY41" fmla="*/ 1223889 h 4833928"/>
                <a:gd name="connsiteX42" fmla="*/ 5204375 w 6378694"/>
                <a:gd name="connsiteY42" fmla="*/ 1223889 h 4833928"/>
                <a:gd name="connsiteX43" fmla="*/ 5204375 w 6378694"/>
                <a:gd name="connsiteY43" fmla="*/ 1364566 h 4833928"/>
                <a:gd name="connsiteX44" fmla="*/ 5204375 w 6378694"/>
                <a:gd name="connsiteY44" fmla="*/ 3823490 h 4833928"/>
                <a:gd name="connsiteX45" fmla="*/ 5986807 w 6378694"/>
                <a:gd name="connsiteY45" fmla="*/ 3821054 h 4833928"/>
                <a:gd name="connsiteX46" fmla="*/ 6378694 w 6378694"/>
                <a:gd name="connsiteY46" fmla="*/ 4825219 h 4833928"/>
                <a:gd name="connsiteX47" fmla="*/ 0 w 6378694"/>
                <a:gd name="connsiteY47" fmla="*/ 4833928 h 4833928"/>
                <a:gd name="connsiteX48" fmla="*/ 391886 w 6378694"/>
                <a:gd name="connsiteY48" fmla="*/ 3838470 h 4833928"/>
                <a:gd name="connsiteX49" fmla="*/ 1110677 w 6378694"/>
                <a:gd name="connsiteY49" fmla="*/ 3836233 h 4833928"/>
                <a:gd name="connsiteX50" fmla="*/ 1110677 w 6378694"/>
                <a:gd name="connsiteY50" fmla="*/ 1364566 h 4833928"/>
                <a:gd name="connsiteX51" fmla="*/ 1110677 w 6378694"/>
                <a:gd name="connsiteY51" fmla="*/ 1223889 h 4833928"/>
                <a:gd name="connsiteX52" fmla="*/ 1117899 w 6378694"/>
                <a:gd name="connsiteY52" fmla="*/ 1223889 h 4833928"/>
                <a:gd name="connsiteX53" fmla="*/ 1138400 w 6378694"/>
                <a:gd name="connsiteY53" fmla="*/ 1089558 h 4833928"/>
                <a:gd name="connsiteX54" fmla="*/ 2475243 w 6378694"/>
                <a:gd name="connsiteY54" fmla="*/ 0 h 483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378694" h="4833928">
                  <a:moveTo>
                    <a:pt x="3418882" y="2386361"/>
                  </a:moveTo>
                  <a:lnTo>
                    <a:pt x="3418882" y="3838643"/>
                  </a:lnTo>
                  <a:lnTo>
                    <a:pt x="4142035" y="3838643"/>
                  </a:lnTo>
                  <a:lnTo>
                    <a:pt x="4142035" y="3271284"/>
                  </a:lnTo>
                  <a:lnTo>
                    <a:pt x="4146646" y="3268019"/>
                  </a:lnTo>
                  <a:cubicBezTo>
                    <a:pt x="4162356" y="3260296"/>
                    <a:pt x="4180777" y="3256725"/>
                    <a:pt x="4205581" y="3250308"/>
                  </a:cubicBezTo>
                  <a:cubicBezTo>
                    <a:pt x="4338533" y="3273194"/>
                    <a:pt x="4365919" y="3178699"/>
                    <a:pt x="4365919" y="3105052"/>
                  </a:cubicBezTo>
                  <a:cubicBezTo>
                    <a:pt x="4315913" y="3032277"/>
                    <a:pt x="4215669" y="2958023"/>
                    <a:pt x="4150267" y="2743848"/>
                  </a:cubicBezTo>
                  <a:lnTo>
                    <a:pt x="4142035" y="2711512"/>
                  </a:lnTo>
                  <a:lnTo>
                    <a:pt x="4142035" y="2386361"/>
                  </a:lnTo>
                  <a:close/>
                  <a:moveTo>
                    <a:pt x="3911192" y="1086263"/>
                  </a:moveTo>
                  <a:cubicBezTo>
                    <a:pt x="3837980" y="1159475"/>
                    <a:pt x="3294121" y="1294445"/>
                    <a:pt x="3289639" y="1854240"/>
                  </a:cubicBezTo>
                  <a:lnTo>
                    <a:pt x="3289918" y="1855738"/>
                  </a:lnTo>
                  <a:lnTo>
                    <a:pt x="3289639" y="1858444"/>
                  </a:lnTo>
                  <a:cubicBezTo>
                    <a:pt x="3289639" y="2038655"/>
                    <a:pt x="3401770" y="2193275"/>
                    <a:pt x="3561577" y="2259322"/>
                  </a:cubicBezTo>
                  <a:lnTo>
                    <a:pt x="3598918" y="2270649"/>
                  </a:lnTo>
                  <a:lnTo>
                    <a:pt x="3587192" y="2192644"/>
                  </a:lnTo>
                  <a:cubicBezTo>
                    <a:pt x="3571396" y="1962872"/>
                    <a:pt x="3700769" y="1870748"/>
                    <a:pt x="3817381" y="1807791"/>
                  </a:cubicBezTo>
                  <a:cubicBezTo>
                    <a:pt x="3784845" y="1885755"/>
                    <a:pt x="3750708" y="2139429"/>
                    <a:pt x="3899841" y="2252583"/>
                  </a:cubicBezTo>
                  <a:lnTo>
                    <a:pt x="3909769" y="2257696"/>
                  </a:lnTo>
                  <a:lnTo>
                    <a:pt x="3965765" y="2230526"/>
                  </a:lnTo>
                  <a:cubicBezTo>
                    <a:pt x="4094285" y="2154221"/>
                    <a:pt x="4180135" y="2016129"/>
                    <a:pt x="4180135" y="1858444"/>
                  </a:cubicBezTo>
                  <a:lnTo>
                    <a:pt x="4179882" y="1855988"/>
                  </a:lnTo>
                  <a:lnTo>
                    <a:pt x="4180134" y="1854240"/>
                  </a:lnTo>
                  <a:lnTo>
                    <a:pt x="4175498" y="1813498"/>
                  </a:lnTo>
                  <a:lnTo>
                    <a:pt x="4171089" y="1770763"/>
                  </a:lnTo>
                  <a:lnTo>
                    <a:pt x="4166342" y="1755819"/>
                  </a:lnTo>
                  <a:lnTo>
                    <a:pt x="4163868" y="1742258"/>
                  </a:lnTo>
                  <a:cubicBezTo>
                    <a:pt x="4142805" y="1648187"/>
                    <a:pt x="4108137" y="1603575"/>
                    <a:pt x="4066955" y="1569962"/>
                  </a:cubicBezTo>
                  <a:lnTo>
                    <a:pt x="4064273" y="1568034"/>
                  </a:lnTo>
                  <a:lnTo>
                    <a:pt x="4049725" y="1550805"/>
                  </a:lnTo>
                  <a:cubicBezTo>
                    <a:pt x="4029582" y="1531122"/>
                    <a:pt x="4007517" y="1513316"/>
                    <a:pt x="3983830" y="1497679"/>
                  </a:cubicBezTo>
                  <a:lnTo>
                    <a:pt x="3947122" y="1478210"/>
                  </a:lnTo>
                  <a:lnTo>
                    <a:pt x="3930962" y="1463666"/>
                  </a:lnTo>
                  <a:cubicBezTo>
                    <a:pt x="3915256" y="1446975"/>
                    <a:pt x="3899614" y="1427233"/>
                    <a:pt x="3884299" y="1403016"/>
                  </a:cubicBezTo>
                  <a:cubicBezTo>
                    <a:pt x="3797639" y="1239161"/>
                    <a:pt x="3870851" y="1234181"/>
                    <a:pt x="3911192" y="1086263"/>
                  </a:cubicBezTo>
                  <a:close/>
                  <a:moveTo>
                    <a:pt x="2475243" y="0"/>
                  </a:moveTo>
                  <a:lnTo>
                    <a:pt x="2475248" y="0"/>
                  </a:lnTo>
                  <a:lnTo>
                    <a:pt x="3839806" y="0"/>
                  </a:lnTo>
                  <a:lnTo>
                    <a:pt x="3839809" y="0"/>
                  </a:lnTo>
                  <a:cubicBezTo>
                    <a:pt x="4499235" y="0"/>
                    <a:pt x="5049411" y="467749"/>
                    <a:pt x="5176652" y="1089558"/>
                  </a:cubicBezTo>
                  <a:lnTo>
                    <a:pt x="5197153" y="1223889"/>
                  </a:lnTo>
                  <a:lnTo>
                    <a:pt x="5204375" y="1223889"/>
                  </a:lnTo>
                  <a:lnTo>
                    <a:pt x="5204375" y="1364566"/>
                  </a:lnTo>
                  <a:lnTo>
                    <a:pt x="5204375" y="3823490"/>
                  </a:lnTo>
                  <a:lnTo>
                    <a:pt x="5986807" y="3821054"/>
                  </a:lnTo>
                  <a:lnTo>
                    <a:pt x="6378694" y="4825219"/>
                  </a:lnTo>
                  <a:lnTo>
                    <a:pt x="0" y="4833928"/>
                  </a:lnTo>
                  <a:lnTo>
                    <a:pt x="391886" y="3838470"/>
                  </a:lnTo>
                  <a:lnTo>
                    <a:pt x="1110677" y="3836233"/>
                  </a:lnTo>
                  <a:lnTo>
                    <a:pt x="1110677" y="1364566"/>
                  </a:lnTo>
                  <a:lnTo>
                    <a:pt x="1110677" y="1223889"/>
                  </a:lnTo>
                  <a:lnTo>
                    <a:pt x="1117899" y="1223889"/>
                  </a:lnTo>
                  <a:lnTo>
                    <a:pt x="1138400" y="1089558"/>
                  </a:lnTo>
                  <a:cubicBezTo>
                    <a:pt x="1265641" y="467749"/>
                    <a:pt x="1815818" y="0"/>
                    <a:pt x="2475243" y="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2402202" y="-28753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2949428" y="2284067"/>
            <a:ext cx="792000" cy="792000"/>
            <a:chOff x="6188755" y="-3502593"/>
            <a:chExt cx="792000" cy="792000"/>
          </a:xfrm>
        </p:grpSpPr>
        <p:sp>
          <p:nvSpPr>
            <p:cNvPr id="138" name="Freeform 137"/>
            <p:cNvSpPr/>
            <p:nvPr/>
          </p:nvSpPr>
          <p:spPr>
            <a:xfrm>
              <a:off x="6202315" y="-3403979"/>
              <a:ext cx="764880" cy="594772"/>
            </a:xfrm>
            <a:custGeom>
              <a:avLst/>
              <a:gdLst>
                <a:gd name="connsiteX0" fmla="*/ 2274769 w 4195772"/>
                <a:gd name="connsiteY0" fmla="*/ 965981 h 3262644"/>
                <a:gd name="connsiteX1" fmla="*/ 3137238 w 4195772"/>
                <a:gd name="connsiteY1" fmla="*/ 2047966 h 3262644"/>
                <a:gd name="connsiteX2" fmla="*/ 3313282 w 4195772"/>
                <a:gd name="connsiteY2" fmla="*/ 2490521 h 3262644"/>
                <a:gd name="connsiteX3" fmla="*/ 3195647 w 4195772"/>
                <a:gd name="connsiteY3" fmla="*/ 3003337 h 3262644"/>
                <a:gd name="connsiteX4" fmla="*/ 3600733 w 4195772"/>
                <a:gd name="connsiteY4" fmla="*/ 3003337 h 3262644"/>
                <a:gd name="connsiteX5" fmla="*/ 3643952 w 4195772"/>
                <a:gd name="connsiteY5" fmla="*/ 3046556 h 3262644"/>
                <a:gd name="connsiteX6" fmla="*/ 3643952 w 4195772"/>
                <a:gd name="connsiteY6" fmla="*/ 3219425 h 3262644"/>
                <a:gd name="connsiteX7" fmla="*/ 3600733 w 4195772"/>
                <a:gd name="connsiteY7" fmla="*/ 3262644 h 3262644"/>
                <a:gd name="connsiteX8" fmla="*/ 3593647 w 4195772"/>
                <a:gd name="connsiteY8" fmla="*/ 3262644 h 3262644"/>
                <a:gd name="connsiteX9" fmla="*/ 2633318 w 4195772"/>
                <a:gd name="connsiteY9" fmla="*/ 3262644 h 3262644"/>
                <a:gd name="connsiteX10" fmla="*/ 2633318 w 4195772"/>
                <a:gd name="connsiteY10" fmla="*/ 3091464 h 3262644"/>
                <a:gd name="connsiteX11" fmla="*/ 2631431 w 4195772"/>
                <a:gd name="connsiteY11" fmla="*/ 3091464 h 3262644"/>
                <a:gd name="connsiteX12" fmla="*/ 2631431 w 4195772"/>
                <a:gd name="connsiteY12" fmla="*/ 3050053 h 3262644"/>
                <a:gd name="connsiteX13" fmla="*/ 2701177 w 4195772"/>
                <a:gd name="connsiteY13" fmla="*/ 3050053 h 3262644"/>
                <a:gd name="connsiteX14" fmla="*/ 2685257 w 4195772"/>
                <a:gd name="connsiteY14" fmla="*/ 3015587 h 3262644"/>
                <a:gd name="connsiteX15" fmla="*/ 2318154 w 4195772"/>
                <a:gd name="connsiteY15" fmla="*/ 2299482 h 3262644"/>
                <a:gd name="connsiteX16" fmla="*/ 2632479 w 4195772"/>
                <a:gd name="connsiteY16" fmla="*/ 1699407 h 3262644"/>
                <a:gd name="connsiteX17" fmla="*/ 1918104 w 4195772"/>
                <a:gd name="connsiteY17" fmla="*/ 2242332 h 3262644"/>
                <a:gd name="connsiteX18" fmla="*/ 2062328 w 4195772"/>
                <a:gd name="connsiteY18" fmla="*/ 2990668 h 3262644"/>
                <a:gd name="connsiteX19" fmla="*/ 2078606 w 4195772"/>
                <a:gd name="connsiteY19" fmla="*/ 3061482 h 3262644"/>
                <a:gd name="connsiteX20" fmla="*/ 1846571 w 4195772"/>
                <a:gd name="connsiteY20" fmla="*/ 3061482 h 3262644"/>
                <a:gd name="connsiteX21" fmla="*/ 1846571 w 4195772"/>
                <a:gd name="connsiteY21" fmla="*/ 3091464 h 3262644"/>
                <a:gd name="connsiteX22" fmla="*/ 1844593 w 4195772"/>
                <a:gd name="connsiteY22" fmla="*/ 3091464 h 3262644"/>
                <a:gd name="connsiteX23" fmla="*/ 1844593 w 4195772"/>
                <a:gd name="connsiteY23" fmla="*/ 3262644 h 3262644"/>
                <a:gd name="connsiteX24" fmla="*/ 43219 w 4195772"/>
                <a:gd name="connsiteY24" fmla="*/ 3262644 h 3262644"/>
                <a:gd name="connsiteX25" fmla="*/ 0 w 4195772"/>
                <a:gd name="connsiteY25" fmla="*/ 3219425 h 3262644"/>
                <a:gd name="connsiteX26" fmla="*/ 0 w 4195772"/>
                <a:gd name="connsiteY26" fmla="*/ 3046556 h 3262644"/>
                <a:gd name="connsiteX27" fmla="*/ 43219 w 4195772"/>
                <a:gd name="connsiteY27" fmla="*/ 3003337 h 3262644"/>
                <a:gd name="connsiteX28" fmla="*/ 326790 w 4195772"/>
                <a:gd name="connsiteY28" fmla="*/ 3003337 h 3262644"/>
                <a:gd name="connsiteX29" fmla="*/ 587838 w 4195772"/>
                <a:gd name="connsiteY29" fmla="*/ 1865329 h 3262644"/>
                <a:gd name="connsiteX30" fmla="*/ 906568 w 4195772"/>
                <a:gd name="connsiteY30" fmla="*/ 1594035 h 3262644"/>
                <a:gd name="connsiteX31" fmla="*/ 2274769 w 4195772"/>
                <a:gd name="connsiteY31" fmla="*/ 965981 h 3262644"/>
                <a:gd name="connsiteX32" fmla="*/ 2512194 w 4195772"/>
                <a:gd name="connsiteY32" fmla="*/ 0 h 3262644"/>
                <a:gd name="connsiteX33" fmla="*/ 2555539 w 4195772"/>
                <a:gd name="connsiteY33" fmla="*/ 22305 h 3262644"/>
                <a:gd name="connsiteX34" fmla="*/ 4180676 w 4195772"/>
                <a:gd name="connsiteY34" fmla="*/ 1940516 h 3262644"/>
                <a:gd name="connsiteX35" fmla="*/ 4173252 w 4195772"/>
                <a:gd name="connsiteY35" fmla="*/ 2030282 h 3262644"/>
                <a:gd name="connsiteX36" fmla="*/ 3978877 w 4195772"/>
                <a:gd name="connsiteY36" fmla="*/ 2194958 h 3262644"/>
                <a:gd name="connsiteX37" fmla="*/ 3889111 w 4195772"/>
                <a:gd name="connsiteY37" fmla="*/ 2187534 h 3262644"/>
                <a:gd name="connsiteX38" fmla="*/ 2423033 w 4195772"/>
                <a:gd name="connsiteY38" fmla="*/ 457067 h 3262644"/>
                <a:gd name="connsiteX39" fmla="*/ 382262 w 4195772"/>
                <a:gd name="connsiteY39" fmla="*/ 1455685 h 3262644"/>
                <a:gd name="connsiteX40" fmla="*/ 297059 w 4195772"/>
                <a:gd name="connsiteY40" fmla="*/ 1426470 h 3262644"/>
                <a:gd name="connsiteX41" fmla="*/ 185085 w 4195772"/>
                <a:gd name="connsiteY41" fmla="*/ 1197643 h 3262644"/>
                <a:gd name="connsiteX42" fmla="*/ 214299 w 4195772"/>
                <a:gd name="connsiteY42" fmla="*/ 1112440 h 3262644"/>
                <a:gd name="connsiteX43" fmla="*/ 1043207 w 4195772"/>
                <a:gd name="connsiteY43" fmla="*/ 706828 h 3262644"/>
                <a:gd name="connsiteX44" fmla="*/ 1132709 w 4195772"/>
                <a:gd name="connsiteY44" fmla="*/ 295155 h 3262644"/>
                <a:gd name="connsiteX45" fmla="*/ 1135869 w 4195772"/>
                <a:gd name="connsiteY45" fmla="*/ 290602 h 3262644"/>
                <a:gd name="connsiteX46" fmla="*/ 1172191 w 4195772"/>
                <a:gd name="connsiteY46" fmla="*/ 123533 h 3262644"/>
                <a:gd name="connsiteX47" fmla="*/ 1303394 w 4195772"/>
                <a:gd name="connsiteY47" fmla="*/ 39192 h 3262644"/>
                <a:gd name="connsiteX48" fmla="*/ 1734468 w 4195772"/>
                <a:gd name="connsiteY48" fmla="*/ 132911 h 3262644"/>
                <a:gd name="connsiteX49" fmla="*/ 1818810 w 4195772"/>
                <a:gd name="connsiteY49" fmla="*/ 264114 h 3262644"/>
                <a:gd name="connsiteX50" fmla="*/ 1803437 w 4195772"/>
                <a:gd name="connsiteY50" fmla="*/ 334821 h 3262644"/>
                <a:gd name="connsiteX51" fmla="*/ 2472514 w 4195772"/>
                <a:gd name="connsiteY51" fmla="*/ 7420 h 3262644"/>
                <a:gd name="connsiteX52" fmla="*/ 2485457 w 4195772"/>
                <a:gd name="connsiteY52" fmla="*/ 4033 h 3262644"/>
                <a:gd name="connsiteX53" fmla="*/ 2487924 w 4195772"/>
                <a:gd name="connsiteY53" fmla="*/ 2674 h 3262644"/>
                <a:gd name="connsiteX54" fmla="*/ 2492639 w 4195772"/>
                <a:gd name="connsiteY54" fmla="*/ 2154 h 3262644"/>
                <a:gd name="connsiteX55" fmla="*/ 2496982 w 4195772"/>
                <a:gd name="connsiteY55" fmla="*/ 1019 h 3262644"/>
                <a:gd name="connsiteX56" fmla="*/ 2499624 w 4195772"/>
                <a:gd name="connsiteY56" fmla="*/ 1385 h 326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195772" h="3262644">
                  <a:moveTo>
                    <a:pt x="2274769" y="965981"/>
                  </a:moveTo>
                  <a:cubicBezTo>
                    <a:pt x="2552734" y="1329817"/>
                    <a:pt x="2930710" y="1760330"/>
                    <a:pt x="3137238" y="2047966"/>
                  </a:cubicBezTo>
                  <a:cubicBezTo>
                    <a:pt x="3259438" y="2208562"/>
                    <a:pt x="3350053" y="2330221"/>
                    <a:pt x="3313282" y="2490521"/>
                  </a:cubicBezTo>
                  <a:lnTo>
                    <a:pt x="3195647" y="3003337"/>
                  </a:lnTo>
                  <a:lnTo>
                    <a:pt x="3600733" y="3003337"/>
                  </a:lnTo>
                  <a:cubicBezTo>
                    <a:pt x="3624602" y="3003337"/>
                    <a:pt x="3643952" y="3022687"/>
                    <a:pt x="3643952" y="3046556"/>
                  </a:cubicBezTo>
                  <a:lnTo>
                    <a:pt x="3643952" y="3219425"/>
                  </a:lnTo>
                  <a:cubicBezTo>
                    <a:pt x="3643952" y="3243294"/>
                    <a:pt x="3624602" y="3262644"/>
                    <a:pt x="3600733" y="3262644"/>
                  </a:cubicBezTo>
                  <a:lnTo>
                    <a:pt x="3593647" y="3262644"/>
                  </a:lnTo>
                  <a:lnTo>
                    <a:pt x="2633318" y="3262644"/>
                  </a:lnTo>
                  <a:lnTo>
                    <a:pt x="2633318" y="3091464"/>
                  </a:lnTo>
                  <a:lnTo>
                    <a:pt x="2631431" y="3091464"/>
                  </a:lnTo>
                  <a:lnTo>
                    <a:pt x="2631431" y="3050053"/>
                  </a:lnTo>
                  <a:lnTo>
                    <a:pt x="2701177" y="3050053"/>
                  </a:lnTo>
                  <a:lnTo>
                    <a:pt x="2685257" y="3015587"/>
                  </a:lnTo>
                  <a:cubicBezTo>
                    <a:pt x="2579298" y="2786001"/>
                    <a:pt x="2565407" y="2757873"/>
                    <a:pt x="2318154" y="2299482"/>
                  </a:cubicBezTo>
                  <a:cubicBezTo>
                    <a:pt x="2438804" y="2007382"/>
                    <a:pt x="2464204" y="1981982"/>
                    <a:pt x="2632479" y="1699407"/>
                  </a:cubicBezTo>
                  <a:lnTo>
                    <a:pt x="1918104" y="2242332"/>
                  </a:lnTo>
                  <a:cubicBezTo>
                    <a:pt x="2000059" y="2542369"/>
                    <a:pt x="2006657" y="2726941"/>
                    <a:pt x="2062328" y="2990668"/>
                  </a:cubicBezTo>
                  <a:lnTo>
                    <a:pt x="2078606" y="3061482"/>
                  </a:lnTo>
                  <a:lnTo>
                    <a:pt x="1846571" y="3061482"/>
                  </a:lnTo>
                  <a:lnTo>
                    <a:pt x="1846571" y="3091464"/>
                  </a:lnTo>
                  <a:lnTo>
                    <a:pt x="1844593" y="3091464"/>
                  </a:lnTo>
                  <a:lnTo>
                    <a:pt x="1844593" y="3262644"/>
                  </a:lnTo>
                  <a:lnTo>
                    <a:pt x="43219" y="3262644"/>
                  </a:lnTo>
                  <a:cubicBezTo>
                    <a:pt x="19350" y="3262644"/>
                    <a:pt x="0" y="3243294"/>
                    <a:pt x="0" y="3219425"/>
                  </a:cubicBezTo>
                  <a:lnTo>
                    <a:pt x="0" y="3046556"/>
                  </a:lnTo>
                  <a:cubicBezTo>
                    <a:pt x="0" y="3022687"/>
                    <a:pt x="19350" y="3003337"/>
                    <a:pt x="43219" y="3003337"/>
                  </a:cubicBezTo>
                  <a:lnTo>
                    <a:pt x="326790" y="3003337"/>
                  </a:lnTo>
                  <a:lnTo>
                    <a:pt x="587838" y="1865329"/>
                  </a:lnTo>
                  <a:cubicBezTo>
                    <a:pt x="624610" y="1705029"/>
                    <a:pt x="712931" y="1681089"/>
                    <a:pt x="906568" y="1594035"/>
                  </a:cubicBezTo>
                  <a:cubicBezTo>
                    <a:pt x="1395973" y="1360873"/>
                    <a:pt x="1947289" y="1099133"/>
                    <a:pt x="2274769" y="965981"/>
                  </a:cubicBezTo>
                  <a:close/>
                  <a:moveTo>
                    <a:pt x="2512194" y="0"/>
                  </a:moveTo>
                  <a:cubicBezTo>
                    <a:pt x="2528438" y="1345"/>
                    <a:pt x="2544170" y="8885"/>
                    <a:pt x="2555539" y="22305"/>
                  </a:cubicBezTo>
                  <a:lnTo>
                    <a:pt x="4180676" y="1940516"/>
                  </a:lnTo>
                  <a:cubicBezTo>
                    <a:pt x="4203414" y="1967354"/>
                    <a:pt x="4200089" y="2007543"/>
                    <a:pt x="4173252" y="2030282"/>
                  </a:cubicBezTo>
                  <a:lnTo>
                    <a:pt x="3978877" y="2194958"/>
                  </a:lnTo>
                  <a:cubicBezTo>
                    <a:pt x="3952038" y="2217696"/>
                    <a:pt x="3911849" y="2214373"/>
                    <a:pt x="3889111" y="2187534"/>
                  </a:cubicBezTo>
                  <a:lnTo>
                    <a:pt x="2423033" y="457067"/>
                  </a:lnTo>
                  <a:lnTo>
                    <a:pt x="382262" y="1455685"/>
                  </a:lnTo>
                  <a:cubicBezTo>
                    <a:pt x="350665" y="1471146"/>
                    <a:pt x="312520" y="1458067"/>
                    <a:pt x="297059" y="1426470"/>
                  </a:cubicBezTo>
                  <a:lnTo>
                    <a:pt x="185085" y="1197643"/>
                  </a:lnTo>
                  <a:cubicBezTo>
                    <a:pt x="169625" y="1166047"/>
                    <a:pt x="182705" y="1127900"/>
                    <a:pt x="214299" y="1112440"/>
                  </a:cubicBezTo>
                  <a:lnTo>
                    <a:pt x="1043207" y="706828"/>
                  </a:lnTo>
                  <a:lnTo>
                    <a:pt x="1132709" y="295155"/>
                  </a:lnTo>
                  <a:lnTo>
                    <a:pt x="1135869" y="290602"/>
                  </a:lnTo>
                  <a:lnTo>
                    <a:pt x="1172191" y="123533"/>
                  </a:lnTo>
                  <a:cubicBezTo>
                    <a:pt x="1185132" y="64013"/>
                    <a:pt x="1243874" y="26251"/>
                    <a:pt x="1303394" y="39192"/>
                  </a:cubicBezTo>
                  <a:lnTo>
                    <a:pt x="1734468" y="132911"/>
                  </a:lnTo>
                  <a:cubicBezTo>
                    <a:pt x="1793989" y="145851"/>
                    <a:pt x="1831750" y="204594"/>
                    <a:pt x="1818810" y="264114"/>
                  </a:cubicBezTo>
                  <a:lnTo>
                    <a:pt x="1803437" y="334821"/>
                  </a:lnTo>
                  <a:lnTo>
                    <a:pt x="2472514" y="7420"/>
                  </a:lnTo>
                  <a:lnTo>
                    <a:pt x="2485457" y="4033"/>
                  </a:lnTo>
                  <a:lnTo>
                    <a:pt x="2487924" y="2674"/>
                  </a:lnTo>
                  <a:lnTo>
                    <a:pt x="2492639" y="2154"/>
                  </a:lnTo>
                  <a:lnTo>
                    <a:pt x="2496982" y="1019"/>
                  </a:lnTo>
                  <a:lnTo>
                    <a:pt x="2499624" y="1385"/>
                  </a:ln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6188755" y="-350259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5146143" y="2353516"/>
            <a:ext cx="792000" cy="792000"/>
            <a:chOff x="2668106" y="-2297747"/>
            <a:chExt cx="792000" cy="792000"/>
          </a:xfrm>
        </p:grpSpPr>
        <p:sp>
          <p:nvSpPr>
            <p:cNvPr id="140" name="Freeform 139"/>
            <p:cNvSpPr/>
            <p:nvPr/>
          </p:nvSpPr>
          <p:spPr>
            <a:xfrm rot="215849">
              <a:off x="2715703" y="-2060368"/>
              <a:ext cx="696806" cy="317242"/>
            </a:xfrm>
            <a:custGeom>
              <a:avLst/>
              <a:gdLst>
                <a:gd name="connsiteX0" fmla="*/ 3624740 w 4654610"/>
                <a:gd name="connsiteY0" fmla="*/ 1205095 h 2119156"/>
                <a:gd name="connsiteX1" fmla="*/ 3429913 w 4654610"/>
                <a:gd name="connsiteY1" fmla="*/ 1426064 h 2119156"/>
                <a:gd name="connsiteX2" fmla="*/ 3650882 w 4654610"/>
                <a:gd name="connsiteY2" fmla="*/ 1620892 h 2119156"/>
                <a:gd name="connsiteX3" fmla="*/ 3845710 w 4654610"/>
                <a:gd name="connsiteY3" fmla="*/ 1399923 h 2119156"/>
                <a:gd name="connsiteX4" fmla="*/ 3624740 w 4654610"/>
                <a:gd name="connsiteY4" fmla="*/ 1205095 h 2119156"/>
                <a:gd name="connsiteX5" fmla="*/ 1004707 w 4654610"/>
                <a:gd name="connsiteY5" fmla="*/ 1369818 h 2119156"/>
                <a:gd name="connsiteX6" fmla="*/ 809880 w 4654610"/>
                <a:gd name="connsiteY6" fmla="*/ 1590787 h 2119156"/>
                <a:gd name="connsiteX7" fmla="*/ 1030849 w 4654610"/>
                <a:gd name="connsiteY7" fmla="*/ 1785615 h 2119156"/>
                <a:gd name="connsiteX8" fmla="*/ 1225677 w 4654610"/>
                <a:gd name="connsiteY8" fmla="*/ 1564646 h 2119156"/>
                <a:gd name="connsiteX9" fmla="*/ 1004707 w 4654610"/>
                <a:gd name="connsiteY9" fmla="*/ 1369818 h 2119156"/>
                <a:gd name="connsiteX10" fmla="*/ 2342954 w 4654610"/>
                <a:gd name="connsiteY10" fmla="*/ 267575 h 2119156"/>
                <a:gd name="connsiteX11" fmla="*/ 2367113 w 4654610"/>
                <a:gd name="connsiteY11" fmla="*/ 651827 h 2119156"/>
                <a:gd name="connsiteX12" fmla="*/ 3230157 w 4654610"/>
                <a:gd name="connsiteY12" fmla="*/ 605202 h 2119156"/>
                <a:gd name="connsiteX13" fmla="*/ 2756826 w 4654610"/>
                <a:gd name="connsiteY13" fmla="*/ 241555 h 2119156"/>
                <a:gd name="connsiteX14" fmla="*/ 1721717 w 4654610"/>
                <a:gd name="connsiteY14" fmla="*/ 306633 h 2119156"/>
                <a:gd name="connsiteX15" fmla="*/ 1745875 w 4654610"/>
                <a:gd name="connsiteY15" fmla="*/ 690884 h 2119156"/>
                <a:gd name="connsiteX16" fmla="*/ 2190167 w 4654610"/>
                <a:gd name="connsiteY16" fmla="*/ 662951 h 2119156"/>
                <a:gd name="connsiteX17" fmla="*/ 2166009 w 4654610"/>
                <a:gd name="connsiteY17" fmla="*/ 278700 h 2119156"/>
                <a:gd name="connsiteX18" fmla="*/ 888845 w 4654610"/>
                <a:gd name="connsiteY18" fmla="*/ 340050 h 2119156"/>
                <a:gd name="connsiteX19" fmla="*/ 864463 w 4654610"/>
                <a:gd name="connsiteY19" fmla="*/ 367704 h 2119156"/>
                <a:gd name="connsiteX20" fmla="*/ 869496 w 4654610"/>
                <a:gd name="connsiteY20" fmla="*/ 447756 h 2119156"/>
                <a:gd name="connsiteX21" fmla="*/ 761758 w 4654610"/>
                <a:gd name="connsiteY21" fmla="*/ 454529 h 2119156"/>
                <a:gd name="connsiteX22" fmla="*/ 733312 w 4654610"/>
                <a:gd name="connsiteY22" fmla="*/ 486792 h 2119156"/>
                <a:gd name="connsiteX23" fmla="*/ 740945 w 4654610"/>
                <a:gd name="connsiteY23" fmla="*/ 608204 h 2119156"/>
                <a:gd name="connsiteX24" fmla="*/ 773208 w 4654610"/>
                <a:gd name="connsiteY24" fmla="*/ 636650 h 2119156"/>
                <a:gd name="connsiteX25" fmla="*/ 880946 w 4654610"/>
                <a:gd name="connsiteY25" fmla="*/ 629876 h 2119156"/>
                <a:gd name="connsiteX26" fmla="*/ 898939 w 4654610"/>
                <a:gd name="connsiteY26" fmla="*/ 916062 h 2119156"/>
                <a:gd name="connsiteX27" fmla="*/ 926592 w 4654610"/>
                <a:gd name="connsiteY27" fmla="*/ 940444 h 2119156"/>
                <a:gd name="connsiteX28" fmla="*/ 1030659 w 4654610"/>
                <a:gd name="connsiteY28" fmla="*/ 933901 h 2119156"/>
                <a:gd name="connsiteX29" fmla="*/ 1055041 w 4654610"/>
                <a:gd name="connsiteY29" fmla="*/ 906248 h 2119156"/>
                <a:gd name="connsiteX30" fmla="*/ 1037048 w 4654610"/>
                <a:gd name="connsiteY30" fmla="*/ 620062 h 2119156"/>
                <a:gd name="connsiteX31" fmla="*/ 1162797 w 4654610"/>
                <a:gd name="connsiteY31" fmla="*/ 612156 h 2119156"/>
                <a:gd name="connsiteX32" fmla="*/ 1191242 w 4654610"/>
                <a:gd name="connsiteY32" fmla="*/ 579893 h 2119156"/>
                <a:gd name="connsiteX33" fmla="*/ 1183609 w 4654610"/>
                <a:gd name="connsiteY33" fmla="*/ 458481 h 2119156"/>
                <a:gd name="connsiteX34" fmla="*/ 1151347 w 4654610"/>
                <a:gd name="connsiteY34" fmla="*/ 430035 h 2119156"/>
                <a:gd name="connsiteX35" fmla="*/ 1025598 w 4654610"/>
                <a:gd name="connsiteY35" fmla="*/ 437941 h 2119156"/>
                <a:gd name="connsiteX36" fmla="*/ 1020565 w 4654610"/>
                <a:gd name="connsiteY36" fmla="*/ 357889 h 2119156"/>
                <a:gd name="connsiteX37" fmla="*/ 992912 w 4654610"/>
                <a:gd name="connsiteY37" fmla="*/ 333508 h 2119156"/>
                <a:gd name="connsiteX38" fmla="*/ 593663 w 4654610"/>
                <a:gd name="connsiteY38" fmla="*/ 129841 h 2119156"/>
                <a:gd name="connsiteX39" fmla="*/ 2650403 w 4654610"/>
                <a:gd name="connsiteY39" fmla="*/ 533 h 2119156"/>
                <a:gd name="connsiteX40" fmla="*/ 2843111 w 4654610"/>
                <a:gd name="connsiteY40" fmla="*/ 66521 h 2119156"/>
                <a:gd name="connsiteX41" fmla="*/ 2851867 w 4654610"/>
                <a:gd name="connsiteY41" fmla="*/ 77897 h 2119156"/>
                <a:gd name="connsiteX42" fmla="*/ 3752395 w 4654610"/>
                <a:gd name="connsiteY42" fmla="*/ 665650 h 2119156"/>
                <a:gd name="connsiteX43" fmla="*/ 4428797 w 4654610"/>
                <a:gd name="connsiteY43" fmla="*/ 665650 h 2119156"/>
                <a:gd name="connsiteX44" fmla="*/ 4539262 w 4654610"/>
                <a:gd name="connsiteY44" fmla="*/ 776118 h 2119156"/>
                <a:gd name="connsiteX45" fmla="*/ 4539262 w 4654610"/>
                <a:gd name="connsiteY45" fmla="*/ 1214963 h 2119156"/>
                <a:gd name="connsiteX46" fmla="*/ 4598407 w 4654610"/>
                <a:gd name="connsiteY46" fmla="*/ 1220823 h 2119156"/>
                <a:gd name="connsiteX47" fmla="*/ 4643787 w 4654610"/>
                <a:gd name="connsiteY47" fmla="*/ 1260834 h 2119156"/>
                <a:gd name="connsiteX48" fmla="*/ 4654525 w 4654610"/>
                <a:gd name="connsiteY48" fmla="*/ 1431609 h 2119156"/>
                <a:gd name="connsiteX49" fmla="*/ 4614512 w 4654610"/>
                <a:gd name="connsiteY49" fmla="*/ 1476989 h 2119156"/>
                <a:gd name="connsiteX50" fmla="*/ 4170070 w 4654610"/>
                <a:gd name="connsiteY50" fmla="*/ 1504931 h 2119156"/>
                <a:gd name="connsiteX51" fmla="*/ 4148924 w 4654610"/>
                <a:gd name="connsiteY51" fmla="*/ 1592021 h 2119156"/>
                <a:gd name="connsiteX52" fmla="*/ 3671782 w 4654610"/>
                <a:gd name="connsiteY52" fmla="*/ 1953347 h 2119156"/>
                <a:gd name="connsiteX53" fmla="*/ 3153143 w 4654610"/>
                <a:gd name="connsiteY53" fmla="*/ 1654627 h 2119156"/>
                <a:gd name="connsiteX54" fmla="*/ 3121256 w 4654610"/>
                <a:gd name="connsiteY54" fmla="*/ 1570871 h 2119156"/>
                <a:gd name="connsiteX55" fmla="*/ 2812056 w 4654610"/>
                <a:gd name="connsiteY55" fmla="*/ 1590310 h 2119156"/>
                <a:gd name="connsiteX56" fmla="*/ 2739370 w 4654610"/>
                <a:gd name="connsiteY56" fmla="*/ 1596000 h 2119156"/>
                <a:gd name="connsiteX57" fmla="*/ 2729116 w 4654610"/>
                <a:gd name="connsiteY57" fmla="*/ 1595525 h 2119156"/>
                <a:gd name="connsiteX58" fmla="*/ 1550037 w 4654610"/>
                <a:gd name="connsiteY58" fmla="*/ 1669654 h 2119156"/>
                <a:gd name="connsiteX59" fmla="*/ 1528891 w 4654610"/>
                <a:gd name="connsiteY59" fmla="*/ 1756744 h 2119156"/>
                <a:gd name="connsiteX60" fmla="*/ 1051749 w 4654610"/>
                <a:gd name="connsiteY60" fmla="*/ 2118071 h 2119156"/>
                <a:gd name="connsiteX61" fmla="*/ 533110 w 4654610"/>
                <a:gd name="connsiteY61" fmla="*/ 1819349 h 2119156"/>
                <a:gd name="connsiteX62" fmla="*/ 501223 w 4654610"/>
                <a:gd name="connsiteY62" fmla="*/ 1735594 h 2119156"/>
                <a:gd name="connsiteX63" fmla="*/ 97560 w 4654610"/>
                <a:gd name="connsiteY63" fmla="*/ 1760972 h 2119156"/>
                <a:gd name="connsiteX64" fmla="*/ 18786 w 4654610"/>
                <a:gd name="connsiteY64" fmla="*/ 1691517 h 2119156"/>
                <a:gd name="connsiteX65" fmla="*/ 148 w 4654610"/>
                <a:gd name="connsiteY65" fmla="*/ 1395065 h 2119156"/>
                <a:gd name="connsiteX66" fmla="*/ 69603 w 4654610"/>
                <a:gd name="connsiteY66" fmla="*/ 1316291 h 2119156"/>
                <a:gd name="connsiteX67" fmla="*/ 139087 w 4654610"/>
                <a:gd name="connsiteY67" fmla="*/ 1311923 h 2119156"/>
                <a:gd name="connsiteX68" fmla="*/ 149971 w 4654610"/>
                <a:gd name="connsiteY68" fmla="*/ 1234154 h 2119156"/>
                <a:gd name="connsiteX69" fmla="*/ 291068 w 4654610"/>
                <a:gd name="connsiteY69" fmla="*/ 415528 h 2119156"/>
                <a:gd name="connsiteX70" fmla="*/ 593663 w 4654610"/>
                <a:gd name="connsiteY70" fmla="*/ 129841 h 2119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654610" h="2119156">
                  <a:moveTo>
                    <a:pt x="3624740" y="1205095"/>
                  </a:moveTo>
                  <a:cubicBezTo>
                    <a:pt x="3509921" y="1212314"/>
                    <a:pt x="3422694" y="1311245"/>
                    <a:pt x="3429913" y="1426064"/>
                  </a:cubicBezTo>
                  <a:cubicBezTo>
                    <a:pt x="3437131" y="1540884"/>
                    <a:pt x="3536063" y="1628111"/>
                    <a:pt x="3650882" y="1620892"/>
                  </a:cubicBezTo>
                  <a:cubicBezTo>
                    <a:pt x="3765701" y="1613673"/>
                    <a:pt x="3852928" y="1514742"/>
                    <a:pt x="3845710" y="1399923"/>
                  </a:cubicBezTo>
                  <a:cubicBezTo>
                    <a:pt x="3838491" y="1285104"/>
                    <a:pt x="3739560" y="1197876"/>
                    <a:pt x="3624740" y="1205095"/>
                  </a:cubicBezTo>
                  <a:close/>
                  <a:moveTo>
                    <a:pt x="1004707" y="1369818"/>
                  </a:moveTo>
                  <a:cubicBezTo>
                    <a:pt x="889888" y="1377037"/>
                    <a:pt x="802661" y="1475968"/>
                    <a:pt x="809880" y="1590787"/>
                  </a:cubicBezTo>
                  <a:cubicBezTo>
                    <a:pt x="817098" y="1705607"/>
                    <a:pt x="916029" y="1792834"/>
                    <a:pt x="1030849" y="1785615"/>
                  </a:cubicBezTo>
                  <a:cubicBezTo>
                    <a:pt x="1145668" y="1778396"/>
                    <a:pt x="1232895" y="1679465"/>
                    <a:pt x="1225677" y="1564646"/>
                  </a:cubicBezTo>
                  <a:cubicBezTo>
                    <a:pt x="1218458" y="1449827"/>
                    <a:pt x="1119527" y="1362599"/>
                    <a:pt x="1004707" y="1369818"/>
                  </a:cubicBezTo>
                  <a:close/>
                  <a:moveTo>
                    <a:pt x="2342954" y="267575"/>
                  </a:moveTo>
                  <a:lnTo>
                    <a:pt x="2367113" y="651827"/>
                  </a:lnTo>
                  <a:lnTo>
                    <a:pt x="3230157" y="605202"/>
                  </a:lnTo>
                  <a:lnTo>
                    <a:pt x="2756826" y="241555"/>
                  </a:lnTo>
                  <a:close/>
                  <a:moveTo>
                    <a:pt x="1721717" y="306633"/>
                  </a:moveTo>
                  <a:lnTo>
                    <a:pt x="1745875" y="690884"/>
                  </a:lnTo>
                  <a:lnTo>
                    <a:pt x="2190167" y="662951"/>
                  </a:lnTo>
                  <a:lnTo>
                    <a:pt x="2166009" y="278700"/>
                  </a:lnTo>
                  <a:close/>
                  <a:moveTo>
                    <a:pt x="888845" y="340050"/>
                  </a:moveTo>
                  <a:cubicBezTo>
                    <a:pt x="874475" y="340954"/>
                    <a:pt x="863560" y="353334"/>
                    <a:pt x="864463" y="367704"/>
                  </a:cubicBezTo>
                  <a:lnTo>
                    <a:pt x="869496" y="447756"/>
                  </a:lnTo>
                  <a:lnTo>
                    <a:pt x="761758" y="454529"/>
                  </a:lnTo>
                  <a:cubicBezTo>
                    <a:pt x="744994" y="455583"/>
                    <a:pt x="732258" y="470028"/>
                    <a:pt x="733312" y="486792"/>
                  </a:cubicBezTo>
                  <a:lnTo>
                    <a:pt x="740945" y="608204"/>
                  </a:lnTo>
                  <a:cubicBezTo>
                    <a:pt x="741999" y="624968"/>
                    <a:pt x="756444" y="637704"/>
                    <a:pt x="773208" y="636650"/>
                  </a:cubicBezTo>
                  <a:lnTo>
                    <a:pt x="880946" y="629876"/>
                  </a:lnTo>
                  <a:lnTo>
                    <a:pt x="898939" y="916062"/>
                  </a:lnTo>
                  <a:cubicBezTo>
                    <a:pt x="899842" y="930432"/>
                    <a:pt x="912223" y="941347"/>
                    <a:pt x="926592" y="940444"/>
                  </a:cubicBezTo>
                  <a:lnTo>
                    <a:pt x="1030659" y="933901"/>
                  </a:lnTo>
                  <a:cubicBezTo>
                    <a:pt x="1045028" y="932998"/>
                    <a:pt x="1055944" y="920617"/>
                    <a:pt x="1055041" y="906248"/>
                  </a:cubicBezTo>
                  <a:lnTo>
                    <a:pt x="1037048" y="620062"/>
                  </a:lnTo>
                  <a:lnTo>
                    <a:pt x="1162797" y="612156"/>
                  </a:lnTo>
                  <a:cubicBezTo>
                    <a:pt x="1179561" y="611102"/>
                    <a:pt x="1192296" y="596657"/>
                    <a:pt x="1191242" y="579893"/>
                  </a:cubicBezTo>
                  <a:lnTo>
                    <a:pt x="1183609" y="458481"/>
                  </a:lnTo>
                  <a:cubicBezTo>
                    <a:pt x="1182555" y="441717"/>
                    <a:pt x="1168111" y="428982"/>
                    <a:pt x="1151347" y="430035"/>
                  </a:cubicBezTo>
                  <a:lnTo>
                    <a:pt x="1025598" y="437941"/>
                  </a:lnTo>
                  <a:lnTo>
                    <a:pt x="1020565" y="357889"/>
                  </a:lnTo>
                  <a:cubicBezTo>
                    <a:pt x="1019662" y="343520"/>
                    <a:pt x="1007281" y="332604"/>
                    <a:pt x="992912" y="333508"/>
                  </a:cubicBezTo>
                  <a:close/>
                  <a:moveTo>
                    <a:pt x="593663" y="129841"/>
                  </a:moveTo>
                  <a:lnTo>
                    <a:pt x="2650403" y="533"/>
                  </a:lnTo>
                  <a:cubicBezTo>
                    <a:pt x="2723750" y="-4079"/>
                    <a:pt x="2792022" y="21476"/>
                    <a:pt x="2843111" y="66521"/>
                  </a:cubicBezTo>
                  <a:lnTo>
                    <a:pt x="2851867" y="77897"/>
                  </a:lnTo>
                  <a:lnTo>
                    <a:pt x="3752395" y="665650"/>
                  </a:lnTo>
                  <a:lnTo>
                    <a:pt x="4428797" y="665650"/>
                  </a:lnTo>
                  <a:cubicBezTo>
                    <a:pt x="4489804" y="665650"/>
                    <a:pt x="4539265" y="715108"/>
                    <a:pt x="4539262" y="776118"/>
                  </a:cubicBezTo>
                  <a:lnTo>
                    <a:pt x="4539262" y="1214963"/>
                  </a:lnTo>
                  <a:lnTo>
                    <a:pt x="4598407" y="1220823"/>
                  </a:lnTo>
                  <a:cubicBezTo>
                    <a:pt x="4621987" y="1219340"/>
                    <a:pt x="4642308" y="1237253"/>
                    <a:pt x="4643787" y="1260834"/>
                  </a:cubicBezTo>
                  <a:lnTo>
                    <a:pt x="4654525" y="1431609"/>
                  </a:lnTo>
                  <a:cubicBezTo>
                    <a:pt x="4656006" y="1455189"/>
                    <a:pt x="4638094" y="1475506"/>
                    <a:pt x="4614512" y="1476989"/>
                  </a:cubicBezTo>
                  <a:lnTo>
                    <a:pt x="4170070" y="1504931"/>
                  </a:lnTo>
                  <a:lnTo>
                    <a:pt x="4148924" y="1592021"/>
                  </a:lnTo>
                  <a:cubicBezTo>
                    <a:pt x="4079087" y="1791120"/>
                    <a:pt x="3895605" y="1939276"/>
                    <a:pt x="3671782" y="1953347"/>
                  </a:cubicBezTo>
                  <a:cubicBezTo>
                    <a:pt x="3447960" y="1967419"/>
                    <a:pt x="3247366" y="1843411"/>
                    <a:pt x="3153143" y="1654627"/>
                  </a:cubicBezTo>
                  <a:lnTo>
                    <a:pt x="3121256" y="1570871"/>
                  </a:lnTo>
                  <a:lnTo>
                    <a:pt x="2812056" y="1590310"/>
                  </a:lnTo>
                  <a:cubicBezTo>
                    <a:pt x="2800266" y="1591051"/>
                    <a:pt x="2768437" y="1595092"/>
                    <a:pt x="2739370" y="1596000"/>
                  </a:cubicBezTo>
                  <a:lnTo>
                    <a:pt x="2729116" y="1595525"/>
                  </a:lnTo>
                  <a:lnTo>
                    <a:pt x="1550037" y="1669654"/>
                  </a:lnTo>
                  <a:lnTo>
                    <a:pt x="1528891" y="1756744"/>
                  </a:lnTo>
                  <a:cubicBezTo>
                    <a:pt x="1459054" y="1955843"/>
                    <a:pt x="1275572" y="2103999"/>
                    <a:pt x="1051749" y="2118071"/>
                  </a:cubicBezTo>
                  <a:cubicBezTo>
                    <a:pt x="827927" y="2132142"/>
                    <a:pt x="627333" y="2008134"/>
                    <a:pt x="533110" y="1819349"/>
                  </a:cubicBezTo>
                  <a:lnTo>
                    <a:pt x="501223" y="1735594"/>
                  </a:lnTo>
                  <a:lnTo>
                    <a:pt x="97560" y="1760972"/>
                  </a:lnTo>
                  <a:cubicBezTo>
                    <a:pt x="56628" y="1763546"/>
                    <a:pt x="21360" y="1732449"/>
                    <a:pt x="18786" y="1691517"/>
                  </a:cubicBezTo>
                  <a:lnTo>
                    <a:pt x="148" y="1395065"/>
                  </a:lnTo>
                  <a:cubicBezTo>
                    <a:pt x="-2425" y="1354133"/>
                    <a:pt x="28671" y="1318864"/>
                    <a:pt x="69603" y="1316291"/>
                  </a:cubicBezTo>
                  <a:lnTo>
                    <a:pt x="139087" y="1311923"/>
                  </a:lnTo>
                  <a:lnTo>
                    <a:pt x="149971" y="1234154"/>
                  </a:lnTo>
                  <a:cubicBezTo>
                    <a:pt x="205681" y="837708"/>
                    <a:pt x="218285" y="775876"/>
                    <a:pt x="291068" y="415528"/>
                  </a:cubicBezTo>
                  <a:cubicBezTo>
                    <a:pt x="357476" y="138326"/>
                    <a:pt x="446970" y="139064"/>
                    <a:pt x="593663" y="129841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2668106" y="-229774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4042242" y="3003886"/>
            <a:ext cx="792000" cy="792000"/>
            <a:chOff x="2511956" y="-4061125"/>
            <a:chExt cx="792000" cy="792000"/>
          </a:xfrm>
        </p:grpSpPr>
        <p:sp>
          <p:nvSpPr>
            <p:cNvPr id="136" name="Freeform 135"/>
            <p:cNvSpPr/>
            <p:nvPr/>
          </p:nvSpPr>
          <p:spPr>
            <a:xfrm rot="17954429">
              <a:off x="2566338" y="-4014144"/>
              <a:ext cx="683237" cy="698039"/>
            </a:xfrm>
            <a:custGeom>
              <a:avLst/>
              <a:gdLst>
                <a:gd name="connsiteX0" fmla="*/ 1117677 w 3542052"/>
                <a:gd name="connsiteY0" fmla="*/ 2085176 h 3618787"/>
                <a:gd name="connsiteX1" fmla="*/ 1067602 w 3542052"/>
                <a:gd name="connsiteY1" fmla="*/ 2113786 h 3618787"/>
                <a:gd name="connsiteX2" fmla="*/ 895200 w 3542052"/>
                <a:gd name="connsiteY2" fmla="*/ 2213023 h 3618787"/>
                <a:gd name="connsiteX3" fmla="*/ 897046 w 3542052"/>
                <a:gd name="connsiteY3" fmla="*/ 2167618 h 3618787"/>
                <a:gd name="connsiteX4" fmla="*/ 962880 w 3542052"/>
                <a:gd name="connsiteY4" fmla="*/ 2074724 h 3618787"/>
                <a:gd name="connsiteX5" fmla="*/ 1070020 w 3542052"/>
                <a:gd name="connsiteY5" fmla="*/ 2070961 h 3618787"/>
                <a:gd name="connsiteX6" fmla="*/ 1787475 w 3542052"/>
                <a:gd name="connsiteY6" fmla="*/ 1904760 h 3618787"/>
                <a:gd name="connsiteX7" fmla="*/ 1786815 w 3542052"/>
                <a:gd name="connsiteY7" fmla="*/ 1906799 h 3618787"/>
                <a:gd name="connsiteX8" fmla="*/ 1731207 w 3542052"/>
                <a:gd name="connsiteY8" fmla="*/ 1999374 h 3618787"/>
                <a:gd name="connsiteX9" fmla="*/ 1548048 w 3542052"/>
                <a:gd name="connsiteY9" fmla="*/ 2047327 h 3618787"/>
                <a:gd name="connsiteX10" fmla="*/ 1525001 w 3542052"/>
                <a:gd name="connsiteY10" fmla="*/ 2041498 h 3618787"/>
                <a:gd name="connsiteX11" fmla="*/ 1599161 w 3542052"/>
                <a:gd name="connsiteY11" fmla="*/ 2002849 h 3618787"/>
                <a:gd name="connsiteX12" fmla="*/ 1782165 w 3542052"/>
                <a:gd name="connsiteY12" fmla="*/ 1907523 h 3618787"/>
                <a:gd name="connsiteX13" fmla="*/ 2364208 w 3542052"/>
                <a:gd name="connsiteY13" fmla="*/ 1369218 h 3618787"/>
                <a:gd name="connsiteX14" fmla="*/ 2276690 w 3542052"/>
                <a:gd name="connsiteY14" fmla="*/ 1420459 h 3618787"/>
                <a:gd name="connsiteX15" fmla="*/ 2106735 w 3542052"/>
                <a:gd name="connsiteY15" fmla="*/ 1518292 h 3618787"/>
                <a:gd name="connsiteX16" fmla="*/ 2128462 w 3542052"/>
                <a:gd name="connsiteY16" fmla="*/ 1477628 h 3618787"/>
                <a:gd name="connsiteX17" fmla="*/ 2239907 w 3542052"/>
                <a:gd name="connsiteY17" fmla="*/ 1387124 h 3618787"/>
                <a:gd name="connsiteX18" fmla="*/ 2344016 w 3542052"/>
                <a:gd name="connsiteY18" fmla="*/ 1365926 h 3618787"/>
                <a:gd name="connsiteX19" fmla="*/ 2931873 w 3542052"/>
                <a:gd name="connsiteY19" fmla="*/ 1177581 h 3618787"/>
                <a:gd name="connsiteX20" fmla="*/ 2797370 w 3542052"/>
                <a:gd name="connsiteY20" fmla="*/ 1112747 h 3618787"/>
                <a:gd name="connsiteX21" fmla="*/ 2617457 w 3542052"/>
                <a:gd name="connsiteY21" fmla="*/ 1220139 h 3618787"/>
                <a:gd name="connsiteX22" fmla="*/ 2530610 w 3542052"/>
                <a:gd name="connsiteY22" fmla="*/ 1147473 h 3618787"/>
                <a:gd name="connsiteX23" fmla="*/ 2149355 w 3542052"/>
                <a:gd name="connsiteY23" fmla="*/ 1137626 h 3618787"/>
                <a:gd name="connsiteX24" fmla="*/ 1873674 w 3542052"/>
                <a:gd name="connsiteY24" fmla="*/ 1544384 h 3618787"/>
                <a:gd name="connsiteX25" fmla="*/ 1849907 w 3542052"/>
                <a:gd name="connsiteY25" fmla="*/ 1666131 h 3618787"/>
                <a:gd name="connsiteX26" fmla="*/ 1690278 w 3542052"/>
                <a:gd name="connsiteY26" fmla="*/ 1758019 h 3618787"/>
                <a:gd name="connsiteX27" fmla="*/ 1322966 w 3542052"/>
                <a:gd name="connsiteY27" fmla="*/ 1967883 h 3618787"/>
                <a:gd name="connsiteX28" fmla="*/ 1306177 w 3542052"/>
                <a:gd name="connsiteY28" fmla="*/ 1961000 h 3618787"/>
                <a:gd name="connsiteX29" fmla="*/ 848877 w 3542052"/>
                <a:gd name="connsiteY29" fmla="*/ 1939325 h 3618787"/>
                <a:gd name="connsiteX30" fmla="*/ 776454 w 3542052"/>
                <a:gd name="connsiteY30" fmla="*/ 2264587 h 3618787"/>
                <a:gd name="connsiteX31" fmla="*/ 781024 w 3542052"/>
                <a:gd name="connsiteY31" fmla="*/ 2278744 h 3618787"/>
                <a:gd name="connsiteX32" fmla="*/ 438130 w 3542052"/>
                <a:gd name="connsiteY32" fmla="*/ 2476118 h 3618787"/>
                <a:gd name="connsiteX33" fmla="*/ 488302 w 3542052"/>
                <a:gd name="connsiteY33" fmla="*/ 2582069 h 3618787"/>
                <a:gd name="connsiteX34" fmla="*/ 822651 w 3542052"/>
                <a:gd name="connsiteY34" fmla="*/ 2407685 h 3618787"/>
                <a:gd name="connsiteX35" fmla="*/ 828856 w 3542052"/>
                <a:gd name="connsiteY35" fmla="*/ 2426906 h 3618787"/>
                <a:gd name="connsiteX36" fmla="*/ 893994 w 3542052"/>
                <a:gd name="connsiteY36" fmla="*/ 2585400 h 3618787"/>
                <a:gd name="connsiteX37" fmla="*/ 950610 w 3542052"/>
                <a:gd name="connsiteY37" fmla="*/ 2563821 h 3618787"/>
                <a:gd name="connsiteX38" fmla="*/ 919954 w 3542052"/>
                <a:gd name="connsiteY38" fmla="*/ 2390750 h 3618787"/>
                <a:gd name="connsiteX39" fmla="*/ 913565 w 3542052"/>
                <a:gd name="connsiteY39" fmla="*/ 2360272 h 3618787"/>
                <a:gd name="connsiteX40" fmla="*/ 1128633 w 3542052"/>
                <a:gd name="connsiteY40" fmla="*/ 2248119 h 3618787"/>
                <a:gd name="connsiteX41" fmla="*/ 1304744 w 3542052"/>
                <a:gd name="connsiteY41" fmla="*/ 2156303 h 3618787"/>
                <a:gd name="connsiteX42" fmla="*/ 1374479 w 3542052"/>
                <a:gd name="connsiteY42" fmla="*/ 2183603 h 3618787"/>
                <a:gd name="connsiteX43" fmla="*/ 1861327 w 3542052"/>
                <a:gd name="connsiteY43" fmla="*/ 2183055 h 3618787"/>
                <a:gd name="connsiteX44" fmla="*/ 2014339 w 3542052"/>
                <a:gd name="connsiteY44" fmla="*/ 1880759 h 3618787"/>
                <a:gd name="connsiteX45" fmla="*/ 2035794 w 3542052"/>
                <a:gd name="connsiteY45" fmla="*/ 1775562 h 3618787"/>
                <a:gd name="connsiteX46" fmla="*/ 2066499 w 3542052"/>
                <a:gd name="connsiteY46" fmla="*/ 1759597 h 3618787"/>
                <a:gd name="connsiteX47" fmla="*/ 2357310 w 3542052"/>
                <a:gd name="connsiteY47" fmla="*/ 1608847 h 3618787"/>
                <a:gd name="connsiteX48" fmla="*/ 2510242 w 3542052"/>
                <a:gd name="connsiteY48" fmla="*/ 1529970 h 3618787"/>
                <a:gd name="connsiteX49" fmla="*/ 2516028 w 3542052"/>
                <a:gd name="connsiteY49" fmla="*/ 1559609 h 3618787"/>
                <a:gd name="connsiteX50" fmla="*/ 2454146 w 3542052"/>
                <a:gd name="connsiteY50" fmla="*/ 1872397 h 3618787"/>
                <a:gd name="connsiteX51" fmla="*/ 2678500 w 3542052"/>
                <a:gd name="connsiteY51" fmla="*/ 1896616 h 3618787"/>
                <a:gd name="connsiteX52" fmla="*/ 2743705 w 3542052"/>
                <a:gd name="connsiteY52" fmla="*/ 1519883 h 3618787"/>
                <a:gd name="connsiteX53" fmla="*/ 2722529 w 3542052"/>
                <a:gd name="connsiteY53" fmla="*/ 1420717 h 3618787"/>
                <a:gd name="connsiteX54" fmla="*/ 2784657 w 3542052"/>
                <a:gd name="connsiteY54" fmla="*/ 1388743 h 3618787"/>
                <a:gd name="connsiteX55" fmla="*/ 2902633 w 3542052"/>
                <a:gd name="connsiteY55" fmla="*/ 1327989 h 3618787"/>
                <a:gd name="connsiteX56" fmla="*/ 2931873 w 3542052"/>
                <a:gd name="connsiteY56" fmla="*/ 1177581 h 3618787"/>
                <a:gd name="connsiteX57" fmla="*/ 3519850 w 3542052"/>
                <a:gd name="connsiteY57" fmla="*/ 1221944 h 3618787"/>
                <a:gd name="connsiteX58" fmla="*/ 3453015 w 3542052"/>
                <a:gd name="connsiteY58" fmla="*/ 1458772 h 3618787"/>
                <a:gd name="connsiteX59" fmla="*/ 2785227 w 3542052"/>
                <a:gd name="connsiteY59" fmla="*/ 1832606 h 3618787"/>
                <a:gd name="connsiteX60" fmla="*/ 3429369 w 3542052"/>
                <a:gd name="connsiteY60" fmla="*/ 2245854 h 3618787"/>
                <a:gd name="connsiteX61" fmla="*/ 3481866 w 3542052"/>
                <a:gd name="connsiteY61" fmla="*/ 2486266 h 3618787"/>
                <a:gd name="connsiteX62" fmla="*/ 3106045 w 3542052"/>
                <a:gd name="connsiteY62" fmla="*/ 3072070 h 3618787"/>
                <a:gd name="connsiteX63" fmla="*/ 2865632 w 3542052"/>
                <a:gd name="connsiteY63" fmla="*/ 3124567 h 3618787"/>
                <a:gd name="connsiteX64" fmla="*/ 2297090 w 3542052"/>
                <a:gd name="connsiteY64" fmla="*/ 2759820 h 3618787"/>
                <a:gd name="connsiteX65" fmla="*/ 2297090 w 3542052"/>
                <a:gd name="connsiteY65" fmla="*/ 3444784 h 3618787"/>
                <a:gd name="connsiteX66" fmla="*/ 2123087 w 3542052"/>
                <a:gd name="connsiteY66" fmla="*/ 3618787 h 3618787"/>
                <a:gd name="connsiteX67" fmla="*/ 1427093 w 3542052"/>
                <a:gd name="connsiteY67" fmla="*/ 3618787 h 3618787"/>
                <a:gd name="connsiteX68" fmla="*/ 1253090 w 3542052"/>
                <a:gd name="connsiteY68" fmla="*/ 3444784 h 3618787"/>
                <a:gd name="connsiteX69" fmla="*/ 1253090 w 3542052"/>
                <a:gd name="connsiteY69" fmla="*/ 2690309 h 3618787"/>
                <a:gd name="connsiteX70" fmla="*/ 599006 w 3542052"/>
                <a:gd name="connsiteY70" fmla="*/ 3056471 h 3618787"/>
                <a:gd name="connsiteX71" fmla="*/ 362179 w 3542052"/>
                <a:gd name="connsiteY71" fmla="*/ 2989636 h 3618787"/>
                <a:gd name="connsiteX72" fmla="*/ 22202 w 3542052"/>
                <a:gd name="connsiteY72" fmla="*/ 2382328 h 3618787"/>
                <a:gd name="connsiteX73" fmla="*/ 89037 w 3542052"/>
                <a:gd name="connsiteY73" fmla="*/ 2145500 h 3618787"/>
                <a:gd name="connsiteX74" fmla="*/ 756825 w 3542052"/>
                <a:gd name="connsiteY74" fmla="*/ 1771666 h 3618787"/>
                <a:gd name="connsiteX75" fmla="*/ 112683 w 3542052"/>
                <a:gd name="connsiteY75" fmla="*/ 1358418 h 3618787"/>
                <a:gd name="connsiteX76" fmla="*/ 60186 w 3542052"/>
                <a:gd name="connsiteY76" fmla="*/ 1118006 h 3618787"/>
                <a:gd name="connsiteX77" fmla="*/ 436007 w 3542052"/>
                <a:gd name="connsiteY77" fmla="*/ 532202 h 3618787"/>
                <a:gd name="connsiteX78" fmla="*/ 676420 w 3542052"/>
                <a:gd name="connsiteY78" fmla="*/ 479705 h 3618787"/>
                <a:gd name="connsiteX79" fmla="*/ 1253090 w 3542052"/>
                <a:gd name="connsiteY79" fmla="*/ 849666 h 3618787"/>
                <a:gd name="connsiteX80" fmla="*/ 1253090 w 3542052"/>
                <a:gd name="connsiteY80" fmla="*/ 174003 h 3618787"/>
                <a:gd name="connsiteX81" fmla="*/ 1427093 w 3542052"/>
                <a:gd name="connsiteY81" fmla="*/ 0 h 3618787"/>
                <a:gd name="connsiteX82" fmla="*/ 2123087 w 3542052"/>
                <a:gd name="connsiteY82" fmla="*/ 0 h 3618787"/>
                <a:gd name="connsiteX83" fmla="*/ 2297090 w 3542052"/>
                <a:gd name="connsiteY83" fmla="*/ 174003 h 3618787"/>
                <a:gd name="connsiteX84" fmla="*/ 2297090 w 3542052"/>
                <a:gd name="connsiteY84" fmla="*/ 909413 h 3618787"/>
                <a:gd name="connsiteX85" fmla="*/ 2943046 w 3542052"/>
                <a:gd name="connsiteY85" fmla="*/ 547801 h 3618787"/>
                <a:gd name="connsiteX86" fmla="*/ 3179873 w 3542052"/>
                <a:gd name="connsiteY86" fmla="*/ 614636 h 361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542052" h="3618787">
                  <a:moveTo>
                    <a:pt x="1117677" y="2085176"/>
                  </a:moveTo>
                  <a:lnTo>
                    <a:pt x="1067602" y="2113786"/>
                  </a:lnTo>
                  <a:lnTo>
                    <a:pt x="895200" y="2213023"/>
                  </a:lnTo>
                  <a:lnTo>
                    <a:pt x="897046" y="2167618"/>
                  </a:lnTo>
                  <a:cubicBezTo>
                    <a:pt x="904337" y="2125021"/>
                    <a:pt x="923721" y="2091267"/>
                    <a:pt x="962880" y="2074724"/>
                  </a:cubicBezTo>
                  <a:cubicBezTo>
                    <a:pt x="984427" y="2057484"/>
                    <a:pt x="1021912" y="2058880"/>
                    <a:pt x="1070020" y="2070961"/>
                  </a:cubicBezTo>
                  <a:close/>
                  <a:moveTo>
                    <a:pt x="1787475" y="1904760"/>
                  </a:moveTo>
                  <a:lnTo>
                    <a:pt x="1786815" y="1906799"/>
                  </a:lnTo>
                  <a:cubicBezTo>
                    <a:pt x="1772047" y="1941233"/>
                    <a:pt x="1754026" y="1972499"/>
                    <a:pt x="1731207" y="1999374"/>
                  </a:cubicBezTo>
                  <a:cubicBezTo>
                    <a:pt x="1685566" y="2053122"/>
                    <a:pt x="1621700" y="2061416"/>
                    <a:pt x="1548048" y="2047327"/>
                  </a:cubicBezTo>
                  <a:lnTo>
                    <a:pt x="1525001" y="2041498"/>
                  </a:lnTo>
                  <a:lnTo>
                    <a:pt x="1599161" y="2002849"/>
                  </a:lnTo>
                  <a:cubicBezTo>
                    <a:pt x="1665462" y="1968304"/>
                    <a:pt x="1726209" y="1936660"/>
                    <a:pt x="1782165" y="1907523"/>
                  </a:cubicBezTo>
                  <a:close/>
                  <a:moveTo>
                    <a:pt x="2364208" y="1369218"/>
                  </a:moveTo>
                  <a:lnTo>
                    <a:pt x="2276690" y="1420459"/>
                  </a:lnTo>
                  <a:lnTo>
                    <a:pt x="2106735" y="1518292"/>
                  </a:lnTo>
                  <a:lnTo>
                    <a:pt x="2128462" y="1477628"/>
                  </a:lnTo>
                  <a:cubicBezTo>
                    <a:pt x="2155691" y="1434906"/>
                    <a:pt x="2191270" y="1402883"/>
                    <a:pt x="2239907" y="1387124"/>
                  </a:cubicBezTo>
                  <a:cubicBezTo>
                    <a:pt x="2265806" y="1375101"/>
                    <a:pt x="2304113" y="1365315"/>
                    <a:pt x="2344016" y="1365926"/>
                  </a:cubicBezTo>
                  <a:close/>
                  <a:moveTo>
                    <a:pt x="2931873" y="1177581"/>
                  </a:moveTo>
                  <a:cubicBezTo>
                    <a:pt x="2904647" y="1125296"/>
                    <a:pt x="2850129" y="1087273"/>
                    <a:pt x="2797370" y="1112747"/>
                  </a:cubicBezTo>
                  <a:lnTo>
                    <a:pt x="2617457" y="1220139"/>
                  </a:lnTo>
                  <a:lnTo>
                    <a:pt x="2530610" y="1147473"/>
                  </a:lnTo>
                  <a:cubicBezTo>
                    <a:pt x="2439646" y="1100599"/>
                    <a:pt x="2315381" y="1089449"/>
                    <a:pt x="2149355" y="1137626"/>
                  </a:cubicBezTo>
                  <a:cubicBezTo>
                    <a:pt x="1969265" y="1212970"/>
                    <a:pt x="1910368" y="1374658"/>
                    <a:pt x="1873674" y="1544384"/>
                  </a:cubicBezTo>
                  <a:lnTo>
                    <a:pt x="1849907" y="1666131"/>
                  </a:lnTo>
                  <a:lnTo>
                    <a:pt x="1690278" y="1758019"/>
                  </a:lnTo>
                  <a:lnTo>
                    <a:pt x="1322966" y="1967883"/>
                  </a:lnTo>
                  <a:lnTo>
                    <a:pt x="1306177" y="1961000"/>
                  </a:lnTo>
                  <a:cubicBezTo>
                    <a:pt x="1136613" y="1889455"/>
                    <a:pt x="961670" y="1820694"/>
                    <a:pt x="848877" y="1939325"/>
                  </a:cubicBezTo>
                  <a:cubicBezTo>
                    <a:pt x="762181" y="2046077"/>
                    <a:pt x="753488" y="2155703"/>
                    <a:pt x="776454" y="2264587"/>
                  </a:cubicBezTo>
                  <a:lnTo>
                    <a:pt x="781024" y="2278744"/>
                  </a:lnTo>
                  <a:lnTo>
                    <a:pt x="438130" y="2476118"/>
                  </a:lnTo>
                  <a:cubicBezTo>
                    <a:pt x="384133" y="2517517"/>
                    <a:pt x="390398" y="2592196"/>
                    <a:pt x="488302" y="2582069"/>
                  </a:cubicBezTo>
                  <a:lnTo>
                    <a:pt x="822651" y="2407685"/>
                  </a:lnTo>
                  <a:lnTo>
                    <a:pt x="828856" y="2426906"/>
                  </a:lnTo>
                  <a:cubicBezTo>
                    <a:pt x="850377" y="2480525"/>
                    <a:pt x="874020" y="2533508"/>
                    <a:pt x="893994" y="2585400"/>
                  </a:cubicBezTo>
                  <a:cubicBezTo>
                    <a:pt x="927292" y="2617114"/>
                    <a:pt x="938802" y="2607727"/>
                    <a:pt x="950610" y="2563821"/>
                  </a:cubicBezTo>
                  <a:cubicBezTo>
                    <a:pt x="956380" y="2533301"/>
                    <a:pt x="937520" y="2466197"/>
                    <a:pt x="919954" y="2390750"/>
                  </a:cubicBezTo>
                  <a:lnTo>
                    <a:pt x="913565" y="2360272"/>
                  </a:lnTo>
                  <a:lnTo>
                    <a:pt x="1128633" y="2248119"/>
                  </a:lnTo>
                  <a:lnTo>
                    <a:pt x="1304744" y="2156303"/>
                  </a:lnTo>
                  <a:lnTo>
                    <a:pt x="1374479" y="2183603"/>
                  </a:lnTo>
                  <a:cubicBezTo>
                    <a:pt x="1557818" y="2251910"/>
                    <a:pt x="1753700" y="2301978"/>
                    <a:pt x="1861327" y="2183055"/>
                  </a:cubicBezTo>
                  <a:cubicBezTo>
                    <a:pt x="1948045" y="2121086"/>
                    <a:pt x="1986485" y="2005486"/>
                    <a:pt x="2014339" y="1880759"/>
                  </a:cubicBezTo>
                  <a:lnTo>
                    <a:pt x="2035794" y="1775562"/>
                  </a:lnTo>
                  <a:lnTo>
                    <a:pt x="2066499" y="1759597"/>
                  </a:lnTo>
                  <a:cubicBezTo>
                    <a:pt x="2186005" y="1697498"/>
                    <a:pt x="2276091" y="1650815"/>
                    <a:pt x="2357310" y="1608847"/>
                  </a:cubicBezTo>
                  <a:lnTo>
                    <a:pt x="2510242" y="1529970"/>
                  </a:lnTo>
                  <a:lnTo>
                    <a:pt x="2516028" y="1559609"/>
                  </a:lnTo>
                  <a:cubicBezTo>
                    <a:pt x="2519043" y="1634439"/>
                    <a:pt x="2502021" y="1735982"/>
                    <a:pt x="2454146" y="1872397"/>
                  </a:cubicBezTo>
                  <a:cubicBezTo>
                    <a:pt x="2434161" y="1948204"/>
                    <a:pt x="2613462" y="2023137"/>
                    <a:pt x="2678500" y="1896616"/>
                  </a:cubicBezTo>
                  <a:cubicBezTo>
                    <a:pt x="2727588" y="1823424"/>
                    <a:pt x="2758838" y="1671293"/>
                    <a:pt x="2743705" y="1519883"/>
                  </a:cubicBezTo>
                  <a:lnTo>
                    <a:pt x="2722529" y="1420717"/>
                  </a:lnTo>
                  <a:lnTo>
                    <a:pt x="2784657" y="1388743"/>
                  </a:lnTo>
                  <a:cubicBezTo>
                    <a:pt x="2820908" y="1370082"/>
                    <a:pt x="2859979" y="1349963"/>
                    <a:pt x="2902633" y="1327989"/>
                  </a:cubicBezTo>
                  <a:cubicBezTo>
                    <a:pt x="2959037" y="1296414"/>
                    <a:pt x="2959101" y="1229866"/>
                    <a:pt x="2931873" y="1177581"/>
                  </a:cubicBezTo>
                  <a:close/>
                  <a:moveTo>
                    <a:pt x="3519850" y="1221944"/>
                  </a:moveTo>
                  <a:cubicBezTo>
                    <a:pt x="3566792" y="1305798"/>
                    <a:pt x="3536869" y="1411830"/>
                    <a:pt x="3453015" y="1458772"/>
                  </a:cubicBezTo>
                  <a:lnTo>
                    <a:pt x="2785227" y="1832606"/>
                  </a:lnTo>
                  <a:lnTo>
                    <a:pt x="3429369" y="2245854"/>
                  </a:lnTo>
                  <a:cubicBezTo>
                    <a:pt x="3510253" y="2297745"/>
                    <a:pt x="3533757" y="2405381"/>
                    <a:pt x="3481866" y="2486266"/>
                  </a:cubicBezTo>
                  <a:lnTo>
                    <a:pt x="3106045" y="3072070"/>
                  </a:lnTo>
                  <a:cubicBezTo>
                    <a:pt x="3054153" y="3152954"/>
                    <a:pt x="2946517" y="3176458"/>
                    <a:pt x="2865632" y="3124567"/>
                  </a:cubicBezTo>
                  <a:lnTo>
                    <a:pt x="2297090" y="2759820"/>
                  </a:lnTo>
                  <a:lnTo>
                    <a:pt x="2297090" y="3444784"/>
                  </a:lnTo>
                  <a:cubicBezTo>
                    <a:pt x="2297090" y="3540883"/>
                    <a:pt x="2219186" y="3618787"/>
                    <a:pt x="2123087" y="3618787"/>
                  </a:cubicBezTo>
                  <a:lnTo>
                    <a:pt x="1427093" y="3618787"/>
                  </a:lnTo>
                  <a:cubicBezTo>
                    <a:pt x="1330994" y="3618787"/>
                    <a:pt x="1253090" y="3540883"/>
                    <a:pt x="1253090" y="3444784"/>
                  </a:cubicBezTo>
                  <a:lnTo>
                    <a:pt x="1253090" y="2690309"/>
                  </a:lnTo>
                  <a:lnTo>
                    <a:pt x="599006" y="3056471"/>
                  </a:lnTo>
                  <a:cubicBezTo>
                    <a:pt x="515152" y="3103413"/>
                    <a:pt x="409121" y="3073490"/>
                    <a:pt x="362179" y="2989636"/>
                  </a:cubicBezTo>
                  <a:lnTo>
                    <a:pt x="22202" y="2382328"/>
                  </a:lnTo>
                  <a:cubicBezTo>
                    <a:pt x="-24740" y="2298474"/>
                    <a:pt x="5183" y="2192442"/>
                    <a:pt x="89037" y="2145500"/>
                  </a:cubicBezTo>
                  <a:lnTo>
                    <a:pt x="756825" y="1771666"/>
                  </a:lnTo>
                  <a:lnTo>
                    <a:pt x="112683" y="1358418"/>
                  </a:lnTo>
                  <a:cubicBezTo>
                    <a:pt x="31798" y="1306527"/>
                    <a:pt x="8295" y="1198890"/>
                    <a:pt x="60186" y="1118006"/>
                  </a:cubicBezTo>
                  <a:lnTo>
                    <a:pt x="436007" y="532202"/>
                  </a:lnTo>
                  <a:cubicBezTo>
                    <a:pt x="487899" y="451318"/>
                    <a:pt x="595535" y="427814"/>
                    <a:pt x="676420" y="479705"/>
                  </a:cubicBezTo>
                  <a:lnTo>
                    <a:pt x="1253090" y="849666"/>
                  </a:lnTo>
                  <a:lnTo>
                    <a:pt x="1253090" y="174003"/>
                  </a:lnTo>
                  <a:cubicBezTo>
                    <a:pt x="1253090" y="77904"/>
                    <a:pt x="1330994" y="0"/>
                    <a:pt x="1427093" y="0"/>
                  </a:cubicBezTo>
                  <a:lnTo>
                    <a:pt x="2123087" y="0"/>
                  </a:lnTo>
                  <a:cubicBezTo>
                    <a:pt x="2219186" y="0"/>
                    <a:pt x="2297090" y="77904"/>
                    <a:pt x="2297090" y="174003"/>
                  </a:cubicBezTo>
                  <a:lnTo>
                    <a:pt x="2297090" y="909413"/>
                  </a:lnTo>
                  <a:lnTo>
                    <a:pt x="2943046" y="547801"/>
                  </a:lnTo>
                  <a:cubicBezTo>
                    <a:pt x="3026899" y="500859"/>
                    <a:pt x="3132931" y="530782"/>
                    <a:pt x="3179873" y="61463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2511956" y="-406112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897525" y="3466662"/>
            <a:ext cx="792000" cy="792000"/>
            <a:chOff x="7819994" y="-2634779"/>
            <a:chExt cx="792000" cy="792000"/>
          </a:xfrm>
        </p:grpSpPr>
        <p:sp>
          <p:nvSpPr>
            <p:cNvPr id="145" name="Freeform 144"/>
            <p:cNvSpPr/>
            <p:nvPr/>
          </p:nvSpPr>
          <p:spPr>
            <a:xfrm rot="2708566">
              <a:off x="7987231" y="-2605855"/>
              <a:ext cx="457527" cy="734153"/>
            </a:xfrm>
            <a:custGeom>
              <a:avLst/>
              <a:gdLst>
                <a:gd name="connsiteX0" fmla="*/ 1313642 w 1504452"/>
                <a:gd name="connsiteY0" fmla="*/ 9579 h 2414062"/>
                <a:gd name="connsiteX1" fmla="*/ 1337405 w 1504452"/>
                <a:gd name="connsiteY1" fmla="*/ 1 h 2414062"/>
                <a:gd name="connsiteX2" fmla="*/ 1471297 w 1504452"/>
                <a:gd name="connsiteY2" fmla="*/ 1281 h 2414062"/>
                <a:gd name="connsiteX3" fmla="*/ 1504451 w 1504452"/>
                <a:gd name="connsiteY3" fmla="*/ 35074 h 2414062"/>
                <a:gd name="connsiteX4" fmla="*/ 1494495 w 1504452"/>
                <a:gd name="connsiteY4" fmla="*/ 1076617 h 2414062"/>
                <a:gd name="connsiteX5" fmla="*/ 1460702 w 1504452"/>
                <a:gd name="connsiteY5" fmla="*/ 1109770 h 2414062"/>
                <a:gd name="connsiteX6" fmla="*/ 1326810 w 1504452"/>
                <a:gd name="connsiteY6" fmla="*/ 1108491 h 2414062"/>
                <a:gd name="connsiteX7" fmla="*/ 1293656 w 1504452"/>
                <a:gd name="connsiteY7" fmla="*/ 1074697 h 2414062"/>
                <a:gd name="connsiteX8" fmla="*/ 1303612 w 1504452"/>
                <a:gd name="connsiteY8" fmla="*/ 33154 h 2414062"/>
                <a:gd name="connsiteX9" fmla="*/ 1313642 w 1504452"/>
                <a:gd name="connsiteY9" fmla="*/ 9579 h 2414062"/>
                <a:gd name="connsiteX10" fmla="*/ 315074 w 1504452"/>
                <a:gd name="connsiteY10" fmla="*/ 130619 h 2414062"/>
                <a:gd name="connsiteX11" fmla="*/ 1204984 w 1504452"/>
                <a:gd name="connsiteY11" fmla="*/ 130619 h 2414062"/>
                <a:gd name="connsiteX12" fmla="*/ 1204984 w 1504452"/>
                <a:gd name="connsiteY12" fmla="*/ 1024408 h 2414062"/>
                <a:gd name="connsiteX13" fmla="*/ 901011 w 1504452"/>
                <a:gd name="connsiteY13" fmla="*/ 1024408 h 2414062"/>
                <a:gd name="connsiteX14" fmla="*/ 900164 w 1504452"/>
                <a:gd name="connsiteY14" fmla="*/ 1041269 h 2414062"/>
                <a:gd name="connsiteX15" fmla="*/ 881654 w 1504452"/>
                <a:gd name="connsiteY15" fmla="*/ 2342586 h 2414062"/>
                <a:gd name="connsiteX16" fmla="*/ 809647 w 1504452"/>
                <a:gd name="connsiteY16" fmla="*/ 2414062 h 2414062"/>
                <a:gd name="connsiteX17" fmla="*/ 662232 w 1504452"/>
                <a:gd name="connsiteY17" fmla="*/ 2412653 h 2414062"/>
                <a:gd name="connsiteX18" fmla="*/ 586128 w 1504452"/>
                <a:gd name="connsiteY18" fmla="*/ 2349962 h 2414062"/>
                <a:gd name="connsiteX19" fmla="*/ 644874 w 1504452"/>
                <a:gd name="connsiteY19" fmla="*/ 1069139 h 2414062"/>
                <a:gd name="connsiteX20" fmla="*/ 644793 w 1504452"/>
                <a:gd name="connsiteY20" fmla="*/ 1024408 h 2414062"/>
                <a:gd name="connsiteX21" fmla="*/ 315074 w 1504452"/>
                <a:gd name="connsiteY21" fmla="*/ 1024408 h 2414062"/>
                <a:gd name="connsiteX22" fmla="*/ 19987 w 1504452"/>
                <a:gd name="connsiteY22" fmla="*/ 39306 h 2414062"/>
                <a:gd name="connsiteX23" fmla="*/ 43750 w 1504452"/>
                <a:gd name="connsiteY23" fmla="*/ 29728 h 2414062"/>
                <a:gd name="connsiteX24" fmla="*/ 177642 w 1504452"/>
                <a:gd name="connsiteY24" fmla="*/ 31008 h 2414062"/>
                <a:gd name="connsiteX25" fmla="*/ 210795 w 1504452"/>
                <a:gd name="connsiteY25" fmla="*/ 64801 h 2414062"/>
                <a:gd name="connsiteX26" fmla="*/ 200840 w 1504452"/>
                <a:gd name="connsiteY26" fmla="*/ 1106344 h 2414062"/>
                <a:gd name="connsiteX27" fmla="*/ 167046 w 1504452"/>
                <a:gd name="connsiteY27" fmla="*/ 1139498 h 2414062"/>
                <a:gd name="connsiteX28" fmla="*/ 33155 w 1504452"/>
                <a:gd name="connsiteY28" fmla="*/ 1138218 h 2414062"/>
                <a:gd name="connsiteX29" fmla="*/ 1 w 1504452"/>
                <a:gd name="connsiteY29" fmla="*/ 1104424 h 2414062"/>
                <a:gd name="connsiteX30" fmla="*/ 9956 w 1504452"/>
                <a:gd name="connsiteY30" fmla="*/ 62882 h 2414062"/>
                <a:gd name="connsiteX31" fmla="*/ 19987 w 1504452"/>
                <a:gd name="connsiteY31" fmla="*/ 39306 h 24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04452" h="2414062">
                  <a:moveTo>
                    <a:pt x="1313642" y="9579"/>
                  </a:moveTo>
                  <a:cubicBezTo>
                    <a:pt x="1319758" y="3579"/>
                    <a:pt x="1328162" y="-88"/>
                    <a:pt x="1337405" y="1"/>
                  </a:cubicBezTo>
                  <a:lnTo>
                    <a:pt x="1471297" y="1281"/>
                  </a:lnTo>
                  <a:cubicBezTo>
                    <a:pt x="1489784" y="1457"/>
                    <a:pt x="1504627" y="16587"/>
                    <a:pt x="1504451" y="35074"/>
                  </a:cubicBezTo>
                  <a:lnTo>
                    <a:pt x="1494495" y="1076617"/>
                  </a:lnTo>
                  <a:cubicBezTo>
                    <a:pt x="1494319" y="1095104"/>
                    <a:pt x="1479189" y="1109947"/>
                    <a:pt x="1460702" y="1109770"/>
                  </a:cubicBezTo>
                  <a:lnTo>
                    <a:pt x="1326810" y="1108491"/>
                  </a:lnTo>
                  <a:cubicBezTo>
                    <a:pt x="1308323" y="1108314"/>
                    <a:pt x="1293480" y="1093184"/>
                    <a:pt x="1293656" y="1074697"/>
                  </a:cubicBezTo>
                  <a:lnTo>
                    <a:pt x="1303612" y="33154"/>
                  </a:lnTo>
                  <a:cubicBezTo>
                    <a:pt x="1303700" y="23911"/>
                    <a:pt x="1307527" y="15578"/>
                    <a:pt x="1313642" y="9579"/>
                  </a:cubicBezTo>
                  <a:close/>
                  <a:moveTo>
                    <a:pt x="315074" y="130619"/>
                  </a:moveTo>
                  <a:lnTo>
                    <a:pt x="1204984" y="130619"/>
                  </a:lnTo>
                  <a:lnTo>
                    <a:pt x="1204984" y="1024408"/>
                  </a:lnTo>
                  <a:lnTo>
                    <a:pt x="901011" y="1024408"/>
                  </a:lnTo>
                  <a:lnTo>
                    <a:pt x="900164" y="1041269"/>
                  </a:lnTo>
                  <a:cubicBezTo>
                    <a:pt x="888602" y="1313708"/>
                    <a:pt x="885427" y="1947908"/>
                    <a:pt x="881654" y="2342586"/>
                  </a:cubicBezTo>
                  <a:cubicBezTo>
                    <a:pt x="881460" y="2362940"/>
                    <a:pt x="830001" y="2414257"/>
                    <a:pt x="809647" y="2414062"/>
                  </a:cubicBezTo>
                  <a:lnTo>
                    <a:pt x="662232" y="2412653"/>
                  </a:lnTo>
                  <a:cubicBezTo>
                    <a:pt x="641878" y="2412458"/>
                    <a:pt x="585933" y="2370316"/>
                    <a:pt x="586128" y="2349962"/>
                  </a:cubicBezTo>
                  <a:cubicBezTo>
                    <a:pt x="600626" y="1962186"/>
                    <a:pt x="642239" y="1365528"/>
                    <a:pt x="644874" y="1069139"/>
                  </a:cubicBezTo>
                  <a:lnTo>
                    <a:pt x="644793" y="1024408"/>
                  </a:lnTo>
                  <a:lnTo>
                    <a:pt x="315074" y="1024408"/>
                  </a:lnTo>
                  <a:close/>
                  <a:moveTo>
                    <a:pt x="19987" y="39306"/>
                  </a:moveTo>
                  <a:cubicBezTo>
                    <a:pt x="26102" y="33307"/>
                    <a:pt x="34506" y="29640"/>
                    <a:pt x="43750" y="29728"/>
                  </a:cubicBezTo>
                  <a:lnTo>
                    <a:pt x="177642" y="31008"/>
                  </a:lnTo>
                  <a:cubicBezTo>
                    <a:pt x="196129" y="31185"/>
                    <a:pt x="210972" y="46314"/>
                    <a:pt x="210795" y="64801"/>
                  </a:cubicBezTo>
                  <a:lnTo>
                    <a:pt x="200840" y="1106344"/>
                  </a:lnTo>
                  <a:cubicBezTo>
                    <a:pt x="200663" y="1124831"/>
                    <a:pt x="185534" y="1139674"/>
                    <a:pt x="167046" y="1139498"/>
                  </a:cubicBezTo>
                  <a:lnTo>
                    <a:pt x="33155" y="1138218"/>
                  </a:lnTo>
                  <a:cubicBezTo>
                    <a:pt x="14667" y="1138041"/>
                    <a:pt x="-176" y="1122912"/>
                    <a:pt x="1" y="1104424"/>
                  </a:cubicBezTo>
                  <a:lnTo>
                    <a:pt x="9956" y="62882"/>
                  </a:lnTo>
                  <a:cubicBezTo>
                    <a:pt x="10044" y="53638"/>
                    <a:pt x="13871" y="45306"/>
                    <a:pt x="19987" y="3930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7819994" y="-263477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5165804" y="3466662"/>
            <a:ext cx="792000" cy="792000"/>
            <a:chOff x="5860219" y="-2382233"/>
            <a:chExt cx="792000" cy="792000"/>
          </a:xfrm>
        </p:grpSpPr>
        <p:sp>
          <p:nvSpPr>
            <p:cNvPr id="143" name="Freeform 142"/>
            <p:cNvSpPr/>
            <p:nvPr/>
          </p:nvSpPr>
          <p:spPr>
            <a:xfrm>
              <a:off x="5918287" y="-2303018"/>
              <a:ext cx="675864" cy="633570"/>
            </a:xfrm>
            <a:custGeom>
              <a:avLst/>
              <a:gdLst>
                <a:gd name="connsiteX0" fmla="*/ 2044996 w 2434856"/>
                <a:gd name="connsiteY0" fmla="*/ 379257 h 2282485"/>
                <a:gd name="connsiteX1" fmla="*/ 2117645 w 2434856"/>
                <a:gd name="connsiteY1" fmla="*/ 379257 h 2282485"/>
                <a:gd name="connsiteX2" fmla="*/ 2434856 w 2434856"/>
                <a:gd name="connsiteY2" fmla="*/ 696468 h 2282485"/>
                <a:gd name="connsiteX3" fmla="*/ 2434856 w 2434856"/>
                <a:gd name="connsiteY3" fmla="*/ 1965274 h 2282485"/>
                <a:gd name="connsiteX4" fmla="*/ 2117645 w 2434856"/>
                <a:gd name="connsiteY4" fmla="*/ 2282485 h 2282485"/>
                <a:gd name="connsiteX5" fmla="*/ 2044996 w 2434856"/>
                <a:gd name="connsiteY5" fmla="*/ 2282485 h 2282485"/>
                <a:gd name="connsiteX6" fmla="*/ 317211 w 2434856"/>
                <a:gd name="connsiteY6" fmla="*/ 379257 h 2282485"/>
                <a:gd name="connsiteX7" fmla="*/ 404037 w 2434856"/>
                <a:gd name="connsiteY7" fmla="*/ 379257 h 2282485"/>
                <a:gd name="connsiteX8" fmla="*/ 404037 w 2434856"/>
                <a:gd name="connsiteY8" fmla="*/ 2282485 h 2282485"/>
                <a:gd name="connsiteX9" fmla="*/ 317211 w 2434856"/>
                <a:gd name="connsiteY9" fmla="*/ 2282485 h 2282485"/>
                <a:gd name="connsiteX10" fmla="*/ 0 w 2434856"/>
                <a:gd name="connsiteY10" fmla="*/ 1965274 h 2282485"/>
                <a:gd name="connsiteX11" fmla="*/ 0 w 2434856"/>
                <a:gd name="connsiteY11" fmla="*/ 696468 h 2282485"/>
                <a:gd name="connsiteX12" fmla="*/ 317211 w 2434856"/>
                <a:gd name="connsiteY12" fmla="*/ 379257 h 2282485"/>
                <a:gd name="connsiteX13" fmla="*/ 1222631 w 2434856"/>
                <a:gd name="connsiteY13" fmla="*/ 122700 h 2282485"/>
                <a:gd name="connsiteX14" fmla="*/ 909968 w 2434856"/>
                <a:gd name="connsiteY14" fmla="*/ 210774 h 2282485"/>
                <a:gd name="connsiteX15" fmla="*/ 909968 w 2434856"/>
                <a:gd name="connsiteY15" fmla="*/ 379257 h 2282485"/>
                <a:gd name="connsiteX16" fmla="*/ 1524885 w 2434856"/>
                <a:gd name="connsiteY16" fmla="*/ 379257 h 2282485"/>
                <a:gd name="connsiteX17" fmla="*/ 1524885 w 2434856"/>
                <a:gd name="connsiteY17" fmla="*/ 210774 h 2282485"/>
                <a:gd name="connsiteX18" fmla="*/ 1222631 w 2434856"/>
                <a:gd name="connsiteY18" fmla="*/ 122700 h 2282485"/>
                <a:gd name="connsiteX19" fmla="*/ 1224717 w 2434856"/>
                <a:gd name="connsiteY19" fmla="*/ 720 h 2282485"/>
                <a:gd name="connsiteX20" fmla="*/ 1648046 w 2434856"/>
                <a:gd name="connsiteY20" fmla="*/ 124074 h 2282485"/>
                <a:gd name="connsiteX21" fmla="*/ 1648046 w 2434856"/>
                <a:gd name="connsiteY21" fmla="*/ 379257 h 2282485"/>
                <a:gd name="connsiteX22" fmla="*/ 1938670 w 2434856"/>
                <a:gd name="connsiteY22" fmla="*/ 379257 h 2282485"/>
                <a:gd name="connsiteX23" fmla="*/ 1938670 w 2434856"/>
                <a:gd name="connsiteY23" fmla="*/ 2282485 h 2282485"/>
                <a:gd name="connsiteX24" fmla="*/ 510363 w 2434856"/>
                <a:gd name="connsiteY24" fmla="*/ 2282485 h 2282485"/>
                <a:gd name="connsiteX25" fmla="*/ 510363 w 2434856"/>
                <a:gd name="connsiteY25" fmla="*/ 379257 h 2282485"/>
                <a:gd name="connsiteX26" fmla="*/ 786809 w 2434856"/>
                <a:gd name="connsiteY26" fmla="*/ 379257 h 2282485"/>
                <a:gd name="connsiteX27" fmla="*/ 786809 w 2434856"/>
                <a:gd name="connsiteY27" fmla="*/ 124074 h 2282485"/>
                <a:gd name="connsiteX28" fmla="*/ 1224717 w 2434856"/>
                <a:gd name="connsiteY28" fmla="*/ 720 h 228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4856" h="2282485">
                  <a:moveTo>
                    <a:pt x="2044996" y="379257"/>
                  </a:moveTo>
                  <a:lnTo>
                    <a:pt x="2117645" y="379257"/>
                  </a:lnTo>
                  <a:cubicBezTo>
                    <a:pt x="2292836" y="379257"/>
                    <a:pt x="2434856" y="521277"/>
                    <a:pt x="2434856" y="696468"/>
                  </a:cubicBezTo>
                  <a:lnTo>
                    <a:pt x="2434856" y="1965274"/>
                  </a:lnTo>
                  <a:cubicBezTo>
                    <a:pt x="2434856" y="2140465"/>
                    <a:pt x="2292836" y="2282485"/>
                    <a:pt x="2117645" y="2282485"/>
                  </a:cubicBezTo>
                  <a:lnTo>
                    <a:pt x="2044996" y="2282485"/>
                  </a:lnTo>
                  <a:close/>
                  <a:moveTo>
                    <a:pt x="317211" y="379257"/>
                  </a:moveTo>
                  <a:lnTo>
                    <a:pt x="404037" y="379257"/>
                  </a:lnTo>
                  <a:lnTo>
                    <a:pt x="404037" y="2282485"/>
                  </a:lnTo>
                  <a:lnTo>
                    <a:pt x="317211" y="2282485"/>
                  </a:lnTo>
                  <a:cubicBezTo>
                    <a:pt x="142020" y="2282485"/>
                    <a:pt x="0" y="2140465"/>
                    <a:pt x="0" y="1965274"/>
                  </a:cubicBezTo>
                  <a:lnTo>
                    <a:pt x="0" y="696468"/>
                  </a:lnTo>
                  <a:cubicBezTo>
                    <a:pt x="0" y="521277"/>
                    <a:pt x="142020" y="379257"/>
                    <a:pt x="317211" y="379257"/>
                  </a:cubicBezTo>
                  <a:close/>
                  <a:moveTo>
                    <a:pt x="1222631" y="122700"/>
                  </a:moveTo>
                  <a:cubicBezTo>
                    <a:pt x="1134157" y="126436"/>
                    <a:pt x="1029535" y="150990"/>
                    <a:pt x="909968" y="210774"/>
                  </a:cubicBezTo>
                  <a:lnTo>
                    <a:pt x="909968" y="379257"/>
                  </a:lnTo>
                  <a:lnTo>
                    <a:pt x="1524885" y="379257"/>
                  </a:lnTo>
                  <a:lnTo>
                    <a:pt x="1524885" y="210774"/>
                  </a:lnTo>
                  <a:cubicBezTo>
                    <a:pt x="1472693" y="168071"/>
                    <a:pt x="1370088" y="116472"/>
                    <a:pt x="1222631" y="122700"/>
                  </a:cubicBezTo>
                  <a:close/>
                  <a:moveTo>
                    <a:pt x="1224717" y="720"/>
                  </a:moveTo>
                  <a:cubicBezTo>
                    <a:pt x="1431242" y="-8002"/>
                    <a:pt x="1574948" y="64266"/>
                    <a:pt x="1648046" y="124074"/>
                  </a:cubicBezTo>
                  <a:lnTo>
                    <a:pt x="1648046" y="379257"/>
                  </a:lnTo>
                  <a:lnTo>
                    <a:pt x="1938670" y="379257"/>
                  </a:lnTo>
                  <a:lnTo>
                    <a:pt x="1938670" y="2282485"/>
                  </a:lnTo>
                  <a:lnTo>
                    <a:pt x="510363" y="2282485"/>
                  </a:lnTo>
                  <a:lnTo>
                    <a:pt x="510363" y="379257"/>
                  </a:lnTo>
                  <a:lnTo>
                    <a:pt x="786809" y="379257"/>
                  </a:lnTo>
                  <a:lnTo>
                    <a:pt x="786809" y="124074"/>
                  </a:lnTo>
                  <a:cubicBezTo>
                    <a:pt x="954272" y="40343"/>
                    <a:pt x="1100802" y="5953"/>
                    <a:pt x="1224717" y="720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5860219" y="-238223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5100055" y="4283740"/>
            <a:ext cx="792000" cy="792000"/>
            <a:chOff x="6883657" y="-2009174"/>
            <a:chExt cx="792000" cy="792000"/>
          </a:xfrm>
        </p:grpSpPr>
        <p:sp>
          <p:nvSpPr>
            <p:cNvPr id="144" name="Freeform 143"/>
            <p:cNvSpPr/>
            <p:nvPr/>
          </p:nvSpPr>
          <p:spPr>
            <a:xfrm>
              <a:off x="6910228" y="-1863543"/>
              <a:ext cx="738859" cy="500739"/>
            </a:xfrm>
            <a:custGeom>
              <a:avLst/>
              <a:gdLst>
                <a:gd name="connsiteX0" fmla="*/ 2581072 w 2832617"/>
                <a:gd name="connsiteY0" fmla="*/ 443582 h 1928582"/>
                <a:gd name="connsiteX1" fmla="*/ 2754160 w 2832617"/>
                <a:gd name="connsiteY1" fmla="*/ 471568 h 1928582"/>
                <a:gd name="connsiteX2" fmla="*/ 2608462 w 2832617"/>
                <a:gd name="connsiteY2" fmla="*/ 803166 h 1928582"/>
                <a:gd name="connsiteX3" fmla="*/ 2553196 w 2832617"/>
                <a:gd name="connsiteY3" fmla="*/ 1702489 h 1928582"/>
                <a:gd name="connsiteX4" fmla="*/ 2437638 w 2832617"/>
                <a:gd name="connsiteY4" fmla="*/ 1818047 h 1928582"/>
                <a:gd name="connsiteX5" fmla="*/ 2404144 w 2832617"/>
                <a:gd name="connsiteY5" fmla="*/ 1818047 h 1928582"/>
                <a:gd name="connsiteX6" fmla="*/ 2404144 w 2832617"/>
                <a:gd name="connsiteY6" fmla="*/ 1928582 h 1928582"/>
                <a:gd name="connsiteX7" fmla="*/ 2198152 w 2832617"/>
                <a:gd name="connsiteY7" fmla="*/ 1928582 h 1928582"/>
                <a:gd name="connsiteX8" fmla="*/ 2198152 w 2832617"/>
                <a:gd name="connsiteY8" fmla="*/ 1818047 h 1928582"/>
                <a:gd name="connsiteX9" fmla="*/ 669129 w 2832617"/>
                <a:gd name="connsiteY9" fmla="*/ 1818047 h 1928582"/>
                <a:gd name="connsiteX10" fmla="*/ 669129 w 2832617"/>
                <a:gd name="connsiteY10" fmla="*/ 1928582 h 1928582"/>
                <a:gd name="connsiteX11" fmla="*/ 463137 w 2832617"/>
                <a:gd name="connsiteY11" fmla="*/ 1928582 h 1928582"/>
                <a:gd name="connsiteX12" fmla="*/ 463137 w 2832617"/>
                <a:gd name="connsiteY12" fmla="*/ 1818047 h 1928582"/>
                <a:gd name="connsiteX13" fmla="*/ 427971 w 2832617"/>
                <a:gd name="connsiteY13" fmla="*/ 1818047 h 1928582"/>
                <a:gd name="connsiteX14" fmla="*/ 302365 w 2832617"/>
                <a:gd name="connsiteY14" fmla="*/ 1707514 h 1928582"/>
                <a:gd name="connsiteX15" fmla="*/ 242075 w 2832617"/>
                <a:gd name="connsiteY15" fmla="*/ 808190 h 1928582"/>
                <a:gd name="connsiteX16" fmla="*/ 272222 w 2832617"/>
                <a:gd name="connsiteY16" fmla="*/ 446447 h 1928582"/>
                <a:gd name="connsiteX17" fmla="*/ 704299 w 2832617"/>
                <a:gd name="connsiteY17" fmla="*/ 1169929 h 1928582"/>
                <a:gd name="connsiteX18" fmla="*/ 2161310 w 2832617"/>
                <a:gd name="connsiteY18" fmla="*/ 1159881 h 1928582"/>
                <a:gd name="connsiteX19" fmla="*/ 2581072 w 2832617"/>
                <a:gd name="connsiteY19" fmla="*/ 443582 h 1928582"/>
                <a:gd name="connsiteX20" fmla="*/ 1351251 w 2832617"/>
                <a:gd name="connsiteY20" fmla="*/ 406 h 1928582"/>
                <a:gd name="connsiteX21" fmla="*/ 2447687 w 2832617"/>
                <a:gd name="connsiteY21" fmla="*/ 315821 h 1928582"/>
                <a:gd name="connsiteX22" fmla="*/ 2005559 w 2832617"/>
                <a:gd name="connsiteY22" fmla="*/ 973988 h 1928582"/>
                <a:gd name="connsiteX23" fmla="*/ 844975 w 2832617"/>
                <a:gd name="connsiteY23" fmla="*/ 968964 h 1928582"/>
                <a:gd name="connsiteX24" fmla="*/ 417920 w 2832617"/>
                <a:gd name="connsiteY24" fmla="*/ 330894 h 1928582"/>
                <a:gd name="connsiteX25" fmla="*/ 1351251 w 2832617"/>
                <a:gd name="connsiteY25" fmla="*/ 406 h 1928582"/>
                <a:gd name="connsiteX0" fmla="*/ 2581072 w 2816696"/>
                <a:gd name="connsiteY0" fmla="*/ 443582 h 1928582"/>
                <a:gd name="connsiteX1" fmla="*/ 2724557 w 2816696"/>
                <a:gd name="connsiteY1" fmla="*/ 464990 h 1928582"/>
                <a:gd name="connsiteX2" fmla="*/ 2608462 w 2816696"/>
                <a:gd name="connsiteY2" fmla="*/ 803166 h 1928582"/>
                <a:gd name="connsiteX3" fmla="*/ 2553196 w 2816696"/>
                <a:gd name="connsiteY3" fmla="*/ 1702489 h 1928582"/>
                <a:gd name="connsiteX4" fmla="*/ 2437638 w 2816696"/>
                <a:gd name="connsiteY4" fmla="*/ 1818047 h 1928582"/>
                <a:gd name="connsiteX5" fmla="*/ 2404144 w 2816696"/>
                <a:gd name="connsiteY5" fmla="*/ 1818047 h 1928582"/>
                <a:gd name="connsiteX6" fmla="*/ 2404144 w 2816696"/>
                <a:gd name="connsiteY6" fmla="*/ 1928582 h 1928582"/>
                <a:gd name="connsiteX7" fmla="*/ 2198152 w 2816696"/>
                <a:gd name="connsiteY7" fmla="*/ 1928582 h 1928582"/>
                <a:gd name="connsiteX8" fmla="*/ 2198152 w 2816696"/>
                <a:gd name="connsiteY8" fmla="*/ 1818047 h 1928582"/>
                <a:gd name="connsiteX9" fmla="*/ 669129 w 2816696"/>
                <a:gd name="connsiteY9" fmla="*/ 1818047 h 1928582"/>
                <a:gd name="connsiteX10" fmla="*/ 669129 w 2816696"/>
                <a:gd name="connsiteY10" fmla="*/ 1928582 h 1928582"/>
                <a:gd name="connsiteX11" fmla="*/ 463137 w 2816696"/>
                <a:gd name="connsiteY11" fmla="*/ 1928582 h 1928582"/>
                <a:gd name="connsiteX12" fmla="*/ 463137 w 2816696"/>
                <a:gd name="connsiteY12" fmla="*/ 1818047 h 1928582"/>
                <a:gd name="connsiteX13" fmla="*/ 427971 w 2816696"/>
                <a:gd name="connsiteY13" fmla="*/ 1818047 h 1928582"/>
                <a:gd name="connsiteX14" fmla="*/ 302365 w 2816696"/>
                <a:gd name="connsiteY14" fmla="*/ 1707514 h 1928582"/>
                <a:gd name="connsiteX15" fmla="*/ 242075 w 2816696"/>
                <a:gd name="connsiteY15" fmla="*/ 808190 h 1928582"/>
                <a:gd name="connsiteX16" fmla="*/ 272222 w 2816696"/>
                <a:gd name="connsiteY16" fmla="*/ 446447 h 1928582"/>
                <a:gd name="connsiteX17" fmla="*/ 704299 w 2816696"/>
                <a:gd name="connsiteY17" fmla="*/ 1169929 h 1928582"/>
                <a:gd name="connsiteX18" fmla="*/ 2161310 w 2816696"/>
                <a:gd name="connsiteY18" fmla="*/ 1159881 h 1928582"/>
                <a:gd name="connsiteX19" fmla="*/ 2581072 w 2816696"/>
                <a:gd name="connsiteY19" fmla="*/ 443582 h 1928582"/>
                <a:gd name="connsiteX20" fmla="*/ 1351251 w 2816696"/>
                <a:gd name="connsiteY20" fmla="*/ 406 h 1928582"/>
                <a:gd name="connsiteX21" fmla="*/ 2447687 w 2816696"/>
                <a:gd name="connsiteY21" fmla="*/ 315821 h 1928582"/>
                <a:gd name="connsiteX22" fmla="*/ 2005559 w 2816696"/>
                <a:gd name="connsiteY22" fmla="*/ 973988 h 1928582"/>
                <a:gd name="connsiteX23" fmla="*/ 844975 w 2816696"/>
                <a:gd name="connsiteY23" fmla="*/ 968964 h 1928582"/>
                <a:gd name="connsiteX24" fmla="*/ 417920 w 2816696"/>
                <a:gd name="connsiteY24" fmla="*/ 330894 h 1928582"/>
                <a:gd name="connsiteX25" fmla="*/ 1351251 w 2816696"/>
                <a:gd name="connsiteY25" fmla="*/ 406 h 1928582"/>
                <a:gd name="connsiteX0" fmla="*/ 2581072 w 2837223"/>
                <a:gd name="connsiteY0" fmla="*/ 443582 h 1928582"/>
                <a:gd name="connsiteX1" fmla="*/ 2724557 w 2837223"/>
                <a:gd name="connsiteY1" fmla="*/ 464990 h 1928582"/>
                <a:gd name="connsiteX2" fmla="*/ 2608462 w 2837223"/>
                <a:gd name="connsiteY2" fmla="*/ 803166 h 1928582"/>
                <a:gd name="connsiteX3" fmla="*/ 2553196 w 2837223"/>
                <a:gd name="connsiteY3" fmla="*/ 1702489 h 1928582"/>
                <a:gd name="connsiteX4" fmla="*/ 2437638 w 2837223"/>
                <a:gd name="connsiteY4" fmla="*/ 1818047 h 1928582"/>
                <a:gd name="connsiteX5" fmla="*/ 2404144 w 2837223"/>
                <a:gd name="connsiteY5" fmla="*/ 1818047 h 1928582"/>
                <a:gd name="connsiteX6" fmla="*/ 2404144 w 2837223"/>
                <a:gd name="connsiteY6" fmla="*/ 1928582 h 1928582"/>
                <a:gd name="connsiteX7" fmla="*/ 2198152 w 2837223"/>
                <a:gd name="connsiteY7" fmla="*/ 1928582 h 1928582"/>
                <a:gd name="connsiteX8" fmla="*/ 2198152 w 2837223"/>
                <a:gd name="connsiteY8" fmla="*/ 1818047 h 1928582"/>
                <a:gd name="connsiteX9" fmla="*/ 669129 w 2837223"/>
                <a:gd name="connsiteY9" fmla="*/ 1818047 h 1928582"/>
                <a:gd name="connsiteX10" fmla="*/ 669129 w 2837223"/>
                <a:gd name="connsiteY10" fmla="*/ 1928582 h 1928582"/>
                <a:gd name="connsiteX11" fmla="*/ 463137 w 2837223"/>
                <a:gd name="connsiteY11" fmla="*/ 1928582 h 1928582"/>
                <a:gd name="connsiteX12" fmla="*/ 463137 w 2837223"/>
                <a:gd name="connsiteY12" fmla="*/ 1818047 h 1928582"/>
                <a:gd name="connsiteX13" fmla="*/ 427971 w 2837223"/>
                <a:gd name="connsiteY13" fmla="*/ 1818047 h 1928582"/>
                <a:gd name="connsiteX14" fmla="*/ 302365 w 2837223"/>
                <a:gd name="connsiteY14" fmla="*/ 1707514 h 1928582"/>
                <a:gd name="connsiteX15" fmla="*/ 242075 w 2837223"/>
                <a:gd name="connsiteY15" fmla="*/ 808190 h 1928582"/>
                <a:gd name="connsiteX16" fmla="*/ 272222 w 2837223"/>
                <a:gd name="connsiteY16" fmla="*/ 446447 h 1928582"/>
                <a:gd name="connsiteX17" fmla="*/ 704299 w 2837223"/>
                <a:gd name="connsiteY17" fmla="*/ 1169929 h 1928582"/>
                <a:gd name="connsiteX18" fmla="*/ 2161310 w 2837223"/>
                <a:gd name="connsiteY18" fmla="*/ 1159881 h 1928582"/>
                <a:gd name="connsiteX19" fmla="*/ 2581072 w 2837223"/>
                <a:gd name="connsiteY19" fmla="*/ 443582 h 1928582"/>
                <a:gd name="connsiteX20" fmla="*/ 1351251 w 2837223"/>
                <a:gd name="connsiteY20" fmla="*/ 406 h 1928582"/>
                <a:gd name="connsiteX21" fmla="*/ 2447687 w 2837223"/>
                <a:gd name="connsiteY21" fmla="*/ 315821 h 1928582"/>
                <a:gd name="connsiteX22" fmla="*/ 2005559 w 2837223"/>
                <a:gd name="connsiteY22" fmla="*/ 973988 h 1928582"/>
                <a:gd name="connsiteX23" fmla="*/ 844975 w 2837223"/>
                <a:gd name="connsiteY23" fmla="*/ 968964 h 1928582"/>
                <a:gd name="connsiteX24" fmla="*/ 417920 w 2837223"/>
                <a:gd name="connsiteY24" fmla="*/ 330894 h 1928582"/>
                <a:gd name="connsiteX25" fmla="*/ 1351251 w 2837223"/>
                <a:gd name="connsiteY25" fmla="*/ 406 h 1928582"/>
                <a:gd name="connsiteX0" fmla="*/ 2581072 w 2839050"/>
                <a:gd name="connsiteY0" fmla="*/ 443582 h 1928582"/>
                <a:gd name="connsiteX1" fmla="*/ 2727847 w 2839050"/>
                <a:gd name="connsiteY1" fmla="*/ 451833 h 1928582"/>
                <a:gd name="connsiteX2" fmla="*/ 2608462 w 2839050"/>
                <a:gd name="connsiteY2" fmla="*/ 803166 h 1928582"/>
                <a:gd name="connsiteX3" fmla="*/ 2553196 w 2839050"/>
                <a:gd name="connsiteY3" fmla="*/ 1702489 h 1928582"/>
                <a:gd name="connsiteX4" fmla="*/ 2437638 w 2839050"/>
                <a:gd name="connsiteY4" fmla="*/ 1818047 h 1928582"/>
                <a:gd name="connsiteX5" fmla="*/ 2404144 w 2839050"/>
                <a:gd name="connsiteY5" fmla="*/ 1818047 h 1928582"/>
                <a:gd name="connsiteX6" fmla="*/ 2404144 w 2839050"/>
                <a:gd name="connsiteY6" fmla="*/ 1928582 h 1928582"/>
                <a:gd name="connsiteX7" fmla="*/ 2198152 w 2839050"/>
                <a:gd name="connsiteY7" fmla="*/ 1928582 h 1928582"/>
                <a:gd name="connsiteX8" fmla="*/ 2198152 w 2839050"/>
                <a:gd name="connsiteY8" fmla="*/ 1818047 h 1928582"/>
                <a:gd name="connsiteX9" fmla="*/ 669129 w 2839050"/>
                <a:gd name="connsiteY9" fmla="*/ 1818047 h 1928582"/>
                <a:gd name="connsiteX10" fmla="*/ 669129 w 2839050"/>
                <a:gd name="connsiteY10" fmla="*/ 1928582 h 1928582"/>
                <a:gd name="connsiteX11" fmla="*/ 463137 w 2839050"/>
                <a:gd name="connsiteY11" fmla="*/ 1928582 h 1928582"/>
                <a:gd name="connsiteX12" fmla="*/ 463137 w 2839050"/>
                <a:gd name="connsiteY12" fmla="*/ 1818047 h 1928582"/>
                <a:gd name="connsiteX13" fmla="*/ 427971 w 2839050"/>
                <a:gd name="connsiteY13" fmla="*/ 1818047 h 1928582"/>
                <a:gd name="connsiteX14" fmla="*/ 302365 w 2839050"/>
                <a:gd name="connsiteY14" fmla="*/ 1707514 h 1928582"/>
                <a:gd name="connsiteX15" fmla="*/ 242075 w 2839050"/>
                <a:gd name="connsiteY15" fmla="*/ 808190 h 1928582"/>
                <a:gd name="connsiteX16" fmla="*/ 272222 w 2839050"/>
                <a:gd name="connsiteY16" fmla="*/ 446447 h 1928582"/>
                <a:gd name="connsiteX17" fmla="*/ 704299 w 2839050"/>
                <a:gd name="connsiteY17" fmla="*/ 1169929 h 1928582"/>
                <a:gd name="connsiteX18" fmla="*/ 2161310 w 2839050"/>
                <a:gd name="connsiteY18" fmla="*/ 1159881 h 1928582"/>
                <a:gd name="connsiteX19" fmla="*/ 2581072 w 2839050"/>
                <a:gd name="connsiteY19" fmla="*/ 443582 h 1928582"/>
                <a:gd name="connsiteX20" fmla="*/ 1351251 w 2839050"/>
                <a:gd name="connsiteY20" fmla="*/ 406 h 1928582"/>
                <a:gd name="connsiteX21" fmla="*/ 2447687 w 2839050"/>
                <a:gd name="connsiteY21" fmla="*/ 315821 h 1928582"/>
                <a:gd name="connsiteX22" fmla="*/ 2005559 w 2839050"/>
                <a:gd name="connsiteY22" fmla="*/ 973988 h 1928582"/>
                <a:gd name="connsiteX23" fmla="*/ 844975 w 2839050"/>
                <a:gd name="connsiteY23" fmla="*/ 968964 h 1928582"/>
                <a:gd name="connsiteX24" fmla="*/ 417920 w 2839050"/>
                <a:gd name="connsiteY24" fmla="*/ 330894 h 1928582"/>
                <a:gd name="connsiteX25" fmla="*/ 1351251 w 2839050"/>
                <a:gd name="connsiteY25" fmla="*/ 406 h 1928582"/>
                <a:gd name="connsiteX0" fmla="*/ 2581072 w 2837730"/>
                <a:gd name="connsiteY0" fmla="*/ 443582 h 1928582"/>
                <a:gd name="connsiteX1" fmla="*/ 2727847 w 2837730"/>
                <a:gd name="connsiteY1" fmla="*/ 451833 h 1928582"/>
                <a:gd name="connsiteX2" fmla="*/ 2608462 w 2837730"/>
                <a:gd name="connsiteY2" fmla="*/ 803166 h 1928582"/>
                <a:gd name="connsiteX3" fmla="*/ 2553196 w 2837730"/>
                <a:gd name="connsiteY3" fmla="*/ 1702489 h 1928582"/>
                <a:gd name="connsiteX4" fmla="*/ 2437638 w 2837730"/>
                <a:gd name="connsiteY4" fmla="*/ 1818047 h 1928582"/>
                <a:gd name="connsiteX5" fmla="*/ 2404144 w 2837730"/>
                <a:gd name="connsiteY5" fmla="*/ 1818047 h 1928582"/>
                <a:gd name="connsiteX6" fmla="*/ 2404144 w 2837730"/>
                <a:gd name="connsiteY6" fmla="*/ 1928582 h 1928582"/>
                <a:gd name="connsiteX7" fmla="*/ 2198152 w 2837730"/>
                <a:gd name="connsiteY7" fmla="*/ 1928582 h 1928582"/>
                <a:gd name="connsiteX8" fmla="*/ 2198152 w 2837730"/>
                <a:gd name="connsiteY8" fmla="*/ 1818047 h 1928582"/>
                <a:gd name="connsiteX9" fmla="*/ 669129 w 2837730"/>
                <a:gd name="connsiteY9" fmla="*/ 1818047 h 1928582"/>
                <a:gd name="connsiteX10" fmla="*/ 669129 w 2837730"/>
                <a:gd name="connsiteY10" fmla="*/ 1928582 h 1928582"/>
                <a:gd name="connsiteX11" fmla="*/ 463137 w 2837730"/>
                <a:gd name="connsiteY11" fmla="*/ 1928582 h 1928582"/>
                <a:gd name="connsiteX12" fmla="*/ 463137 w 2837730"/>
                <a:gd name="connsiteY12" fmla="*/ 1818047 h 1928582"/>
                <a:gd name="connsiteX13" fmla="*/ 427971 w 2837730"/>
                <a:gd name="connsiteY13" fmla="*/ 1818047 h 1928582"/>
                <a:gd name="connsiteX14" fmla="*/ 302365 w 2837730"/>
                <a:gd name="connsiteY14" fmla="*/ 1707514 h 1928582"/>
                <a:gd name="connsiteX15" fmla="*/ 242075 w 2837730"/>
                <a:gd name="connsiteY15" fmla="*/ 808190 h 1928582"/>
                <a:gd name="connsiteX16" fmla="*/ 272222 w 2837730"/>
                <a:gd name="connsiteY16" fmla="*/ 446447 h 1928582"/>
                <a:gd name="connsiteX17" fmla="*/ 704299 w 2837730"/>
                <a:gd name="connsiteY17" fmla="*/ 1169929 h 1928582"/>
                <a:gd name="connsiteX18" fmla="*/ 2161310 w 2837730"/>
                <a:gd name="connsiteY18" fmla="*/ 1159881 h 1928582"/>
                <a:gd name="connsiteX19" fmla="*/ 2581072 w 2837730"/>
                <a:gd name="connsiteY19" fmla="*/ 443582 h 1928582"/>
                <a:gd name="connsiteX20" fmla="*/ 1351251 w 2837730"/>
                <a:gd name="connsiteY20" fmla="*/ 406 h 1928582"/>
                <a:gd name="connsiteX21" fmla="*/ 2447687 w 2837730"/>
                <a:gd name="connsiteY21" fmla="*/ 315821 h 1928582"/>
                <a:gd name="connsiteX22" fmla="*/ 2005559 w 2837730"/>
                <a:gd name="connsiteY22" fmla="*/ 973988 h 1928582"/>
                <a:gd name="connsiteX23" fmla="*/ 844975 w 2837730"/>
                <a:gd name="connsiteY23" fmla="*/ 968964 h 1928582"/>
                <a:gd name="connsiteX24" fmla="*/ 417920 w 2837730"/>
                <a:gd name="connsiteY24" fmla="*/ 330894 h 1928582"/>
                <a:gd name="connsiteX25" fmla="*/ 1351251 w 2837730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51833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51833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61700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45696" h="1928582">
                  <a:moveTo>
                    <a:pt x="2581072" y="443582"/>
                  </a:moveTo>
                  <a:cubicBezTo>
                    <a:pt x="2629997" y="446332"/>
                    <a:pt x="2682211" y="442504"/>
                    <a:pt x="2727847" y="461700"/>
                  </a:cubicBezTo>
                  <a:cubicBezTo>
                    <a:pt x="2885862" y="498424"/>
                    <a:pt x="2919961" y="819732"/>
                    <a:pt x="2608462" y="803166"/>
                  </a:cubicBezTo>
                  <a:cubicBezTo>
                    <a:pt x="2650330" y="1094567"/>
                    <a:pt x="2586690" y="1406064"/>
                    <a:pt x="2553196" y="1702489"/>
                  </a:cubicBezTo>
                  <a:cubicBezTo>
                    <a:pt x="2533099" y="1776359"/>
                    <a:pt x="2501459" y="1818047"/>
                    <a:pt x="2437638" y="1818047"/>
                  </a:cubicBezTo>
                  <a:lnTo>
                    <a:pt x="2404144" y="1818047"/>
                  </a:lnTo>
                  <a:lnTo>
                    <a:pt x="2404144" y="1928582"/>
                  </a:lnTo>
                  <a:lnTo>
                    <a:pt x="2198152" y="1928582"/>
                  </a:lnTo>
                  <a:lnTo>
                    <a:pt x="2198152" y="1818047"/>
                  </a:lnTo>
                  <a:lnTo>
                    <a:pt x="669129" y="1818047"/>
                  </a:lnTo>
                  <a:lnTo>
                    <a:pt x="669129" y="1928582"/>
                  </a:lnTo>
                  <a:lnTo>
                    <a:pt x="463137" y="1928582"/>
                  </a:lnTo>
                  <a:lnTo>
                    <a:pt x="463137" y="1818047"/>
                  </a:lnTo>
                  <a:lnTo>
                    <a:pt x="427971" y="1818047"/>
                  </a:lnTo>
                  <a:cubicBezTo>
                    <a:pt x="364150" y="1818047"/>
                    <a:pt x="312414" y="1776359"/>
                    <a:pt x="302365" y="1707514"/>
                  </a:cubicBezTo>
                  <a:cubicBezTo>
                    <a:pt x="273895" y="1605357"/>
                    <a:pt x="230352" y="1161556"/>
                    <a:pt x="242075" y="808190"/>
                  </a:cubicBezTo>
                  <a:cubicBezTo>
                    <a:pt x="-144787" y="824755"/>
                    <a:pt x="-17688" y="421326"/>
                    <a:pt x="272222" y="446447"/>
                  </a:cubicBezTo>
                  <a:cubicBezTo>
                    <a:pt x="752866" y="474918"/>
                    <a:pt x="710999" y="1126387"/>
                    <a:pt x="704299" y="1169929"/>
                  </a:cubicBezTo>
                  <a:cubicBezTo>
                    <a:pt x="1201692" y="1102939"/>
                    <a:pt x="1684013" y="1106290"/>
                    <a:pt x="2161310" y="1159881"/>
                  </a:cubicBezTo>
                  <a:cubicBezTo>
                    <a:pt x="2145924" y="757634"/>
                    <a:pt x="2219649" y="429111"/>
                    <a:pt x="2581072" y="443582"/>
                  </a:cubicBezTo>
                  <a:close/>
                  <a:moveTo>
                    <a:pt x="1351251" y="406"/>
                  </a:moveTo>
                  <a:cubicBezTo>
                    <a:pt x="1665401" y="-6609"/>
                    <a:pt x="2032984" y="76231"/>
                    <a:pt x="2447687" y="315821"/>
                  </a:cubicBezTo>
                  <a:cubicBezTo>
                    <a:pt x="2044078" y="520137"/>
                    <a:pt x="2042403" y="754598"/>
                    <a:pt x="2005559" y="973988"/>
                  </a:cubicBezTo>
                  <a:lnTo>
                    <a:pt x="844975" y="968964"/>
                  </a:lnTo>
                  <a:cubicBezTo>
                    <a:pt x="846649" y="824938"/>
                    <a:pt x="848325" y="615597"/>
                    <a:pt x="417920" y="330894"/>
                  </a:cubicBezTo>
                  <a:cubicBezTo>
                    <a:pt x="631762" y="166980"/>
                    <a:pt x="947343" y="9425"/>
                    <a:pt x="1351251" y="406"/>
                  </a:cubicBezTo>
                  <a:close/>
                </a:path>
              </a:pathLst>
            </a:custGeom>
            <a:solidFill>
              <a:srgbClr val="007A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6883657" y="-200917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91" name="Straight Connector 90"/>
          <p:cNvCxnSpPr/>
          <p:nvPr/>
        </p:nvCxnSpPr>
        <p:spPr>
          <a:xfrm>
            <a:off x="3880514" y="369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6195668" y="-11576"/>
            <a:ext cx="0" cy="5149623"/>
          </a:xfrm>
          <a:prstGeom prst="line">
            <a:avLst/>
          </a:prstGeom>
          <a:ln w="9525" cap="flat" cmpd="sng" algn="ctr">
            <a:solidFill>
              <a:srgbClr val="0096D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21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Ankush Chikhale	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dirty="0" err="1"/>
              <a:t>OpenDiabetesVault</a:t>
            </a:r>
            <a:r>
              <a:rPr lang="en-US" dirty="0"/>
              <a:t>: </a:t>
            </a:r>
            <a:r>
              <a:rPr lang="en-US" dirty="0" smtClean="0"/>
              <a:t>Data Gathering </a:t>
            </a:r>
            <a:r>
              <a:rPr lang="en-US" dirty="0"/>
              <a:t>and Data </a:t>
            </a:r>
            <a:r>
              <a:rPr lang="en-US" dirty="0" smtClean="0"/>
              <a:t>Slicing Algorithms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 dirty="0" smtClean="0"/>
              <a:t>21.09.2017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0294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Cont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Motivation </a:t>
            </a:r>
            <a:r>
              <a:rPr lang="de-DE" dirty="0" err="1" smtClean="0"/>
              <a:t>for</a:t>
            </a:r>
            <a:r>
              <a:rPr lang="de-DE" dirty="0" smtClean="0"/>
              <a:t> Thesi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4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52604" y="183664"/>
            <a:ext cx="5000425" cy="896991"/>
          </a:xfrm>
        </p:spPr>
        <p:txBody>
          <a:bodyPr/>
          <a:lstStyle/>
          <a:p>
            <a:r>
              <a:rPr lang="en-US" dirty="0" smtClean="0"/>
              <a:t>Why Data </a:t>
            </a:r>
            <a:r>
              <a:rPr lang="en-US" dirty="0"/>
              <a:t>Gathering and Data Slicing </a:t>
            </a:r>
            <a:r>
              <a:rPr lang="en-US" dirty="0" smtClean="0"/>
              <a:t>Algorithms?</a:t>
            </a:r>
            <a:endParaRPr lang="nl-NL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278882" y="1144599"/>
            <a:ext cx="6699864" cy="353259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Researchers at TK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deci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ndertake</a:t>
            </a:r>
            <a:r>
              <a:rPr lang="de-DE" dirty="0" smtClean="0"/>
              <a:t> a </a:t>
            </a:r>
            <a:r>
              <a:rPr lang="de-DE" dirty="0" err="1" smtClean="0"/>
              <a:t>projec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nalyzing</a:t>
            </a:r>
            <a:r>
              <a:rPr lang="de-DE" dirty="0" smtClean="0"/>
              <a:t> </a:t>
            </a:r>
            <a:r>
              <a:rPr lang="de-DE" dirty="0" err="1" smtClean="0"/>
              <a:t>medical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Analysing</a:t>
            </a:r>
            <a:r>
              <a:rPr lang="de-DE" dirty="0" smtClean="0"/>
              <a:t> </a:t>
            </a:r>
            <a:r>
              <a:rPr lang="de-DE" dirty="0" err="1" smtClean="0"/>
              <a:t>medical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, </a:t>
            </a:r>
            <a:r>
              <a:rPr lang="de-DE" dirty="0" err="1" smtClean="0"/>
              <a:t>researchers</a:t>
            </a:r>
            <a:r>
              <a:rPr lang="de-DE" dirty="0" smtClean="0"/>
              <a:t> at TK </a:t>
            </a:r>
            <a:r>
              <a:rPr lang="de-DE" dirty="0" err="1" smtClean="0"/>
              <a:t>wish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en-US" dirty="0" smtClean="0"/>
              <a:t>generate</a:t>
            </a:r>
            <a:r>
              <a:rPr lang="de-DE" dirty="0" smtClean="0"/>
              <a:t> </a:t>
            </a:r>
            <a:r>
              <a:rPr lang="de-DE" dirty="0" err="1" smtClean="0"/>
              <a:t>patterns</a:t>
            </a:r>
            <a:r>
              <a:rPr lang="de-DE" dirty="0" smtClean="0"/>
              <a:t>/ Tren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Basic </a:t>
            </a:r>
            <a:r>
              <a:rPr lang="de-DE" dirty="0" err="1" smtClean="0"/>
              <a:t>step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Data </a:t>
            </a:r>
            <a:r>
              <a:rPr lang="de-DE" dirty="0" err="1" smtClean="0"/>
              <a:t>mining</a:t>
            </a:r>
            <a:r>
              <a:rPr lang="de-DE" dirty="0" smtClean="0"/>
              <a:t>/</a:t>
            </a:r>
            <a:r>
              <a:rPr lang="de-DE" dirty="0" err="1" smtClean="0"/>
              <a:t>analysi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big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big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? </a:t>
            </a:r>
            <a:r>
              <a:rPr lang="de-DE" dirty="0" err="1" smtClean="0"/>
              <a:t>It</a:t>
            </a:r>
            <a:r>
              <a:rPr lang="de-DE" dirty="0" smtClean="0"/>
              <a:t> will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and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r>
              <a:rPr lang="de-DE" dirty="0" smtClean="0"/>
              <a:t> sense</a:t>
            </a:r>
            <a:endParaRPr lang="de-DE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In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case</a:t>
            </a:r>
            <a:r>
              <a:rPr lang="de-DE" dirty="0" smtClean="0"/>
              <a:t>,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ed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few</a:t>
            </a:r>
            <a:r>
              <a:rPr lang="de-DE" dirty="0" smtClean="0"/>
              <a:t> </a:t>
            </a:r>
            <a:r>
              <a:rPr lang="de-DE" dirty="0" err="1" smtClean="0"/>
              <a:t>webistes</a:t>
            </a: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Crawler </a:t>
            </a:r>
            <a:r>
              <a:rPr lang="de-DE" dirty="0" err="1" smtClean="0"/>
              <a:t>Carelink</a:t>
            </a:r>
            <a:r>
              <a:rPr lang="de-DE" dirty="0" smtClean="0"/>
              <a:t> Websi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Google </a:t>
            </a:r>
            <a:r>
              <a:rPr lang="de-DE" dirty="0" err="1" smtClean="0"/>
              <a:t>Maps</a:t>
            </a:r>
            <a:r>
              <a:rPr lang="de-DE" dirty="0" smtClean="0"/>
              <a:t> Timelin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Sony Fitness App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ata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ul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moun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henc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need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utomate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ost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ar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Thesis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utoma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as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generat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large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moun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medical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fro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arelin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ebsi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Later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on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generate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will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leande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efor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pply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y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machin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lgorithm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on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e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de-DE" sz="11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314450" lvl="2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16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52604" y="183664"/>
            <a:ext cx="5000425" cy="885371"/>
          </a:xfrm>
        </p:spPr>
        <p:txBody>
          <a:bodyPr/>
          <a:lstStyle/>
          <a:p>
            <a:r>
              <a:rPr lang="en-US" dirty="0" smtClean="0"/>
              <a:t>Where do we get our data?</a:t>
            </a:r>
            <a:endParaRPr lang="nl-NL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278882" y="1144599"/>
            <a:ext cx="6699864" cy="353259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Especially</a:t>
            </a:r>
            <a:r>
              <a:rPr lang="de-DE" dirty="0" smtClean="0"/>
              <a:t> in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case</a:t>
            </a:r>
            <a:r>
              <a:rPr lang="de-DE" dirty="0" smtClean="0"/>
              <a:t>, Mr. Jens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chosen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three</a:t>
            </a:r>
            <a:r>
              <a:rPr lang="de-DE" dirty="0" smtClean="0"/>
              <a:t> </a:t>
            </a:r>
            <a:r>
              <a:rPr lang="de-DE" dirty="0" err="1" smtClean="0"/>
              <a:t>sour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gatheri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Crawler </a:t>
            </a:r>
            <a:r>
              <a:rPr lang="de-DE" dirty="0" err="1" smtClean="0"/>
              <a:t>Carelink</a:t>
            </a:r>
            <a:r>
              <a:rPr lang="de-DE" dirty="0" smtClean="0"/>
              <a:t> Websi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Google </a:t>
            </a:r>
            <a:r>
              <a:rPr lang="de-DE" dirty="0" err="1" smtClean="0"/>
              <a:t>Maps</a:t>
            </a:r>
            <a:r>
              <a:rPr lang="de-DE" dirty="0" smtClean="0"/>
              <a:t> Timelin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Sony Fitness App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My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as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genera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fro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arelin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Website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As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visit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ebsi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ach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time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ownload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ach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very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repor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oul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ediou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ough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utomat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ownload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fro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arelin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Website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This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art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oin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Implementation.</a:t>
            </a: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09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52604" y="183664"/>
            <a:ext cx="5000425" cy="885371"/>
          </a:xfrm>
        </p:spPr>
        <p:txBody>
          <a:bodyPr/>
          <a:lstStyle/>
          <a:p>
            <a:endParaRPr lang="nl-NL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278882" y="1144599"/>
            <a:ext cx="6699864" cy="353259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Especially</a:t>
            </a:r>
            <a:r>
              <a:rPr lang="de-DE" dirty="0" smtClean="0"/>
              <a:t> in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case</a:t>
            </a:r>
            <a:r>
              <a:rPr lang="de-DE" dirty="0" smtClean="0"/>
              <a:t>, Mr. Jens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chosen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three</a:t>
            </a:r>
            <a:r>
              <a:rPr lang="de-DE" dirty="0" smtClean="0"/>
              <a:t> </a:t>
            </a:r>
            <a:r>
              <a:rPr lang="de-DE" dirty="0" err="1" smtClean="0"/>
              <a:t>sour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gatheri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Crawler </a:t>
            </a:r>
            <a:r>
              <a:rPr lang="de-DE" dirty="0" err="1" smtClean="0"/>
              <a:t>Carelink</a:t>
            </a:r>
            <a:r>
              <a:rPr lang="de-DE" dirty="0" smtClean="0"/>
              <a:t> Websi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Google </a:t>
            </a:r>
            <a:r>
              <a:rPr lang="de-DE" dirty="0" err="1" smtClean="0"/>
              <a:t>Maps</a:t>
            </a:r>
            <a:r>
              <a:rPr lang="de-DE" dirty="0" smtClean="0"/>
              <a:t> Timelin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dirty="0" smtClean="0"/>
              <a:t>Sony Fitness App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My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as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genera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fro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arelin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Website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As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visit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ebsit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ach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time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ownload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ach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very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repor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ould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b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ediou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W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ough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automat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ownload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from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arelink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Website</a:t>
            </a:r>
          </a:p>
          <a:p>
            <a:pPr marL="171450" lvl="1" indent="-1714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This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is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the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starting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point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de-DE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of</a:t>
            </a:r>
            <a:r>
              <a:rPr lang="de-DE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Implementation.</a:t>
            </a: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04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6125" y="30527"/>
            <a:ext cx="8338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Devices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157122" y="30527"/>
            <a:ext cx="670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Social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505475" y="27989"/>
            <a:ext cx="9476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Software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364396" y="27989"/>
            <a:ext cx="15167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Growth/Results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pic>
        <p:nvPicPr>
          <p:cNvPr id="22" name="Picture 3" descr="\\MAGNUM\Projects\Microsoft\Cloud Power FY12\Design\Icons\PNGs\Scalable_Elastic_4.png"/>
          <p:cNvPicPr>
            <a:picLocks noChangeAspect="1" noChangeArrowheads="1"/>
          </p:cNvPicPr>
          <p:nvPr/>
        </p:nvPicPr>
        <p:blipFill>
          <a:blip r:embed="rId4" cstate="print">
            <a:lum bright="100000"/>
          </a:blip>
          <a:srcRect/>
          <a:stretch>
            <a:fillRect/>
          </a:stretch>
        </p:blipFill>
        <p:spPr bwMode="auto">
          <a:xfrm>
            <a:off x="7203418" y="340385"/>
            <a:ext cx="790440" cy="790235"/>
          </a:xfrm>
          <a:prstGeom prst="rect">
            <a:avLst/>
          </a:prstGeom>
          <a:noFill/>
        </p:spPr>
      </p:pic>
      <p:pic>
        <p:nvPicPr>
          <p:cNvPr id="23" name="Picture 4" descr="\\MAGNUM\Projects\Microsoft\Cloud Power FY12\Design\ICONS_PNG\Scalable_Elastic.png"/>
          <p:cNvPicPr>
            <a:picLocks noChangeAspect="1" noChangeArrowheads="1"/>
          </p:cNvPicPr>
          <p:nvPr/>
        </p:nvPicPr>
        <p:blipFill>
          <a:blip r:embed="rId5" cstate="print">
            <a:lum bright="100000"/>
          </a:blip>
          <a:srcRect/>
          <a:stretch>
            <a:fillRect/>
          </a:stretch>
        </p:blipFill>
        <p:spPr bwMode="auto">
          <a:xfrm>
            <a:off x="8219148" y="339502"/>
            <a:ext cx="792000" cy="792000"/>
          </a:xfrm>
          <a:prstGeom prst="rect">
            <a:avLst/>
          </a:prstGeom>
          <a:noFill/>
        </p:spPr>
      </p:pic>
      <p:grpSp>
        <p:nvGrpSpPr>
          <p:cNvPr id="24" name="Group 23"/>
          <p:cNvGrpSpPr/>
          <p:nvPr/>
        </p:nvGrpSpPr>
        <p:grpSpPr>
          <a:xfrm>
            <a:off x="7236296" y="2427822"/>
            <a:ext cx="792000" cy="792000"/>
            <a:chOff x="1457863" y="-1065220"/>
            <a:chExt cx="792000" cy="792000"/>
          </a:xfrm>
        </p:grpSpPr>
        <p:sp>
          <p:nvSpPr>
            <p:cNvPr id="25" name="Freeform 21"/>
            <p:cNvSpPr>
              <a:spLocks noChangeAspect="1" noEditPoints="1"/>
            </p:cNvSpPr>
            <p:nvPr/>
          </p:nvSpPr>
          <p:spPr bwMode="auto">
            <a:xfrm>
              <a:off x="1503973" y="-986241"/>
              <a:ext cx="699781" cy="634042"/>
            </a:xfrm>
            <a:custGeom>
              <a:avLst/>
              <a:gdLst>
                <a:gd name="T0" fmla="*/ 382 w 482"/>
                <a:gd name="T1" fmla="*/ 437 h 437"/>
                <a:gd name="T2" fmla="*/ 0 w 482"/>
                <a:gd name="T3" fmla="*/ 242 h 437"/>
                <a:gd name="T4" fmla="*/ 482 w 482"/>
                <a:gd name="T5" fmla="*/ 242 h 437"/>
                <a:gd name="T6" fmla="*/ 461 w 482"/>
                <a:gd name="T7" fmla="*/ 242 h 437"/>
                <a:gd name="T8" fmla="*/ 415 w 482"/>
                <a:gd name="T9" fmla="*/ 229 h 437"/>
                <a:gd name="T10" fmla="*/ 415 w 482"/>
                <a:gd name="T11" fmla="*/ 255 h 437"/>
                <a:gd name="T12" fmla="*/ 425 w 482"/>
                <a:gd name="T13" fmla="*/ 365 h 437"/>
                <a:gd name="T14" fmla="*/ 397 w 482"/>
                <a:gd name="T15" fmla="*/ 316 h 437"/>
                <a:gd name="T16" fmla="*/ 425 w 482"/>
                <a:gd name="T17" fmla="*/ 365 h 437"/>
                <a:gd name="T18" fmla="*/ 56 w 482"/>
                <a:gd name="T19" fmla="*/ 363 h 437"/>
                <a:gd name="T20" fmla="*/ 85 w 482"/>
                <a:gd name="T21" fmla="*/ 316 h 437"/>
                <a:gd name="T22" fmla="*/ 20 w 482"/>
                <a:gd name="T23" fmla="*/ 242 h 437"/>
                <a:gd name="T24" fmla="*/ 69 w 482"/>
                <a:gd name="T25" fmla="*/ 255 h 437"/>
                <a:gd name="T26" fmla="*/ 69 w 482"/>
                <a:gd name="T27" fmla="*/ 229 h 437"/>
                <a:gd name="T28" fmla="*/ 20 w 482"/>
                <a:gd name="T29" fmla="*/ 242 h 437"/>
                <a:gd name="T30" fmla="*/ 44 w 482"/>
                <a:gd name="T31" fmla="*/ 144 h 437"/>
                <a:gd name="T32" fmla="*/ 100 w 482"/>
                <a:gd name="T33" fmla="*/ 144 h 437"/>
                <a:gd name="T34" fmla="*/ 143 w 482"/>
                <a:gd name="T35" fmla="*/ 44 h 437"/>
                <a:gd name="T36" fmla="*/ 143 w 482"/>
                <a:gd name="T37" fmla="*/ 98 h 437"/>
                <a:gd name="T38" fmla="*/ 143 w 482"/>
                <a:gd name="T39" fmla="*/ 44 h 437"/>
                <a:gd name="T40" fmla="*/ 228 w 482"/>
                <a:gd name="T41" fmla="*/ 21 h 437"/>
                <a:gd name="T42" fmla="*/ 241 w 482"/>
                <a:gd name="T43" fmla="*/ 67 h 437"/>
                <a:gd name="T44" fmla="*/ 254 w 482"/>
                <a:gd name="T45" fmla="*/ 21 h 437"/>
                <a:gd name="T46" fmla="*/ 364 w 482"/>
                <a:gd name="T47" fmla="*/ 57 h 437"/>
                <a:gd name="T48" fmla="*/ 315 w 482"/>
                <a:gd name="T49" fmla="*/ 85 h 437"/>
                <a:gd name="T50" fmla="*/ 364 w 482"/>
                <a:gd name="T51" fmla="*/ 57 h 437"/>
                <a:gd name="T52" fmla="*/ 425 w 482"/>
                <a:gd name="T53" fmla="*/ 119 h 437"/>
                <a:gd name="T54" fmla="*/ 397 w 482"/>
                <a:gd name="T55" fmla="*/ 167 h 437"/>
                <a:gd name="T56" fmla="*/ 241 w 482"/>
                <a:gd name="T57" fmla="*/ 280 h 437"/>
                <a:gd name="T58" fmla="*/ 241 w 482"/>
                <a:gd name="T59" fmla="*/ 203 h 437"/>
                <a:gd name="T60" fmla="*/ 241 w 482"/>
                <a:gd name="T61" fmla="*/ 280 h 437"/>
                <a:gd name="T62" fmla="*/ 238 w 482"/>
                <a:gd name="T63" fmla="*/ 196 h 437"/>
                <a:gd name="T64" fmla="*/ 254 w 482"/>
                <a:gd name="T65" fmla="*/ 196 h 437"/>
                <a:gd name="T66" fmla="*/ 300 w 482"/>
                <a:gd name="T67" fmla="*/ 41 h 437"/>
                <a:gd name="T68" fmla="*/ 143 w 482"/>
                <a:gd name="T69" fmla="*/ 378 h 437"/>
                <a:gd name="T70" fmla="*/ 167 w 482"/>
                <a:gd name="T71" fmla="*/ 406 h 437"/>
                <a:gd name="T72" fmla="*/ 338 w 482"/>
                <a:gd name="T73" fmla="*/ 383 h 437"/>
                <a:gd name="T74" fmla="*/ 315 w 482"/>
                <a:gd name="T75" fmla="*/ 355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2" h="437">
                  <a:moveTo>
                    <a:pt x="482" y="242"/>
                  </a:moveTo>
                  <a:cubicBezTo>
                    <a:pt x="482" y="322"/>
                    <a:pt x="443" y="391"/>
                    <a:pt x="382" y="437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38" y="391"/>
                    <a:pt x="0" y="322"/>
                    <a:pt x="0" y="242"/>
                  </a:cubicBezTo>
                  <a:cubicBezTo>
                    <a:pt x="0" y="108"/>
                    <a:pt x="108" y="0"/>
                    <a:pt x="241" y="0"/>
                  </a:cubicBezTo>
                  <a:cubicBezTo>
                    <a:pt x="372" y="0"/>
                    <a:pt x="482" y="108"/>
                    <a:pt x="482" y="242"/>
                  </a:cubicBezTo>
                  <a:close/>
                  <a:moveTo>
                    <a:pt x="461" y="255"/>
                  </a:moveTo>
                  <a:cubicBezTo>
                    <a:pt x="461" y="250"/>
                    <a:pt x="461" y="247"/>
                    <a:pt x="461" y="242"/>
                  </a:cubicBezTo>
                  <a:cubicBezTo>
                    <a:pt x="461" y="237"/>
                    <a:pt x="461" y="232"/>
                    <a:pt x="461" y="229"/>
                  </a:cubicBezTo>
                  <a:cubicBezTo>
                    <a:pt x="415" y="229"/>
                    <a:pt x="415" y="229"/>
                    <a:pt x="415" y="229"/>
                  </a:cubicBezTo>
                  <a:cubicBezTo>
                    <a:pt x="415" y="232"/>
                    <a:pt x="415" y="237"/>
                    <a:pt x="415" y="242"/>
                  </a:cubicBezTo>
                  <a:cubicBezTo>
                    <a:pt x="415" y="247"/>
                    <a:pt x="415" y="252"/>
                    <a:pt x="415" y="255"/>
                  </a:cubicBezTo>
                  <a:cubicBezTo>
                    <a:pt x="461" y="255"/>
                    <a:pt x="461" y="255"/>
                    <a:pt x="461" y="255"/>
                  </a:cubicBezTo>
                  <a:close/>
                  <a:moveTo>
                    <a:pt x="425" y="365"/>
                  </a:moveTo>
                  <a:cubicBezTo>
                    <a:pt x="430" y="358"/>
                    <a:pt x="436" y="350"/>
                    <a:pt x="438" y="340"/>
                  </a:cubicBezTo>
                  <a:cubicBezTo>
                    <a:pt x="397" y="316"/>
                    <a:pt x="397" y="316"/>
                    <a:pt x="397" y="316"/>
                  </a:cubicBezTo>
                  <a:cubicBezTo>
                    <a:pt x="395" y="324"/>
                    <a:pt x="389" y="332"/>
                    <a:pt x="384" y="340"/>
                  </a:cubicBezTo>
                  <a:cubicBezTo>
                    <a:pt x="425" y="365"/>
                    <a:pt x="425" y="365"/>
                    <a:pt x="425" y="365"/>
                  </a:cubicBezTo>
                  <a:close/>
                  <a:moveTo>
                    <a:pt x="44" y="340"/>
                  </a:moveTo>
                  <a:cubicBezTo>
                    <a:pt x="49" y="347"/>
                    <a:pt x="51" y="355"/>
                    <a:pt x="56" y="363"/>
                  </a:cubicBezTo>
                  <a:cubicBezTo>
                    <a:pt x="97" y="340"/>
                    <a:pt x="97" y="340"/>
                    <a:pt x="97" y="340"/>
                  </a:cubicBezTo>
                  <a:cubicBezTo>
                    <a:pt x="92" y="332"/>
                    <a:pt x="90" y="324"/>
                    <a:pt x="85" y="316"/>
                  </a:cubicBezTo>
                  <a:cubicBezTo>
                    <a:pt x="44" y="340"/>
                    <a:pt x="44" y="340"/>
                    <a:pt x="44" y="340"/>
                  </a:cubicBezTo>
                  <a:close/>
                  <a:moveTo>
                    <a:pt x="20" y="242"/>
                  </a:moveTo>
                  <a:cubicBezTo>
                    <a:pt x="20" y="247"/>
                    <a:pt x="20" y="252"/>
                    <a:pt x="20" y="255"/>
                  </a:cubicBezTo>
                  <a:cubicBezTo>
                    <a:pt x="69" y="255"/>
                    <a:pt x="69" y="255"/>
                    <a:pt x="69" y="255"/>
                  </a:cubicBezTo>
                  <a:cubicBezTo>
                    <a:pt x="69" y="252"/>
                    <a:pt x="69" y="247"/>
                    <a:pt x="69" y="242"/>
                  </a:cubicBezTo>
                  <a:cubicBezTo>
                    <a:pt x="69" y="237"/>
                    <a:pt x="69" y="232"/>
                    <a:pt x="69" y="229"/>
                  </a:cubicBezTo>
                  <a:cubicBezTo>
                    <a:pt x="20" y="229"/>
                    <a:pt x="20" y="229"/>
                    <a:pt x="20" y="229"/>
                  </a:cubicBezTo>
                  <a:cubicBezTo>
                    <a:pt x="20" y="232"/>
                    <a:pt x="20" y="237"/>
                    <a:pt x="20" y="242"/>
                  </a:cubicBezTo>
                  <a:close/>
                  <a:moveTo>
                    <a:pt x="56" y="119"/>
                  </a:moveTo>
                  <a:cubicBezTo>
                    <a:pt x="51" y="126"/>
                    <a:pt x="49" y="137"/>
                    <a:pt x="44" y="144"/>
                  </a:cubicBezTo>
                  <a:cubicBezTo>
                    <a:pt x="85" y="167"/>
                    <a:pt x="85" y="167"/>
                    <a:pt x="85" y="167"/>
                  </a:cubicBezTo>
                  <a:cubicBezTo>
                    <a:pt x="90" y="160"/>
                    <a:pt x="92" y="152"/>
                    <a:pt x="100" y="144"/>
                  </a:cubicBezTo>
                  <a:cubicBezTo>
                    <a:pt x="56" y="119"/>
                    <a:pt x="56" y="119"/>
                    <a:pt x="56" y="119"/>
                  </a:cubicBezTo>
                  <a:close/>
                  <a:moveTo>
                    <a:pt x="143" y="44"/>
                  </a:moveTo>
                  <a:cubicBezTo>
                    <a:pt x="133" y="49"/>
                    <a:pt x="126" y="52"/>
                    <a:pt x="118" y="57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51" y="93"/>
                    <a:pt x="159" y="90"/>
                    <a:pt x="167" y="85"/>
                  </a:cubicBezTo>
                  <a:cubicBezTo>
                    <a:pt x="143" y="44"/>
                    <a:pt x="143" y="44"/>
                    <a:pt x="143" y="44"/>
                  </a:cubicBezTo>
                  <a:close/>
                  <a:moveTo>
                    <a:pt x="241" y="21"/>
                  </a:moveTo>
                  <a:cubicBezTo>
                    <a:pt x="236" y="21"/>
                    <a:pt x="231" y="21"/>
                    <a:pt x="228" y="21"/>
                  </a:cubicBezTo>
                  <a:cubicBezTo>
                    <a:pt x="228" y="70"/>
                    <a:pt x="228" y="70"/>
                    <a:pt x="228" y="70"/>
                  </a:cubicBezTo>
                  <a:cubicBezTo>
                    <a:pt x="231" y="67"/>
                    <a:pt x="236" y="67"/>
                    <a:pt x="241" y="67"/>
                  </a:cubicBezTo>
                  <a:cubicBezTo>
                    <a:pt x="246" y="67"/>
                    <a:pt x="251" y="67"/>
                    <a:pt x="254" y="70"/>
                  </a:cubicBezTo>
                  <a:cubicBezTo>
                    <a:pt x="254" y="21"/>
                    <a:pt x="254" y="21"/>
                    <a:pt x="254" y="21"/>
                  </a:cubicBezTo>
                  <a:cubicBezTo>
                    <a:pt x="251" y="21"/>
                    <a:pt x="246" y="21"/>
                    <a:pt x="241" y="21"/>
                  </a:cubicBezTo>
                  <a:close/>
                  <a:moveTo>
                    <a:pt x="364" y="57"/>
                  </a:moveTo>
                  <a:cubicBezTo>
                    <a:pt x="356" y="52"/>
                    <a:pt x="346" y="47"/>
                    <a:pt x="338" y="44"/>
                  </a:cubicBezTo>
                  <a:cubicBezTo>
                    <a:pt x="315" y="85"/>
                    <a:pt x="315" y="85"/>
                    <a:pt x="315" y="85"/>
                  </a:cubicBezTo>
                  <a:cubicBezTo>
                    <a:pt x="323" y="88"/>
                    <a:pt x="331" y="93"/>
                    <a:pt x="338" y="98"/>
                  </a:cubicBezTo>
                  <a:cubicBezTo>
                    <a:pt x="364" y="57"/>
                    <a:pt x="364" y="57"/>
                    <a:pt x="364" y="57"/>
                  </a:cubicBezTo>
                  <a:close/>
                  <a:moveTo>
                    <a:pt x="438" y="142"/>
                  </a:moveTo>
                  <a:cubicBezTo>
                    <a:pt x="436" y="134"/>
                    <a:pt x="430" y="126"/>
                    <a:pt x="425" y="11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89" y="149"/>
                    <a:pt x="392" y="160"/>
                    <a:pt x="397" y="167"/>
                  </a:cubicBezTo>
                  <a:cubicBezTo>
                    <a:pt x="438" y="142"/>
                    <a:pt x="438" y="142"/>
                    <a:pt x="438" y="142"/>
                  </a:cubicBezTo>
                  <a:close/>
                  <a:moveTo>
                    <a:pt x="241" y="280"/>
                  </a:moveTo>
                  <a:cubicBezTo>
                    <a:pt x="264" y="280"/>
                    <a:pt x="279" y="262"/>
                    <a:pt x="279" y="242"/>
                  </a:cubicBezTo>
                  <a:cubicBezTo>
                    <a:pt x="279" y="221"/>
                    <a:pt x="264" y="203"/>
                    <a:pt x="241" y="203"/>
                  </a:cubicBezTo>
                  <a:cubicBezTo>
                    <a:pt x="220" y="203"/>
                    <a:pt x="202" y="221"/>
                    <a:pt x="202" y="242"/>
                  </a:cubicBezTo>
                  <a:cubicBezTo>
                    <a:pt x="202" y="262"/>
                    <a:pt x="220" y="280"/>
                    <a:pt x="241" y="280"/>
                  </a:cubicBezTo>
                  <a:close/>
                  <a:moveTo>
                    <a:pt x="300" y="41"/>
                  </a:moveTo>
                  <a:cubicBezTo>
                    <a:pt x="238" y="196"/>
                    <a:pt x="238" y="196"/>
                    <a:pt x="238" y="196"/>
                  </a:cubicBezTo>
                  <a:cubicBezTo>
                    <a:pt x="241" y="196"/>
                    <a:pt x="241" y="196"/>
                    <a:pt x="241" y="196"/>
                  </a:cubicBezTo>
                  <a:cubicBezTo>
                    <a:pt x="246" y="196"/>
                    <a:pt x="251" y="196"/>
                    <a:pt x="254" y="196"/>
                  </a:cubicBezTo>
                  <a:cubicBezTo>
                    <a:pt x="259" y="198"/>
                    <a:pt x="264" y="201"/>
                    <a:pt x="269" y="203"/>
                  </a:cubicBezTo>
                  <a:cubicBezTo>
                    <a:pt x="300" y="41"/>
                    <a:pt x="300" y="41"/>
                    <a:pt x="300" y="41"/>
                  </a:cubicBezTo>
                  <a:close/>
                  <a:moveTo>
                    <a:pt x="167" y="355"/>
                  </a:moveTo>
                  <a:cubicBezTo>
                    <a:pt x="154" y="355"/>
                    <a:pt x="143" y="368"/>
                    <a:pt x="143" y="378"/>
                  </a:cubicBezTo>
                  <a:cubicBezTo>
                    <a:pt x="143" y="383"/>
                    <a:pt x="143" y="383"/>
                    <a:pt x="143" y="383"/>
                  </a:cubicBezTo>
                  <a:cubicBezTo>
                    <a:pt x="143" y="396"/>
                    <a:pt x="154" y="406"/>
                    <a:pt x="167" y="406"/>
                  </a:cubicBezTo>
                  <a:cubicBezTo>
                    <a:pt x="315" y="406"/>
                    <a:pt x="315" y="406"/>
                    <a:pt x="315" y="406"/>
                  </a:cubicBezTo>
                  <a:cubicBezTo>
                    <a:pt x="328" y="406"/>
                    <a:pt x="338" y="396"/>
                    <a:pt x="338" y="383"/>
                  </a:cubicBezTo>
                  <a:cubicBezTo>
                    <a:pt x="338" y="378"/>
                    <a:pt x="338" y="378"/>
                    <a:pt x="338" y="378"/>
                  </a:cubicBezTo>
                  <a:cubicBezTo>
                    <a:pt x="338" y="368"/>
                    <a:pt x="328" y="355"/>
                    <a:pt x="315" y="355"/>
                  </a:cubicBezTo>
                  <a:cubicBezTo>
                    <a:pt x="167" y="355"/>
                    <a:pt x="167" y="355"/>
                    <a:pt x="167" y="3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1457863" y="-1065220"/>
              <a:ext cx="792000" cy="792000"/>
              <a:chOff x="1301691" y="-1022413"/>
              <a:chExt cx="792000" cy="792000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NotesStyle-Medium" pitchFamily="2" charset="0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NotesStyle-Medium" pitchFamily="2" charset="0"/>
                </a:endParaRPr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7219490" y="1773053"/>
            <a:ext cx="792000" cy="792000"/>
            <a:chOff x="3237763" y="-1832819"/>
            <a:chExt cx="792000" cy="79200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263" y="-1628137"/>
              <a:ext cx="671001" cy="382637"/>
            </a:xfrm>
            <a:prstGeom prst="rect">
              <a:avLst/>
            </a:prstGeom>
            <a:noFill/>
          </p:spPr>
        </p:pic>
        <p:sp>
          <p:nvSpPr>
            <p:cNvPr id="31" name="Rectangle 30"/>
            <p:cNvSpPr/>
            <p:nvPr/>
          </p:nvSpPr>
          <p:spPr>
            <a:xfrm>
              <a:off x="3237763" y="-183281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8216496" y="1037558"/>
            <a:ext cx="792000" cy="792000"/>
            <a:chOff x="3154367" y="-1698631"/>
            <a:chExt cx="792000" cy="792000"/>
          </a:xfrm>
        </p:grpSpPr>
        <p:sp>
          <p:nvSpPr>
            <p:cNvPr id="39" name="Freeform 5"/>
            <p:cNvSpPr>
              <a:spLocks/>
            </p:cNvSpPr>
            <p:nvPr/>
          </p:nvSpPr>
          <p:spPr bwMode="auto">
            <a:xfrm>
              <a:off x="3207671" y="-1586144"/>
              <a:ext cx="685393" cy="567027"/>
            </a:xfrm>
            <a:custGeom>
              <a:avLst/>
              <a:gdLst>
                <a:gd name="T0" fmla="*/ 1216 w 1216"/>
                <a:gd name="T1" fmla="*/ 407 h 1006"/>
                <a:gd name="T2" fmla="*/ 1119 w 1216"/>
                <a:gd name="T3" fmla="*/ 0 h 1006"/>
                <a:gd name="T4" fmla="*/ 715 w 1216"/>
                <a:gd name="T5" fmla="*/ 98 h 1006"/>
                <a:gd name="T6" fmla="*/ 829 w 1216"/>
                <a:gd name="T7" fmla="*/ 169 h 1006"/>
                <a:gd name="T8" fmla="*/ 706 w 1216"/>
                <a:gd name="T9" fmla="*/ 369 h 1006"/>
                <a:gd name="T10" fmla="*/ 383 w 1216"/>
                <a:gd name="T11" fmla="*/ 276 h 1006"/>
                <a:gd name="T12" fmla="*/ 0 w 1216"/>
                <a:gd name="T13" fmla="*/ 821 h 1006"/>
                <a:gd name="T14" fmla="*/ 264 w 1216"/>
                <a:gd name="T15" fmla="*/ 1006 h 1006"/>
                <a:gd name="T16" fmla="*/ 513 w 1216"/>
                <a:gd name="T17" fmla="*/ 652 h 1006"/>
                <a:gd name="T18" fmla="*/ 853 w 1216"/>
                <a:gd name="T19" fmla="*/ 750 h 1006"/>
                <a:gd name="T20" fmla="*/ 1104 w 1216"/>
                <a:gd name="T21" fmla="*/ 338 h 1006"/>
                <a:gd name="T22" fmla="*/ 1216 w 1216"/>
                <a:gd name="T23" fmla="*/ 4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6" h="1006">
                  <a:moveTo>
                    <a:pt x="1216" y="407"/>
                  </a:moveTo>
                  <a:lnTo>
                    <a:pt x="1119" y="0"/>
                  </a:lnTo>
                  <a:lnTo>
                    <a:pt x="715" y="98"/>
                  </a:lnTo>
                  <a:lnTo>
                    <a:pt x="829" y="169"/>
                  </a:lnTo>
                  <a:lnTo>
                    <a:pt x="706" y="369"/>
                  </a:lnTo>
                  <a:lnTo>
                    <a:pt x="383" y="276"/>
                  </a:lnTo>
                  <a:lnTo>
                    <a:pt x="0" y="821"/>
                  </a:lnTo>
                  <a:lnTo>
                    <a:pt x="264" y="1006"/>
                  </a:lnTo>
                  <a:lnTo>
                    <a:pt x="513" y="652"/>
                  </a:lnTo>
                  <a:lnTo>
                    <a:pt x="853" y="750"/>
                  </a:lnTo>
                  <a:lnTo>
                    <a:pt x="1104" y="338"/>
                  </a:lnTo>
                  <a:lnTo>
                    <a:pt x="1216" y="4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390" tIns="45696" rIns="91390" bIns="45696" numCol="1" anchor="ctr" anchorCtr="0" compatLnSpc="1">
              <a:prstTxWarp prst="textNoShape">
                <a:avLst/>
              </a:prstTxWarp>
            </a:bodyPr>
            <a:lstStyle/>
            <a:p>
              <a:pPr defTabSz="932540"/>
              <a:endParaRPr lang="en-US" sz="1600" kern="0">
                <a:solidFill>
                  <a:srgbClr val="FFFFFF"/>
                </a:solidFill>
                <a:latin typeface="NotesStyle-Medium" pitchFamily="2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154367" y="-169863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204510" y="1061214"/>
            <a:ext cx="792000" cy="792000"/>
            <a:chOff x="3233398" y="-1705803"/>
            <a:chExt cx="792000" cy="792000"/>
          </a:xfrm>
        </p:grpSpPr>
        <p:sp>
          <p:nvSpPr>
            <p:cNvPr id="42" name="Freeform 27"/>
            <p:cNvSpPr>
              <a:spLocks noEditPoints="1"/>
            </p:cNvSpPr>
            <p:nvPr/>
          </p:nvSpPr>
          <p:spPr bwMode="auto">
            <a:xfrm>
              <a:off x="3306742" y="-1565807"/>
              <a:ext cx="645313" cy="512009"/>
            </a:xfrm>
            <a:custGeom>
              <a:avLst/>
              <a:gdLst>
                <a:gd name="T0" fmla="*/ 42 w 263"/>
                <a:gd name="T1" fmla="*/ 147 h 209"/>
                <a:gd name="T2" fmla="*/ 37 w 263"/>
                <a:gd name="T3" fmla="*/ 209 h 209"/>
                <a:gd name="T4" fmla="*/ 6 w 263"/>
                <a:gd name="T5" fmla="*/ 204 h 209"/>
                <a:gd name="T6" fmla="*/ 16 w 263"/>
                <a:gd name="T7" fmla="*/ 158 h 209"/>
                <a:gd name="T8" fmla="*/ 33 w 263"/>
                <a:gd name="T9" fmla="*/ 158 h 209"/>
                <a:gd name="T10" fmla="*/ 58 w 263"/>
                <a:gd name="T11" fmla="*/ 209 h 209"/>
                <a:gd name="T12" fmla="*/ 89 w 263"/>
                <a:gd name="T13" fmla="*/ 204 h 209"/>
                <a:gd name="T14" fmla="*/ 53 w 263"/>
                <a:gd name="T15" fmla="*/ 135 h 209"/>
                <a:gd name="T16" fmla="*/ 100 w 263"/>
                <a:gd name="T17" fmla="*/ 204 h 209"/>
                <a:gd name="T18" fmla="*/ 131 w 263"/>
                <a:gd name="T19" fmla="*/ 209 h 209"/>
                <a:gd name="T20" fmla="*/ 136 w 263"/>
                <a:gd name="T21" fmla="*/ 111 h 209"/>
                <a:gd name="T22" fmla="*/ 100 w 263"/>
                <a:gd name="T23" fmla="*/ 204 h 209"/>
                <a:gd name="T24" fmla="*/ 155 w 263"/>
                <a:gd name="T25" fmla="*/ 122 h 209"/>
                <a:gd name="T26" fmla="*/ 146 w 263"/>
                <a:gd name="T27" fmla="*/ 204 h 209"/>
                <a:gd name="T28" fmla="*/ 178 w 263"/>
                <a:gd name="T29" fmla="*/ 209 h 209"/>
                <a:gd name="T30" fmla="*/ 182 w 263"/>
                <a:gd name="T31" fmla="*/ 110 h 209"/>
                <a:gd name="T32" fmla="*/ 162 w 263"/>
                <a:gd name="T33" fmla="*/ 124 h 209"/>
                <a:gd name="T34" fmla="*/ 193 w 263"/>
                <a:gd name="T35" fmla="*/ 204 h 209"/>
                <a:gd name="T36" fmla="*/ 224 w 263"/>
                <a:gd name="T37" fmla="*/ 209 h 209"/>
                <a:gd name="T38" fmla="*/ 229 w 263"/>
                <a:gd name="T39" fmla="*/ 66 h 209"/>
                <a:gd name="T40" fmla="*/ 193 w 263"/>
                <a:gd name="T41" fmla="*/ 99 h 209"/>
                <a:gd name="T42" fmla="*/ 259 w 263"/>
                <a:gd name="T43" fmla="*/ 0 h 209"/>
                <a:gd name="T44" fmla="*/ 182 w 263"/>
                <a:gd name="T45" fmla="*/ 9 h 209"/>
                <a:gd name="T46" fmla="*/ 203 w 263"/>
                <a:gd name="T47" fmla="*/ 37 h 209"/>
                <a:gd name="T48" fmla="*/ 165 w 263"/>
                <a:gd name="T49" fmla="*/ 76 h 209"/>
                <a:gd name="T50" fmla="*/ 100 w 263"/>
                <a:gd name="T51" fmla="*/ 18 h 209"/>
                <a:gd name="T52" fmla="*/ 93 w 263"/>
                <a:gd name="T53" fmla="*/ 18 h 209"/>
                <a:gd name="T54" fmla="*/ 2 w 263"/>
                <a:gd name="T55" fmla="*/ 135 h 209"/>
                <a:gd name="T56" fmla="*/ 24 w 263"/>
                <a:gd name="T57" fmla="*/ 155 h 209"/>
                <a:gd name="T58" fmla="*/ 91 w 263"/>
                <a:gd name="T59" fmla="*/ 82 h 209"/>
                <a:gd name="T60" fmla="*/ 99 w 263"/>
                <a:gd name="T61" fmla="*/ 80 h 209"/>
                <a:gd name="T62" fmla="*/ 162 w 263"/>
                <a:gd name="T63" fmla="*/ 117 h 209"/>
                <a:gd name="T64" fmla="*/ 225 w 263"/>
                <a:gd name="T65" fmla="*/ 59 h 209"/>
                <a:gd name="T66" fmla="*/ 232 w 263"/>
                <a:gd name="T67" fmla="*/ 59 h 209"/>
                <a:gd name="T68" fmla="*/ 257 w 263"/>
                <a:gd name="T69" fmla="*/ 84 h 209"/>
                <a:gd name="T70" fmla="*/ 263 w 263"/>
                <a:gd name="T71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3" h="209">
                  <a:moveTo>
                    <a:pt x="33" y="158"/>
                  </a:moveTo>
                  <a:cubicBezTo>
                    <a:pt x="42" y="147"/>
                    <a:pt x="42" y="147"/>
                    <a:pt x="42" y="147"/>
                  </a:cubicBezTo>
                  <a:cubicBezTo>
                    <a:pt x="42" y="204"/>
                    <a:pt x="42" y="204"/>
                    <a:pt x="42" y="204"/>
                  </a:cubicBezTo>
                  <a:cubicBezTo>
                    <a:pt x="42" y="207"/>
                    <a:pt x="40" y="209"/>
                    <a:pt x="37" y="209"/>
                  </a:cubicBezTo>
                  <a:cubicBezTo>
                    <a:pt x="11" y="209"/>
                    <a:pt x="11" y="209"/>
                    <a:pt x="11" y="209"/>
                  </a:cubicBezTo>
                  <a:cubicBezTo>
                    <a:pt x="9" y="209"/>
                    <a:pt x="6" y="207"/>
                    <a:pt x="6" y="204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16" y="158"/>
                    <a:pt x="16" y="158"/>
                    <a:pt x="16" y="158"/>
                  </a:cubicBezTo>
                  <a:cubicBezTo>
                    <a:pt x="18" y="160"/>
                    <a:pt x="21" y="162"/>
                    <a:pt x="24" y="162"/>
                  </a:cubicBezTo>
                  <a:cubicBezTo>
                    <a:pt x="27" y="162"/>
                    <a:pt x="31" y="160"/>
                    <a:pt x="33" y="158"/>
                  </a:cubicBezTo>
                  <a:close/>
                  <a:moveTo>
                    <a:pt x="53" y="204"/>
                  </a:moveTo>
                  <a:cubicBezTo>
                    <a:pt x="53" y="207"/>
                    <a:pt x="55" y="209"/>
                    <a:pt x="58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7" y="209"/>
                    <a:pt x="89" y="207"/>
                    <a:pt x="89" y="20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53" y="135"/>
                    <a:pt x="53" y="135"/>
                    <a:pt x="53" y="135"/>
                  </a:cubicBezTo>
                  <a:lnTo>
                    <a:pt x="53" y="204"/>
                  </a:lnTo>
                  <a:close/>
                  <a:moveTo>
                    <a:pt x="100" y="204"/>
                  </a:moveTo>
                  <a:cubicBezTo>
                    <a:pt x="100" y="207"/>
                    <a:pt x="102" y="209"/>
                    <a:pt x="105" y="209"/>
                  </a:cubicBezTo>
                  <a:cubicBezTo>
                    <a:pt x="131" y="209"/>
                    <a:pt x="131" y="209"/>
                    <a:pt x="131" y="209"/>
                  </a:cubicBezTo>
                  <a:cubicBezTo>
                    <a:pt x="134" y="209"/>
                    <a:pt x="136" y="207"/>
                    <a:pt x="136" y="204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00" y="89"/>
                    <a:pt x="100" y="89"/>
                    <a:pt x="100" y="89"/>
                  </a:cubicBezTo>
                  <a:lnTo>
                    <a:pt x="100" y="204"/>
                  </a:lnTo>
                  <a:close/>
                  <a:moveTo>
                    <a:pt x="162" y="124"/>
                  </a:moveTo>
                  <a:cubicBezTo>
                    <a:pt x="160" y="124"/>
                    <a:pt x="157" y="124"/>
                    <a:pt x="155" y="122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6" y="204"/>
                    <a:pt x="146" y="204"/>
                    <a:pt x="146" y="204"/>
                  </a:cubicBezTo>
                  <a:cubicBezTo>
                    <a:pt x="146" y="207"/>
                    <a:pt x="149" y="209"/>
                    <a:pt x="151" y="209"/>
                  </a:cubicBezTo>
                  <a:cubicBezTo>
                    <a:pt x="178" y="209"/>
                    <a:pt x="178" y="209"/>
                    <a:pt x="178" y="209"/>
                  </a:cubicBezTo>
                  <a:cubicBezTo>
                    <a:pt x="180" y="209"/>
                    <a:pt x="182" y="207"/>
                    <a:pt x="182" y="204"/>
                  </a:cubicBezTo>
                  <a:cubicBezTo>
                    <a:pt x="182" y="110"/>
                    <a:pt x="182" y="110"/>
                    <a:pt x="182" y="110"/>
                  </a:cubicBezTo>
                  <a:cubicBezTo>
                    <a:pt x="172" y="121"/>
                    <a:pt x="172" y="121"/>
                    <a:pt x="172" y="121"/>
                  </a:cubicBezTo>
                  <a:cubicBezTo>
                    <a:pt x="169" y="123"/>
                    <a:pt x="166" y="124"/>
                    <a:pt x="162" y="124"/>
                  </a:cubicBezTo>
                  <a:close/>
                  <a:moveTo>
                    <a:pt x="193" y="99"/>
                  </a:moveTo>
                  <a:cubicBezTo>
                    <a:pt x="193" y="204"/>
                    <a:pt x="193" y="204"/>
                    <a:pt x="193" y="204"/>
                  </a:cubicBezTo>
                  <a:cubicBezTo>
                    <a:pt x="193" y="207"/>
                    <a:pt x="195" y="209"/>
                    <a:pt x="198" y="209"/>
                  </a:cubicBezTo>
                  <a:cubicBezTo>
                    <a:pt x="224" y="209"/>
                    <a:pt x="224" y="209"/>
                    <a:pt x="224" y="209"/>
                  </a:cubicBezTo>
                  <a:cubicBezTo>
                    <a:pt x="227" y="209"/>
                    <a:pt x="229" y="207"/>
                    <a:pt x="229" y="204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8" y="65"/>
                    <a:pt x="228" y="65"/>
                    <a:pt x="228" y="65"/>
                  </a:cubicBezTo>
                  <a:lnTo>
                    <a:pt x="193" y="99"/>
                  </a:lnTo>
                  <a:close/>
                  <a:moveTo>
                    <a:pt x="259" y="0"/>
                  </a:moveTo>
                  <a:cubicBezTo>
                    <a:pt x="259" y="0"/>
                    <a:pt x="259" y="0"/>
                    <a:pt x="259" y="0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1" y="6"/>
                    <a:pt x="180" y="8"/>
                    <a:pt x="182" y="9"/>
                  </a:cubicBezTo>
                  <a:cubicBezTo>
                    <a:pt x="203" y="30"/>
                    <a:pt x="203" y="30"/>
                    <a:pt x="203" y="30"/>
                  </a:cubicBezTo>
                  <a:cubicBezTo>
                    <a:pt x="205" y="32"/>
                    <a:pt x="205" y="35"/>
                    <a:pt x="203" y="37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5"/>
                    <a:pt x="166" y="76"/>
                    <a:pt x="165" y="76"/>
                  </a:cubicBezTo>
                  <a:cubicBezTo>
                    <a:pt x="163" y="76"/>
                    <a:pt x="162" y="75"/>
                    <a:pt x="161" y="75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7"/>
                    <a:pt x="98" y="17"/>
                    <a:pt x="97" y="17"/>
                  </a:cubicBezTo>
                  <a:cubicBezTo>
                    <a:pt x="95" y="17"/>
                    <a:pt x="94" y="17"/>
                    <a:pt x="93" y="18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0" y="129"/>
                    <a:pt x="0" y="133"/>
                    <a:pt x="2" y="135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22" y="154"/>
                    <a:pt x="23" y="155"/>
                    <a:pt x="24" y="155"/>
                  </a:cubicBezTo>
                  <a:cubicBezTo>
                    <a:pt x="25" y="155"/>
                    <a:pt x="27" y="154"/>
                    <a:pt x="28" y="153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0"/>
                    <a:pt x="94" y="80"/>
                    <a:pt x="96" y="80"/>
                  </a:cubicBezTo>
                  <a:cubicBezTo>
                    <a:pt x="97" y="80"/>
                    <a:pt x="98" y="80"/>
                    <a:pt x="99" y="80"/>
                  </a:cubicBezTo>
                  <a:cubicBezTo>
                    <a:pt x="159" y="117"/>
                    <a:pt x="159" y="117"/>
                    <a:pt x="159" y="117"/>
                  </a:cubicBezTo>
                  <a:cubicBezTo>
                    <a:pt x="160" y="117"/>
                    <a:pt x="161" y="117"/>
                    <a:pt x="162" y="117"/>
                  </a:cubicBezTo>
                  <a:cubicBezTo>
                    <a:pt x="164" y="117"/>
                    <a:pt x="166" y="117"/>
                    <a:pt x="167" y="116"/>
                  </a:cubicBezTo>
                  <a:cubicBezTo>
                    <a:pt x="225" y="59"/>
                    <a:pt x="225" y="59"/>
                    <a:pt x="225" y="59"/>
                  </a:cubicBezTo>
                  <a:cubicBezTo>
                    <a:pt x="226" y="58"/>
                    <a:pt x="227" y="58"/>
                    <a:pt x="228" y="58"/>
                  </a:cubicBezTo>
                  <a:cubicBezTo>
                    <a:pt x="230" y="58"/>
                    <a:pt x="231" y="58"/>
                    <a:pt x="232" y="59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6" y="83"/>
                    <a:pt x="257" y="84"/>
                    <a:pt x="257" y="84"/>
                  </a:cubicBezTo>
                  <a:cubicBezTo>
                    <a:pt x="258" y="84"/>
                    <a:pt x="259" y="83"/>
                    <a:pt x="259" y="81"/>
                  </a:cubicBezTo>
                  <a:cubicBezTo>
                    <a:pt x="263" y="5"/>
                    <a:pt x="263" y="5"/>
                    <a:pt x="263" y="5"/>
                  </a:cubicBezTo>
                  <a:cubicBezTo>
                    <a:pt x="263" y="2"/>
                    <a:pt x="261" y="0"/>
                    <a:pt x="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233398" y="-170580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440548" y="1206483"/>
            <a:ext cx="792000" cy="792000"/>
            <a:chOff x="2127171" y="-1157216"/>
            <a:chExt cx="792000" cy="792000"/>
          </a:xfrm>
        </p:grpSpPr>
        <p:grpSp>
          <p:nvGrpSpPr>
            <p:cNvPr id="45" name="Group 44"/>
            <p:cNvGrpSpPr/>
            <p:nvPr/>
          </p:nvGrpSpPr>
          <p:grpSpPr>
            <a:xfrm>
              <a:off x="2320214" y="-1107789"/>
              <a:ext cx="405914" cy="693146"/>
              <a:chOff x="2479701" y="4078213"/>
              <a:chExt cx="274320" cy="527041"/>
            </a:xfrm>
          </p:grpSpPr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79701" y="4078213"/>
                <a:ext cx="274320" cy="527041"/>
              </a:xfrm>
              <a:prstGeom prst="rect">
                <a:avLst/>
              </a:prstGeom>
            </p:spPr>
          </p:pic>
          <p:pic>
            <p:nvPicPr>
              <p:cNvPr id="51" name="Picture 50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>
              <a:xfrm>
                <a:off x="2539866" y="4235061"/>
                <a:ext cx="153491" cy="13878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6" name="Rectangle 45"/>
            <p:cNvSpPr/>
            <p:nvPr/>
          </p:nvSpPr>
          <p:spPr>
            <a:xfrm>
              <a:off x="2127171" y="-115721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-12936" y="1257277"/>
            <a:ext cx="792000" cy="792000"/>
            <a:chOff x="1905703" y="-1268457"/>
            <a:chExt cx="792000" cy="792000"/>
          </a:xfrm>
        </p:grpSpPr>
        <p:grpSp>
          <p:nvGrpSpPr>
            <p:cNvPr id="53" name="Group 52"/>
            <p:cNvGrpSpPr/>
            <p:nvPr/>
          </p:nvGrpSpPr>
          <p:grpSpPr>
            <a:xfrm>
              <a:off x="2059313" y="-1199649"/>
              <a:ext cx="484781" cy="654384"/>
              <a:chOff x="4387598" y="-1382918"/>
              <a:chExt cx="751534" cy="1014460"/>
            </a:xfrm>
            <a:solidFill>
              <a:srgbClr val="8598B1"/>
            </a:solidFill>
          </p:grpSpPr>
          <p:sp>
            <p:nvSpPr>
              <p:cNvPr id="57" name="Freeform 41"/>
              <p:cNvSpPr>
                <a:spLocks/>
              </p:cNvSpPr>
              <p:nvPr/>
            </p:nvSpPr>
            <p:spPr bwMode="auto">
              <a:xfrm>
                <a:off x="4509189" y="-1382918"/>
                <a:ext cx="629943" cy="817491"/>
              </a:xfrm>
              <a:custGeom>
                <a:avLst/>
                <a:gdLst>
                  <a:gd name="T0" fmla="*/ 533 w 594"/>
                  <a:gd name="T1" fmla="*/ 0 h 771"/>
                  <a:gd name="T2" fmla="*/ 63 w 594"/>
                  <a:gd name="T3" fmla="*/ 0 h 771"/>
                  <a:gd name="T4" fmla="*/ 0 w 594"/>
                  <a:gd name="T5" fmla="*/ 61 h 771"/>
                  <a:gd name="T6" fmla="*/ 0 w 594"/>
                  <a:gd name="T7" fmla="*/ 554 h 771"/>
                  <a:gd name="T8" fmla="*/ 10 w 594"/>
                  <a:gd name="T9" fmla="*/ 536 h 771"/>
                  <a:gd name="T10" fmla="*/ 57 w 594"/>
                  <a:gd name="T11" fmla="*/ 445 h 771"/>
                  <a:gd name="T12" fmla="*/ 57 w 594"/>
                  <a:gd name="T13" fmla="*/ 61 h 771"/>
                  <a:gd name="T14" fmla="*/ 63 w 594"/>
                  <a:gd name="T15" fmla="*/ 56 h 771"/>
                  <a:gd name="T16" fmla="*/ 533 w 594"/>
                  <a:gd name="T17" fmla="*/ 56 h 771"/>
                  <a:gd name="T18" fmla="*/ 537 w 594"/>
                  <a:gd name="T19" fmla="*/ 61 h 771"/>
                  <a:gd name="T20" fmla="*/ 537 w 594"/>
                  <a:gd name="T21" fmla="*/ 708 h 771"/>
                  <a:gd name="T22" fmla="*/ 533 w 594"/>
                  <a:gd name="T23" fmla="*/ 714 h 771"/>
                  <a:gd name="T24" fmla="*/ 255 w 594"/>
                  <a:gd name="T25" fmla="*/ 714 h 771"/>
                  <a:gd name="T26" fmla="*/ 258 w 594"/>
                  <a:gd name="T27" fmla="*/ 771 h 771"/>
                  <a:gd name="T28" fmla="*/ 533 w 594"/>
                  <a:gd name="T29" fmla="*/ 771 h 771"/>
                  <a:gd name="T30" fmla="*/ 594 w 594"/>
                  <a:gd name="T31" fmla="*/ 708 h 771"/>
                  <a:gd name="T32" fmla="*/ 594 w 594"/>
                  <a:gd name="T33" fmla="*/ 61 h 771"/>
                  <a:gd name="T34" fmla="*/ 533 w 594"/>
                  <a:gd name="T35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4" h="771">
                    <a:moveTo>
                      <a:pt x="53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1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10" y="536"/>
                      <a:pt x="10" y="536"/>
                      <a:pt x="10" y="536"/>
                    </a:cubicBezTo>
                    <a:cubicBezTo>
                      <a:pt x="57" y="445"/>
                      <a:pt x="57" y="445"/>
                      <a:pt x="57" y="445"/>
                    </a:cubicBezTo>
                    <a:cubicBezTo>
                      <a:pt x="57" y="61"/>
                      <a:pt x="57" y="61"/>
                      <a:pt x="57" y="61"/>
                    </a:cubicBezTo>
                    <a:cubicBezTo>
                      <a:pt x="57" y="58"/>
                      <a:pt x="59" y="56"/>
                      <a:pt x="63" y="56"/>
                    </a:cubicBezTo>
                    <a:cubicBezTo>
                      <a:pt x="533" y="56"/>
                      <a:pt x="533" y="56"/>
                      <a:pt x="533" y="56"/>
                    </a:cubicBezTo>
                    <a:cubicBezTo>
                      <a:pt x="535" y="56"/>
                      <a:pt x="537" y="58"/>
                      <a:pt x="537" y="61"/>
                    </a:cubicBezTo>
                    <a:cubicBezTo>
                      <a:pt x="537" y="708"/>
                      <a:pt x="537" y="708"/>
                      <a:pt x="537" y="708"/>
                    </a:cubicBezTo>
                    <a:cubicBezTo>
                      <a:pt x="537" y="712"/>
                      <a:pt x="535" y="714"/>
                      <a:pt x="533" y="714"/>
                    </a:cubicBezTo>
                    <a:cubicBezTo>
                      <a:pt x="255" y="714"/>
                      <a:pt x="255" y="714"/>
                      <a:pt x="255" y="714"/>
                    </a:cubicBezTo>
                    <a:cubicBezTo>
                      <a:pt x="266" y="734"/>
                      <a:pt x="266" y="755"/>
                      <a:pt x="258" y="771"/>
                    </a:cubicBezTo>
                    <a:cubicBezTo>
                      <a:pt x="533" y="771"/>
                      <a:pt x="533" y="771"/>
                      <a:pt x="533" y="771"/>
                    </a:cubicBezTo>
                    <a:cubicBezTo>
                      <a:pt x="568" y="771"/>
                      <a:pt x="594" y="742"/>
                      <a:pt x="594" y="708"/>
                    </a:cubicBezTo>
                    <a:cubicBezTo>
                      <a:pt x="594" y="61"/>
                      <a:pt x="594" y="61"/>
                      <a:pt x="594" y="61"/>
                    </a:cubicBezTo>
                    <a:cubicBezTo>
                      <a:pt x="594" y="28"/>
                      <a:pt x="568" y="0"/>
                      <a:pt x="5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prstClr val="black"/>
                  </a:solidFill>
                  <a:latin typeface="NotesStyle-Medium" pitchFamily="2" charset="0"/>
                </a:endParaRPr>
              </a:p>
            </p:txBody>
          </p:sp>
          <p:sp>
            <p:nvSpPr>
              <p:cNvPr id="58" name="Freeform 42"/>
              <p:cNvSpPr>
                <a:spLocks/>
              </p:cNvSpPr>
              <p:nvPr/>
            </p:nvSpPr>
            <p:spPr bwMode="auto">
              <a:xfrm>
                <a:off x="4387598" y="-954431"/>
                <a:ext cx="362531" cy="585973"/>
              </a:xfrm>
              <a:custGeom>
                <a:avLst/>
                <a:gdLst>
                  <a:gd name="T0" fmla="*/ 306 w 342"/>
                  <a:gd name="T1" fmla="*/ 296 h 553"/>
                  <a:gd name="T2" fmla="*/ 196 w 342"/>
                  <a:gd name="T3" fmla="*/ 225 h 553"/>
                  <a:gd name="T4" fmla="*/ 277 w 342"/>
                  <a:gd name="T5" fmla="*/ 56 h 553"/>
                  <a:gd name="T6" fmla="*/ 263 w 342"/>
                  <a:gd name="T7" fmla="*/ 10 h 553"/>
                  <a:gd name="T8" fmla="*/ 223 w 342"/>
                  <a:gd name="T9" fmla="*/ 29 h 553"/>
                  <a:gd name="T10" fmla="*/ 102 w 342"/>
                  <a:gd name="T11" fmla="*/ 261 h 553"/>
                  <a:gd name="T12" fmla="*/ 85 w 342"/>
                  <a:gd name="T13" fmla="*/ 186 h 553"/>
                  <a:gd name="T14" fmla="*/ 20 w 342"/>
                  <a:gd name="T15" fmla="*/ 135 h 553"/>
                  <a:gd name="T16" fmla="*/ 20 w 342"/>
                  <a:gd name="T17" fmla="*/ 196 h 553"/>
                  <a:gd name="T18" fmla="*/ 50 w 342"/>
                  <a:gd name="T19" fmla="*/ 434 h 553"/>
                  <a:gd name="T20" fmla="*/ 56 w 342"/>
                  <a:gd name="T21" fmla="*/ 471 h 553"/>
                  <a:gd name="T22" fmla="*/ 64 w 342"/>
                  <a:gd name="T23" fmla="*/ 488 h 553"/>
                  <a:gd name="T24" fmla="*/ 106 w 342"/>
                  <a:gd name="T25" fmla="*/ 528 h 553"/>
                  <a:gd name="T26" fmla="*/ 244 w 342"/>
                  <a:gd name="T27" fmla="*/ 490 h 553"/>
                  <a:gd name="T28" fmla="*/ 246 w 342"/>
                  <a:gd name="T29" fmla="*/ 486 h 553"/>
                  <a:gd name="T30" fmla="*/ 335 w 342"/>
                  <a:gd name="T31" fmla="*/ 357 h 553"/>
                  <a:gd name="T32" fmla="*/ 306 w 342"/>
                  <a:gd name="T33" fmla="*/ 296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2" h="553">
                    <a:moveTo>
                      <a:pt x="306" y="296"/>
                    </a:moveTo>
                    <a:cubicBezTo>
                      <a:pt x="196" y="225"/>
                      <a:pt x="196" y="225"/>
                      <a:pt x="196" y="225"/>
                    </a:cubicBezTo>
                    <a:cubicBezTo>
                      <a:pt x="225" y="169"/>
                      <a:pt x="248" y="111"/>
                      <a:pt x="277" y="56"/>
                    </a:cubicBezTo>
                    <a:cubicBezTo>
                      <a:pt x="287" y="40"/>
                      <a:pt x="279" y="17"/>
                      <a:pt x="263" y="10"/>
                    </a:cubicBezTo>
                    <a:cubicBezTo>
                      <a:pt x="246" y="0"/>
                      <a:pt x="233" y="12"/>
                      <a:pt x="223" y="29"/>
                    </a:cubicBezTo>
                    <a:cubicBezTo>
                      <a:pt x="187" y="102"/>
                      <a:pt x="141" y="188"/>
                      <a:pt x="102" y="261"/>
                    </a:cubicBezTo>
                    <a:cubicBezTo>
                      <a:pt x="100" y="244"/>
                      <a:pt x="85" y="186"/>
                      <a:pt x="85" y="186"/>
                    </a:cubicBezTo>
                    <a:cubicBezTo>
                      <a:pt x="81" y="165"/>
                      <a:pt x="45" y="133"/>
                      <a:pt x="20" y="135"/>
                    </a:cubicBezTo>
                    <a:cubicBezTo>
                      <a:pt x="0" y="135"/>
                      <a:pt x="16" y="173"/>
                      <a:pt x="20" y="196"/>
                    </a:cubicBezTo>
                    <a:cubicBezTo>
                      <a:pt x="33" y="277"/>
                      <a:pt x="37" y="354"/>
                      <a:pt x="50" y="434"/>
                    </a:cubicBezTo>
                    <a:cubicBezTo>
                      <a:pt x="50" y="448"/>
                      <a:pt x="52" y="459"/>
                      <a:pt x="56" y="471"/>
                    </a:cubicBezTo>
                    <a:cubicBezTo>
                      <a:pt x="58" y="477"/>
                      <a:pt x="62" y="484"/>
                      <a:pt x="64" y="488"/>
                    </a:cubicBezTo>
                    <a:cubicBezTo>
                      <a:pt x="75" y="503"/>
                      <a:pt x="89" y="519"/>
                      <a:pt x="106" y="528"/>
                    </a:cubicBezTo>
                    <a:cubicBezTo>
                      <a:pt x="156" y="553"/>
                      <a:pt x="216" y="536"/>
                      <a:pt x="244" y="490"/>
                    </a:cubicBezTo>
                    <a:cubicBezTo>
                      <a:pt x="244" y="490"/>
                      <a:pt x="246" y="488"/>
                      <a:pt x="246" y="486"/>
                    </a:cubicBezTo>
                    <a:cubicBezTo>
                      <a:pt x="335" y="357"/>
                      <a:pt x="335" y="357"/>
                      <a:pt x="335" y="357"/>
                    </a:cubicBezTo>
                    <a:cubicBezTo>
                      <a:pt x="342" y="340"/>
                      <a:pt x="323" y="306"/>
                      <a:pt x="306" y="29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prstClr val="black"/>
                  </a:solidFill>
                  <a:latin typeface="NotesStyle-Medium" pitchFamily="2" charset="0"/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1905703" y="-1268457"/>
              <a:ext cx="792000" cy="792000"/>
              <a:chOff x="1301691" y="-1022413"/>
              <a:chExt cx="792000" cy="792000"/>
            </a:xfrm>
          </p:grpSpPr>
          <p:sp>
            <p:nvSpPr>
              <p:cNvPr id="55" name="Rectangle 54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NotesStyle-Medium" pitchFamily="2" charset="0"/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301691" y="-1022413"/>
                <a:ext cx="792000" cy="79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00">
                  <a:solidFill>
                    <a:prstClr val="white"/>
                  </a:solidFill>
                  <a:latin typeface="NotesStyle-Medium" pitchFamily="2" charset="0"/>
                </a:endParaRPr>
              </a:p>
            </p:txBody>
          </p:sp>
        </p:grpSp>
      </p:grpSp>
      <p:grpSp>
        <p:nvGrpSpPr>
          <p:cNvPr id="59" name="Group 58"/>
          <p:cNvGrpSpPr/>
          <p:nvPr/>
        </p:nvGrpSpPr>
        <p:grpSpPr>
          <a:xfrm>
            <a:off x="-24064" y="415513"/>
            <a:ext cx="792000" cy="792000"/>
            <a:chOff x="4157632" y="-1925840"/>
            <a:chExt cx="792000" cy="792000"/>
          </a:xfrm>
        </p:grpSpPr>
        <p:sp>
          <p:nvSpPr>
            <p:cNvPr id="60" name="Freeform 18"/>
            <p:cNvSpPr>
              <a:spLocks noEditPoints="1"/>
            </p:cNvSpPr>
            <p:nvPr/>
          </p:nvSpPr>
          <p:spPr bwMode="auto">
            <a:xfrm>
              <a:off x="4192824" y="-1783661"/>
              <a:ext cx="721616" cy="507642"/>
            </a:xfrm>
            <a:custGeom>
              <a:avLst/>
              <a:gdLst>
                <a:gd name="T0" fmla="*/ 152 w 435"/>
                <a:gd name="T1" fmla="*/ 253 h 305"/>
                <a:gd name="T2" fmla="*/ 141 w 435"/>
                <a:gd name="T3" fmla="*/ 284 h 305"/>
                <a:gd name="T4" fmla="*/ 65 w 435"/>
                <a:gd name="T5" fmla="*/ 298 h 305"/>
                <a:gd name="T6" fmla="*/ 63 w 435"/>
                <a:gd name="T7" fmla="*/ 299 h 305"/>
                <a:gd name="T8" fmla="*/ 2 w 435"/>
                <a:gd name="T9" fmla="*/ 265 h 305"/>
                <a:gd name="T10" fmla="*/ 2 w 435"/>
                <a:gd name="T11" fmla="*/ 236 h 305"/>
                <a:gd name="T12" fmla="*/ 5 w 435"/>
                <a:gd name="T13" fmla="*/ 227 h 305"/>
                <a:gd name="T14" fmla="*/ 16 w 435"/>
                <a:gd name="T15" fmla="*/ 213 h 305"/>
                <a:gd name="T16" fmla="*/ 88 w 435"/>
                <a:gd name="T17" fmla="*/ 120 h 305"/>
                <a:gd name="T18" fmla="*/ 109 w 435"/>
                <a:gd name="T19" fmla="*/ 99 h 305"/>
                <a:gd name="T20" fmla="*/ 114 w 435"/>
                <a:gd name="T21" fmla="*/ 138 h 305"/>
                <a:gd name="T22" fmla="*/ 94 w 435"/>
                <a:gd name="T23" fmla="*/ 170 h 305"/>
                <a:gd name="T24" fmla="*/ 216 w 435"/>
                <a:gd name="T25" fmla="*/ 132 h 305"/>
                <a:gd name="T26" fmla="*/ 237 w 435"/>
                <a:gd name="T27" fmla="*/ 139 h 305"/>
                <a:gd name="T28" fmla="*/ 225 w 435"/>
                <a:gd name="T29" fmla="*/ 159 h 305"/>
                <a:gd name="T30" fmla="*/ 139 w 435"/>
                <a:gd name="T31" fmla="*/ 190 h 305"/>
                <a:gd name="T32" fmla="*/ 152 w 435"/>
                <a:gd name="T33" fmla="*/ 253 h 305"/>
                <a:gd name="T34" fmla="*/ 435 w 435"/>
                <a:gd name="T35" fmla="*/ 0 h 305"/>
                <a:gd name="T36" fmla="*/ 435 w 435"/>
                <a:gd name="T37" fmla="*/ 269 h 305"/>
                <a:gd name="T38" fmla="*/ 172 w 435"/>
                <a:gd name="T39" fmla="*/ 269 h 305"/>
                <a:gd name="T40" fmla="*/ 171 w 435"/>
                <a:gd name="T41" fmla="*/ 248 h 305"/>
                <a:gd name="T42" fmla="*/ 165 w 435"/>
                <a:gd name="T43" fmla="*/ 217 h 305"/>
                <a:gd name="T44" fmla="*/ 383 w 435"/>
                <a:gd name="T45" fmla="*/ 217 h 305"/>
                <a:gd name="T46" fmla="*/ 383 w 435"/>
                <a:gd name="T47" fmla="*/ 52 h 305"/>
                <a:gd name="T48" fmla="*/ 101 w 435"/>
                <a:gd name="T49" fmla="*/ 52 h 305"/>
                <a:gd name="T50" fmla="*/ 101 w 435"/>
                <a:gd name="T51" fmla="*/ 77 h 305"/>
                <a:gd name="T52" fmla="*/ 76 w 435"/>
                <a:gd name="T53" fmla="*/ 101 h 305"/>
                <a:gd name="T54" fmla="*/ 72 w 435"/>
                <a:gd name="T55" fmla="*/ 108 h 305"/>
                <a:gd name="T56" fmla="*/ 49 w 435"/>
                <a:gd name="T57" fmla="*/ 137 h 305"/>
                <a:gd name="T58" fmla="*/ 49 w 435"/>
                <a:gd name="T59" fmla="*/ 0 h 305"/>
                <a:gd name="T60" fmla="*/ 435 w 435"/>
                <a:gd name="T61" fmla="*/ 0 h 305"/>
                <a:gd name="T62" fmla="*/ 268 w 435"/>
                <a:gd name="T63" fmla="*/ 235 h 305"/>
                <a:gd name="T64" fmla="*/ 217 w 435"/>
                <a:gd name="T65" fmla="*/ 235 h 305"/>
                <a:gd name="T66" fmla="*/ 217 w 435"/>
                <a:gd name="T67" fmla="*/ 251 h 305"/>
                <a:gd name="T68" fmla="*/ 268 w 435"/>
                <a:gd name="T69" fmla="*/ 251 h 305"/>
                <a:gd name="T70" fmla="*/ 268 w 435"/>
                <a:gd name="T71" fmla="*/ 23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5" h="305">
                  <a:moveTo>
                    <a:pt x="152" y="253"/>
                  </a:moveTo>
                  <a:cubicBezTo>
                    <a:pt x="154" y="262"/>
                    <a:pt x="149" y="281"/>
                    <a:pt x="141" y="284"/>
                  </a:cubicBezTo>
                  <a:cubicBezTo>
                    <a:pt x="141" y="284"/>
                    <a:pt x="141" y="284"/>
                    <a:pt x="65" y="298"/>
                  </a:cubicBezTo>
                  <a:cubicBezTo>
                    <a:pt x="65" y="299"/>
                    <a:pt x="63" y="299"/>
                    <a:pt x="63" y="299"/>
                  </a:cubicBezTo>
                  <a:cubicBezTo>
                    <a:pt x="37" y="305"/>
                    <a:pt x="11" y="291"/>
                    <a:pt x="2" y="265"/>
                  </a:cubicBezTo>
                  <a:cubicBezTo>
                    <a:pt x="0" y="256"/>
                    <a:pt x="0" y="245"/>
                    <a:pt x="2" y="236"/>
                  </a:cubicBezTo>
                  <a:cubicBezTo>
                    <a:pt x="2" y="234"/>
                    <a:pt x="3" y="230"/>
                    <a:pt x="5" y="227"/>
                  </a:cubicBezTo>
                  <a:cubicBezTo>
                    <a:pt x="8" y="222"/>
                    <a:pt x="11" y="218"/>
                    <a:pt x="16" y="213"/>
                  </a:cubicBezTo>
                  <a:cubicBezTo>
                    <a:pt x="39" y="180"/>
                    <a:pt x="65" y="152"/>
                    <a:pt x="88" y="120"/>
                  </a:cubicBezTo>
                  <a:cubicBezTo>
                    <a:pt x="95" y="110"/>
                    <a:pt x="102" y="91"/>
                    <a:pt x="109" y="99"/>
                  </a:cubicBezTo>
                  <a:cubicBezTo>
                    <a:pt x="118" y="106"/>
                    <a:pt x="120" y="130"/>
                    <a:pt x="114" y="138"/>
                  </a:cubicBezTo>
                  <a:cubicBezTo>
                    <a:pt x="114" y="138"/>
                    <a:pt x="99" y="164"/>
                    <a:pt x="94" y="170"/>
                  </a:cubicBezTo>
                  <a:cubicBezTo>
                    <a:pt x="133" y="158"/>
                    <a:pt x="178" y="144"/>
                    <a:pt x="216" y="132"/>
                  </a:cubicBezTo>
                  <a:cubicBezTo>
                    <a:pt x="225" y="129"/>
                    <a:pt x="234" y="130"/>
                    <a:pt x="237" y="139"/>
                  </a:cubicBezTo>
                  <a:cubicBezTo>
                    <a:pt x="240" y="147"/>
                    <a:pt x="235" y="158"/>
                    <a:pt x="225" y="159"/>
                  </a:cubicBezTo>
                  <a:cubicBezTo>
                    <a:pt x="196" y="169"/>
                    <a:pt x="168" y="181"/>
                    <a:pt x="139" y="190"/>
                  </a:cubicBezTo>
                  <a:cubicBezTo>
                    <a:pt x="139" y="190"/>
                    <a:pt x="139" y="190"/>
                    <a:pt x="152" y="253"/>
                  </a:cubicBezTo>
                  <a:close/>
                  <a:moveTo>
                    <a:pt x="435" y="0"/>
                  </a:moveTo>
                  <a:cubicBezTo>
                    <a:pt x="435" y="269"/>
                    <a:pt x="435" y="269"/>
                    <a:pt x="435" y="269"/>
                  </a:cubicBezTo>
                  <a:cubicBezTo>
                    <a:pt x="172" y="269"/>
                    <a:pt x="172" y="269"/>
                    <a:pt x="172" y="269"/>
                  </a:cubicBezTo>
                  <a:cubicBezTo>
                    <a:pt x="173" y="261"/>
                    <a:pt x="173" y="254"/>
                    <a:pt x="171" y="248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383" y="217"/>
                    <a:pt x="383" y="217"/>
                    <a:pt x="383" y="217"/>
                  </a:cubicBezTo>
                  <a:cubicBezTo>
                    <a:pt x="383" y="52"/>
                    <a:pt x="383" y="52"/>
                    <a:pt x="383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77"/>
                    <a:pt x="101" y="77"/>
                    <a:pt x="101" y="77"/>
                  </a:cubicBezTo>
                  <a:cubicBezTo>
                    <a:pt x="89" y="80"/>
                    <a:pt x="81" y="92"/>
                    <a:pt x="76" y="101"/>
                  </a:cubicBezTo>
                  <a:cubicBezTo>
                    <a:pt x="75" y="104"/>
                    <a:pt x="73" y="106"/>
                    <a:pt x="72" y="108"/>
                  </a:cubicBezTo>
                  <a:cubicBezTo>
                    <a:pt x="65" y="118"/>
                    <a:pt x="57" y="128"/>
                    <a:pt x="49" y="137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35" y="0"/>
                  </a:lnTo>
                  <a:close/>
                  <a:moveTo>
                    <a:pt x="268" y="235"/>
                  </a:moveTo>
                  <a:cubicBezTo>
                    <a:pt x="217" y="235"/>
                    <a:pt x="217" y="235"/>
                    <a:pt x="217" y="235"/>
                  </a:cubicBezTo>
                  <a:cubicBezTo>
                    <a:pt x="217" y="251"/>
                    <a:pt x="217" y="251"/>
                    <a:pt x="217" y="251"/>
                  </a:cubicBezTo>
                  <a:cubicBezTo>
                    <a:pt x="268" y="251"/>
                    <a:pt x="268" y="251"/>
                    <a:pt x="268" y="251"/>
                  </a:cubicBezTo>
                  <a:lnTo>
                    <a:pt x="268" y="2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41" tIns="149154" rIns="186441" bIns="1491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45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gradFill>
                  <a:gsLst>
                    <a:gs pos="1770">
                      <a:srgbClr val="FFFFFF"/>
                    </a:gs>
                    <a:gs pos="25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4157632" y="-192584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1428588" y="415513"/>
            <a:ext cx="792000" cy="792000"/>
            <a:chOff x="3562031" y="-1608736"/>
            <a:chExt cx="792000" cy="792000"/>
          </a:xfrm>
        </p:grpSpPr>
        <p:pic>
          <p:nvPicPr>
            <p:cNvPr id="63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10" cstate="print">
              <a:lum bright="100000"/>
            </a:blip>
            <a:srcRect l="2000" t="50000" r="46000" b="4000"/>
            <a:stretch>
              <a:fillRect/>
            </a:stretch>
          </p:blipFill>
          <p:spPr bwMode="auto">
            <a:xfrm>
              <a:off x="3574640" y="-1551888"/>
              <a:ext cx="766782" cy="67830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4" name="Rectangle 63"/>
            <p:cNvSpPr/>
            <p:nvPr/>
          </p:nvSpPr>
          <p:spPr>
            <a:xfrm>
              <a:off x="3562031" y="-16087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65" name="Picture 5" descr="\\MAGNUM\Projects\Microsoft\Cloud Power FY12\Design\ICONS_PNG\Increase.png"/>
          <p:cNvPicPr>
            <a:picLocks noChangeAspect="1" noChangeArrowheads="1"/>
          </p:cNvPicPr>
          <p:nvPr/>
        </p:nvPicPr>
        <p:blipFill rotWithShape="1">
          <a:blip r:embed="rId11" cstate="print">
            <a:lum bright="100000"/>
          </a:blip>
          <a:srcRect l="12615" t="13604" r="12615" b="11625"/>
          <a:stretch/>
        </p:blipFill>
        <p:spPr bwMode="auto">
          <a:xfrm>
            <a:off x="8163193" y="2482127"/>
            <a:ext cx="792000" cy="792000"/>
          </a:xfrm>
          <a:prstGeom prst="rect">
            <a:avLst/>
          </a:prstGeom>
          <a:noFill/>
        </p:spPr>
      </p:pic>
      <p:grpSp>
        <p:nvGrpSpPr>
          <p:cNvPr id="4" name="Group 3"/>
          <p:cNvGrpSpPr/>
          <p:nvPr/>
        </p:nvGrpSpPr>
        <p:grpSpPr>
          <a:xfrm>
            <a:off x="8281902" y="4516054"/>
            <a:ext cx="792000" cy="792000"/>
            <a:chOff x="5480319" y="2026822"/>
            <a:chExt cx="792000" cy="792000"/>
          </a:xfrm>
        </p:grpSpPr>
        <p:grpSp>
          <p:nvGrpSpPr>
            <p:cNvPr id="67" name="Group 66"/>
            <p:cNvGrpSpPr/>
            <p:nvPr/>
          </p:nvGrpSpPr>
          <p:grpSpPr>
            <a:xfrm>
              <a:off x="5522701" y="2069206"/>
              <a:ext cx="707236" cy="707232"/>
              <a:chOff x="10062884" y="1347709"/>
              <a:chExt cx="792000" cy="791997"/>
            </a:xfrm>
          </p:grpSpPr>
          <p:grpSp>
            <p:nvGrpSpPr>
              <p:cNvPr id="69" name="Group 68"/>
              <p:cNvGrpSpPr/>
              <p:nvPr/>
            </p:nvGrpSpPr>
            <p:grpSpPr>
              <a:xfrm>
                <a:off x="10062884" y="1347709"/>
                <a:ext cx="792000" cy="519107"/>
                <a:chOff x="3411259" y="4349090"/>
                <a:chExt cx="1040755" cy="640302"/>
              </a:xfrm>
            </p:grpSpPr>
            <p:sp>
              <p:nvSpPr>
                <p:cNvPr id="71" name="Oval 70"/>
                <p:cNvSpPr/>
                <p:nvPr/>
              </p:nvSpPr>
              <p:spPr>
                <a:xfrm>
                  <a:off x="3411259" y="4857089"/>
                  <a:ext cx="62554" cy="64769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" name="Oval 71"/>
                <p:cNvSpPr/>
                <p:nvPr/>
              </p:nvSpPr>
              <p:spPr>
                <a:xfrm>
                  <a:off x="3475653" y="4603092"/>
                  <a:ext cx="62554" cy="64769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" name="Oval 72"/>
                <p:cNvSpPr/>
                <p:nvPr/>
              </p:nvSpPr>
              <p:spPr>
                <a:xfrm>
                  <a:off x="3659639" y="4425289"/>
                  <a:ext cx="62554" cy="64769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" name="Oval 73"/>
                <p:cNvSpPr/>
                <p:nvPr/>
              </p:nvSpPr>
              <p:spPr>
                <a:xfrm>
                  <a:off x="3908024" y="4349090"/>
                  <a:ext cx="62554" cy="64769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" name="Oval 74"/>
                <p:cNvSpPr/>
                <p:nvPr/>
              </p:nvSpPr>
              <p:spPr>
                <a:xfrm>
                  <a:off x="4168674" y="4425289"/>
                  <a:ext cx="62554" cy="64769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6" name="Oval 75"/>
                <p:cNvSpPr/>
                <p:nvPr/>
              </p:nvSpPr>
              <p:spPr>
                <a:xfrm>
                  <a:off x="4325063" y="4603090"/>
                  <a:ext cx="62554" cy="64768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7" name="Oval 76"/>
                <p:cNvSpPr/>
                <p:nvPr/>
              </p:nvSpPr>
              <p:spPr>
                <a:xfrm>
                  <a:off x="4389460" y="4857090"/>
                  <a:ext cx="62554" cy="64768"/>
                </a:xfrm>
                <a:prstGeom prst="ellipse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8" name="Down Arrow 77"/>
                <p:cNvSpPr/>
                <p:nvPr/>
              </p:nvSpPr>
              <p:spPr>
                <a:xfrm rot="14705180">
                  <a:off x="4031055" y="4660640"/>
                  <a:ext cx="72715" cy="307644"/>
                </a:xfrm>
                <a:prstGeom prst="downArrow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9" name="Oval 78"/>
                <p:cNvSpPr/>
                <p:nvPr/>
              </p:nvSpPr>
              <p:spPr>
                <a:xfrm>
                  <a:off x="3843628" y="4802003"/>
                  <a:ext cx="180982" cy="187389"/>
                </a:xfrm>
                <a:prstGeom prst="ellipse">
                  <a:avLst/>
                </a:prstGeom>
                <a:solidFill>
                  <a:schemeClr val="bg1"/>
                </a:solidFill>
                <a:ln w="25400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497">
                    <a:defRPr/>
                  </a:pPr>
                  <a:endParaRPr lang="en-US" sz="900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70" name="Pie 69"/>
              <p:cNvSpPr/>
              <p:nvPr/>
            </p:nvSpPr>
            <p:spPr>
              <a:xfrm rot="10800000">
                <a:off x="10168248" y="1468823"/>
                <a:ext cx="565504" cy="670883"/>
              </a:xfrm>
              <a:prstGeom prst="pie">
                <a:avLst>
                  <a:gd name="adj1" fmla="val 0"/>
                  <a:gd name="adj2" fmla="val 1080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497">
                  <a:defRPr/>
                </a:pPr>
                <a:r>
                  <a:rPr lang="en-US" sz="900" kern="0" dirty="0">
                    <a:solidFill>
                      <a:srgbClr val="FFFFFF"/>
                    </a:solidFill>
                    <a:latin typeface="Calibri" panose="020F0502020204030204"/>
                  </a:rPr>
                  <a:t> </a:t>
                </a:r>
              </a:p>
            </p:txBody>
          </p:sp>
        </p:grpSp>
        <p:sp>
          <p:nvSpPr>
            <p:cNvPr id="68" name="Rectangle 67"/>
            <p:cNvSpPr/>
            <p:nvPr/>
          </p:nvSpPr>
          <p:spPr>
            <a:xfrm>
              <a:off x="5480319" y="202682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7201858" y="4228022"/>
            <a:ext cx="792000" cy="792000"/>
            <a:chOff x="9936796" y="493252"/>
            <a:chExt cx="792000" cy="792000"/>
          </a:xfrm>
        </p:grpSpPr>
        <p:sp>
          <p:nvSpPr>
            <p:cNvPr id="81" name="Rectangle 135"/>
            <p:cNvSpPr/>
            <p:nvPr>
              <p:custDataLst>
                <p:tags r:id="rId2"/>
              </p:custDataLst>
            </p:nvPr>
          </p:nvSpPr>
          <p:spPr bwMode="auto">
            <a:xfrm>
              <a:off x="9948276" y="553196"/>
              <a:ext cx="769041" cy="672112"/>
            </a:xfrm>
            <a:custGeom>
              <a:avLst/>
              <a:gdLst/>
              <a:ahLst/>
              <a:cxnLst/>
              <a:rect l="l" t="t" r="r" b="b"/>
              <a:pathLst>
                <a:path w="4691327" h="4100037">
                  <a:moveTo>
                    <a:pt x="1582367" y="2785348"/>
                  </a:moveTo>
                  <a:lnTo>
                    <a:pt x="1582367" y="2787595"/>
                  </a:lnTo>
                  <a:lnTo>
                    <a:pt x="1580874" y="2787377"/>
                  </a:lnTo>
                  <a:cubicBezTo>
                    <a:pt x="1581426" y="2786751"/>
                    <a:pt x="1581977" y="2786122"/>
                    <a:pt x="1582367" y="2785348"/>
                  </a:cubicBezTo>
                  <a:close/>
                  <a:moveTo>
                    <a:pt x="4094790" y="2627448"/>
                  </a:moveTo>
                  <a:lnTo>
                    <a:pt x="4094790" y="3108960"/>
                  </a:lnTo>
                  <a:lnTo>
                    <a:pt x="4599887" y="3108960"/>
                  </a:lnTo>
                  <a:lnTo>
                    <a:pt x="4599887" y="2627448"/>
                  </a:lnTo>
                  <a:close/>
                  <a:moveTo>
                    <a:pt x="3425924" y="2627448"/>
                  </a:moveTo>
                  <a:lnTo>
                    <a:pt x="3425924" y="3108960"/>
                  </a:lnTo>
                  <a:lnTo>
                    <a:pt x="4049070" y="3108960"/>
                  </a:lnTo>
                  <a:lnTo>
                    <a:pt x="4049070" y="2627448"/>
                  </a:lnTo>
                  <a:close/>
                  <a:moveTo>
                    <a:pt x="2757057" y="2627448"/>
                  </a:moveTo>
                  <a:lnTo>
                    <a:pt x="2757057" y="3108960"/>
                  </a:lnTo>
                  <a:lnTo>
                    <a:pt x="3380204" y="3108960"/>
                  </a:lnTo>
                  <a:lnTo>
                    <a:pt x="3380204" y="2627448"/>
                  </a:lnTo>
                  <a:close/>
                  <a:moveTo>
                    <a:pt x="4094790" y="1975514"/>
                  </a:moveTo>
                  <a:lnTo>
                    <a:pt x="4094790" y="2581729"/>
                  </a:lnTo>
                  <a:lnTo>
                    <a:pt x="4599887" y="2581729"/>
                  </a:lnTo>
                  <a:lnTo>
                    <a:pt x="4599887" y="1975514"/>
                  </a:lnTo>
                  <a:close/>
                  <a:moveTo>
                    <a:pt x="3425924" y="1975514"/>
                  </a:moveTo>
                  <a:lnTo>
                    <a:pt x="3425924" y="2581729"/>
                  </a:lnTo>
                  <a:lnTo>
                    <a:pt x="4049070" y="2581729"/>
                  </a:lnTo>
                  <a:lnTo>
                    <a:pt x="4049070" y="1975514"/>
                  </a:lnTo>
                  <a:close/>
                  <a:moveTo>
                    <a:pt x="2757057" y="1975514"/>
                  </a:moveTo>
                  <a:lnTo>
                    <a:pt x="2757057" y="2581729"/>
                  </a:lnTo>
                  <a:lnTo>
                    <a:pt x="3380204" y="2581729"/>
                  </a:lnTo>
                  <a:lnTo>
                    <a:pt x="3380204" y="1975514"/>
                  </a:lnTo>
                  <a:close/>
                  <a:moveTo>
                    <a:pt x="2613376" y="1975514"/>
                  </a:moveTo>
                  <a:lnTo>
                    <a:pt x="2388162" y="2544127"/>
                  </a:lnTo>
                  <a:lnTo>
                    <a:pt x="2114917" y="2034166"/>
                  </a:lnTo>
                  <a:lnTo>
                    <a:pt x="2088190" y="2049962"/>
                  </a:lnTo>
                  <a:lnTo>
                    <a:pt x="2088190" y="2581729"/>
                  </a:lnTo>
                  <a:lnTo>
                    <a:pt x="2711337" y="2581729"/>
                  </a:lnTo>
                  <a:lnTo>
                    <a:pt x="2711337" y="1975514"/>
                  </a:lnTo>
                  <a:close/>
                  <a:moveTo>
                    <a:pt x="1629418" y="1975514"/>
                  </a:moveTo>
                  <a:cubicBezTo>
                    <a:pt x="1639758" y="2026787"/>
                    <a:pt x="1644652" y="2080347"/>
                    <a:pt x="1644652" y="2135347"/>
                  </a:cubicBezTo>
                  <a:cubicBezTo>
                    <a:pt x="1644652" y="2304623"/>
                    <a:pt x="1598296" y="2460257"/>
                    <a:pt x="1518386" y="2581729"/>
                  </a:cubicBezTo>
                  <a:lnTo>
                    <a:pt x="2042470" y="2581729"/>
                  </a:lnTo>
                  <a:lnTo>
                    <a:pt x="2042470" y="2076984"/>
                  </a:lnTo>
                  <a:lnTo>
                    <a:pt x="1776889" y="2233951"/>
                  </a:lnTo>
                  <a:cubicBezTo>
                    <a:pt x="1785074" y="2148768"/>
                    <a:pt x="1783436" y="2061033"/>
                    <a:pt x="1768701" y="1975514"/>
                  </a:cubicBezTo>
                  <a:close/>
                  <a:moveTo>
                    <a:pt x="2711337" y="1728187"/>
                  </a:moveTo>
                  <a:lnTo>
                    <a:pt x="2631485" y="1929795"/>
                  </a:lnTo>
                  <a:lnTo>
                    <a:pt x="2711337" y="1929795"/>
                  </a:lnTo>
                  <a:close/>
                  <a:moveTo>
                    <a:pt x="2854838" y="1365881"/>
                  </a:moveTo>
                  <a:lnTo>
                    <a:pt x="2757057" y="1612755"/>
                  </a:lnTo>
                  <a:lnTo>
                    <a:pt x="2757057" y="1929795"/>
                  </a:lnTo>
                  <a:lnTo>
                    <a:pt x="3380204" y="1929795"/>
                  </a:lnTo>
                  <a:lnTo>
                    <a:pt x="3380204" y="1462108"/>
                  </a:lnTo>
                  <a:close/>
                  <a:moveTo>
                    <a:pt x="4094790" y="1323581"/>
                  </a:moveTo>
                  <a:lnTo>
                    <a:pt x="4094790" y="1929795"/>
                  </a:lnTo>
                  <a:lnTo>
                    <a:pt x="4599887" y="1929795"/>
                  </a:lnTo>
                  <a:lnTo>
                    <a:pt x="4599887" y="1323581"/>
                  </a:lnTo>
                  <a:close/>
                  <a:moveTo>
                    <a:pt x="3658828" y="1323581"/>
                  </a:moveTo>
                  <a:lnTo>
                    <a:pt x="3475649" y="1479590"/>
                  </a:lnTo>
                  <a:lnTo>
                    <a:pt x="3425924" y="1470482"/>
                  </a:lnTo>
                  <a:lnTo>
                    <a:pt x="3425924" y="1929795"/>
                  </a:lnTo>
                  <a:lnTo>
                    <a:pt x="4049070" y="1929795"/>
                  </a:lnTo>
                  <a:lnTo>
                    <a:pt x="4049070" y="1323581"/>
                  </a:lnTo>
                  <a:close/>
                  <a:moveTo>
                    <a:pt x="2088190" y="1323581"/>
                  </a:moveTo>
                  <a:lnTo>
                    <a:pt x="2088190" y="1772170"/>
                  </a:lnTo>
                  <a:lnTo>
                    <a:pt x="2225476" y="1693945"/>
                  </a:lnTo>
                  <a:lnTo>
                    <a:pt x="2353492" y="1929795"/>
                  </a:lnTo>
                  <a:lnTo>
                    <a:pt x="2356664" y="1929795"/>
                  </a:lnTo>
                  <a:lnTo>
                    <a:pt x="2594992" y="1323581"/>
                  </a:lnTo>
                  <a:close/>
                  <a:moveTo>
                    <a:pt x="4049070" y="991222"/>
                  </a:moveTo>
                  <a:lnTo>
                    <a:pt x="3712509" y="1277862"/>
                  </a:lnTo>
                  <a:lnTo>
                    <a:pt x="4049070" y="1277862"/>
                  </a:lnTo>
                  <a:close/>
                  <a:moveTo>
                    <a:pt x="4389416" y="671648"/>
                  </a:moveTo>
                  <a:lnTo>
                    <a:pt x="4275516" y="1195186"/>
                  </a:lnTo>
                  <a:lnTo>
                    <a:pt x="4094790" y="1020866"/>
                  </a:lnTo>
                  <a:lnTo>
                    <a:pt x="4094790" y="1277862"/>
                  </a:lnTo>
                  <a:lnTo>
                    <a:pt x="4599887" y="1277862"/>
                  </a:lnTo>
                  <a:lnTo>
                    <a:pt x="4599887" y="671648"/>
                  </a:lnTo>
                  <a:close/>
                  <a:moveTo>
                    <a:pt x="3425924" y="671648"/>
                  </a:moveTo>
                  <a:lnTo>
                    <a:pt x="3425924" y="1208929"/>
                  </a:lnTo>
                  <a:lnTo>
                    <a:pt x="3889749" y="845120"/>
                  </a:lnTo>
                  <a:lnTo>
                    <a:pt x="3657017" y="671648"/>
                  </a:lnTo>
                  <a:close/>
                  <a:moveTo>
                    <a:pt x="2757057" y="671648"/>
                  </a:moveTo>
                  <a:lnTo>
                    <a:pt x="2757057" y="1119643"/>
                  </a:lnTo>
                  <a:lnTo>
                    <a:pt x="3380204" y="1230168"/>
                  </a:lnTo>
                  <a:lnTo>
                    <a:pt x="3380204" y="671648"/>
                  </a:lnTo>
                  <a:close/>
                  <a:moveTo>
                    <a:pt x="2088190" y="671648"/>
                  </a:moveTo>
                  <a:lnTo>
                    <a:pt x="2088190" y="1277862"/>
                  </a:lnTo>
                  <a:lnTo>
                    <a:pt x="2612966" y="1277862"/>
                  </a:lnTo>
                  <a:lnTo>
                    <a:pt x="2680506" y="1106065"/>
                  </a:lnTo>
                  <a:lnTo>
                    <a:pt x="2711337" y="1111533"/>
                  </a:lnTo>
                  <a:lnTo>
                    <a:pt x="2711337" y="671648"/>
                  </a:lnTo>
                  <a:close/>
                  <a:moveTo>
                    <a:pt x="1582367" y="671648"/>
                  </a:moveTo>
                  <a:lnTo>
                    <a:pt x="1582367" y="1277862"/>
                  </a:lnTo>
                  <a:lnTo>
                    <a:pt x="2042470" y="1277862"/>
                  </a:lnTo>
                  <a:lnTo>
                    <a:pt x="2042470" y="671648"/>
                  </a:lnTo>
                  <a:close/>
                  <a:moveTo>
                    <a:pt x="4094790" y="91440"/>
                  </a:moveTo>
                  <a:lnTo>
                    <a:pt x="4094790" y="558797"/>
                  </a:lnTo>
                  <a:lnTo>
                    <a:pt x="4428087" y="493901"/>
                  </a:lnTo>
                  <a:lnTo>
                    <a:pt x="4399363" y="625929"/>
                  </a:lnTo>
                  <a:lnTo>
                    <a:pt x="4599887" y="625929"/>
                  </a:lnTo>
                  <a:lnTo>
                    <a:pt x="4599887" y="91440"/>
                  </a:lnTo>
                  <a:close/>
                  <a:moveTo>
                    <a:pt x="3425924" y="91440"/>
                  </a:moveTo>
                  <a:lnTo>
                    <a:pt x="3425924" y="625929"/>
                  </a:lnTo>
                  <a:lnTo>
                    <a:pt x="3750013" y="625929"/>
                  </a:lnTo>
                  <a:lnTo>
                    <a:pt x="4049070" y="567699"/>
                  </a:lnTo>
                  <a:lnTo>
                    <a:pt x="4049070" y="91440"/>
                  </a:lnTo>
                  <a:close/>
                  <a:moveTo>
                    <a:pt x="2757057" y="91440"/>
                  </a:moveTo>
                  <a:lnTo>
                    <a:pt x="2757057" y="625929"/>
                  </a:lnTo>
                  <a:lnTo>
                    <a:pt x="3380204" y="625929"/>
                  </a:lnTo>
                  <a:lnTo>
                    <a:pt x="3380204" y="91440"/>
                  </a:lnTo>
                  <a:close/>
                  <a:moveTo>
                    <a:pt x="2088190" y="91440"/>
                  </a:moveTo>
                  <a:lnTo>
                    <a:pt x="2088190" y="625929"/>
                  </a:lnTo>
                  <a:lnTo>
                    <a:pt x="2711337" y="625929"/>
                  </a:lnTo>
                  <a:lnTo>
                    <a:pt x="2711337" y="91440"/>
                  </a:lnTo>
                  <a:close/>
                  <a:moveTo>
                    <a:pt x="1582367" y="91440"/>
                  </a:moveTo>
                  <a:lnTo>
                    <a:pt x="1582367" y="625929"/>
                  </a:lnTo>
                  <a:lnTo>
                    <a:pt x="2042470" y="625929"/>
                  </a:lnTo>
                  <a:lnTo>
                    <a:pt x="2042470" y="91440"/>
                  </a:lnTo>
                  <a:close/>
                  <a:moveTo>
                    <a:pt x="1490927" y="0"/>
                  </a:moveTo>
                  <a:lnTo>
                    <a:pt x="4691327" y="0"/>
                  </a:lnTo>
                  <a:lnTo>
                    <a:pt x="4691327" y="625929"/>
                  </a:lnTo>
                  <a:lnTo>
                    <a:pt x="4691327" y="671648"/>
                  </a:lnTo>
                  <a:lnTo>
                    <a:pt x="4691327" y="1277862"/>
                  </a:lnTo>
                  <a:lnTo>
                    <a:pt x="4691327" y="1323581"/>
                  </a:lnTo>
                  <a:lnTo>
                    <a:pt x="4691327" y="1929795"/>
                  </a:lnTo>
                  <a:lnTo>
                    <a:pt x="4691327" y="1975514"/>
                  </a:lnTo>
                  <a:lnTo>
                    <a:pt x="4691327" y="2581729"/>
                  </a:lnTo>
                  <a:lnTo>
                    <a:pt x="4691327" y="2627448"/>
                  </a:lnTo>
                  <a:lnTo>
                    <a:pt x="4691327" y="3200400"/>
                  </a:lnTo>
                  <a:lnTo>
                    <a:pt x="2265945" y="3200400"/>
                  </a:lnTo>
                  <a:lnTo>
                    <a:pt x="2221585" y="3108960"/>
                  </a:lnTo>
                  <a:lnTo>
                    <a:pt x="2711337" y="3108960"/>
                  </a:lnTo>
                  <a:lnTo>
                    <a:pt x="2711337" y="2627448"/>
                  </a:lnTo>
                  <a:lnTo>
                    <a:pt x="2088190" y="2627448"/>
                  </a:lnTo>
                  <a:lnTo>
                    <a:pt x="2088190" y="3126664"/>
                  </a:lnTo>
                  <a:lnTo>
                    <a:pt x="2127250" y="3185637"/>
                  </a:lnTo>
                  <a:cubicBezTo>
                    <a:pt x="2112463" y="3397912"/>
                    <a:pt x="2131414" y="3623954"/>
                    <a:pt x="2127250" y="4100037"/>
                  </a:cubicBezTo>
                  <a:lnTo>
                    <a:pt x="0" y="4093687"/>
                  </a:lnTo>
                  <a:cubicBezTo>
                    <a:pt x="2117" y="3815345"/>
                    <a:pt x="4233" y="3537004"/>
                    <a:pt x="6350" y="3258662"/>
                  </a:cubicBezTo>
                  <a:cubicBezTo>
                    <a:pt x="19050" y="3045937"/>
                    <a:pt x="355600" y="2914174"/>
                    <a:pt x="590550" y="2880837"/>
                  </a:cubicBezTo>
                  <a:cubicBezTo>
                    <a:pt x="663575" y="2939575"/>
                    <a:pt x="784225" y="3014187"/>
                    <a:pt x="822325" y="3058637"/>
                  </a:cubicBezTo>
                  <a:lnTo>
                    <a:pt x="742950" y="3204687"/>
                  </a:lnTo>
                  <a:lnTo>
                    <a:pt x="831850" y="3287237"/>
                  </a:lnTo>
                  <a:lnTo>
                    <a:pt x="752475" y="3382487"/>
                  </a:lnTo>
                  <a:lnTo>
                    <a:pt x="946150" y="3833337"/>
                  </a:lnTo>
                  <a:lnTo>
                    <a:pt x="1009650" y="3147537"/>
                  </a:lnTo>
                  <a:lnTo>
                    <a:pt x="930275" y="3061812"/>
                  </a:lnTo>
                  <a:lnTo>
                    <a:pt x="1066800" y="2937987"/>
                  </a:lnTo>
                  <a:lnTo>
                    <a:pt x="1200150" y="3080862"/>
                  </a:lnTo>
                  <a:lnTo>
                    <a:pt x="1111250" y="3147537"/>
                  </a:lnTo>
                  <a:lnTo>
                    <a:pt x="1187450" y="3807937"/>
                  </a:lnTo>
                  <a:lnTo>
                    <a:pt x="1393825" y="3376137"/>
                  </a:lnTo>
                  <a:lnTo>
                    <a:pt x="1301750" y="3284062"/>
                  </a:lnTo>
                  <a:lnTo>
                    <a:pt x="1390650" y="3198337"/>
                  </a:lnTo>
                  <a:lnTo>
                    <a:pt x="1311275" y="3052287"/>
                  </a:lnTo>
                  <a:cubicBezTo>
                    <a:pt x="1380067" y="2997254"/>
                    <a:pt x="1495954" y="2912587"/>
                    <a:pt x="1549400" y="2877662"/>
                  </a:cubicBezTo>
                  <a:cubicBezTo>
                    <a:pt x="1658370" y="2895470"/>
                    <a:pt x="1901881" y="2951670"/>
                    <a:pt x="2042470" y="3079725"/>
                  </a:cubicBezTo>
                  <a:lnTo>
                    <a:pt x="2042470" y="2627448"/>
                  </a:lnTo>
                  <a:lnTo>
                    <a:pt x="1490927" y="2627448"/>
                  </a:lnTo>
                  <a:lnTo>
                    <a:pt x="1490927" y="2623662"/>
                  </a:lnTo>
                  <a:cubicBezTo>
                    <a:pt x="1388006" y="2766629"/>
                    <a:pt x="1238810" y="2855438"/>
                    <a:pt x="1073152" y="2855438"/>
                  </a:cubicBezTo>
                  <a:cubicBezTo>
                    <a:pt x="757521" y="2855438"/>
                    <a:pt x="501652" y="2533042"/>
                    <a:pt x="501652" y="2135347"/>
                  </a:cubicBezTo>
                  <a:cubicBezTo>
                    <a:pt x="501652" y="1737652"/>
                    <a:pt x="757521" y="1415256"/>
                    <a:pt x="1073152" y="1415256"/>
                  </a:cubicBezTo>
                  <a:cubicBezTo>
                    <a:pt x="1331911" y="1415256"/>
                    <a:pt x="1550504" y="1631937"/>
                    <a:pt x="1618154" y="1929795"/>
                  </a:cubicBezTo>
                  <a:lnTo>
                    <a:pt x="1811555" y="1929795"/>
                  </a:lnTo>
                  <a:lnTo>
                    <a:pt x="2042470" y="1798221"/>
                  </a:lnTo>
                  <a:lnTo>
                    <a:pt x="2042470" y="1323581"/>
                  </a:lnTo>
                  <a:lnTo>
                    <a:pt x="1582367" y="1323581"/>
                  </a:lnTo>
                  <a:lnTo>
                    <a:pt x="1582367" y="1580210"/>
                  </a:lnTo>
                  <a:cubicBezTo>
                    <a:pt x="1557308" y="1549114"/>
                    <a:pt x="1526744" y="1522013"/>
                    <a:pt x="1490927" y="1499564"/>
                  </a:cubicBezTo>
                  <a:lnTo>
                    <a:pt x="1490927" y="1323581"/>
                  </a:lnTo>
                  <a:lnTo>
                    <a:pt x="1490927" y="1277862"/>
                  </a:lnTo>
                  <a:lnTo>
                    <a:pt x="1490927" y="671648"/>
                  </a:lnTo>
                  <a:lnTo>
                    <a:pt x="1490927" y="62592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9936796" y="4932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7308392" y="3363926"/>
            <a:ext cx="792000" cy="792000"/>
            <a:chOff x="10332640" y="1563187"/>
            <a:chExt cx="792000" cy="792000"/>
          </a:xfrm>
        </p:grpSpPr>
        <p:sp>
          <p:nvSpPr>
            <p:cNvPr id="84" name="Rectangle 135"/>
            <p:cNvSpPr/>
            <p:nvPr>
              <p:custDataLst>
                <p:tags r:id="rId1"/>
              </p:custDataLst>
            </p:nvPr>
          </p:nvSpPr>
          <p:spPr bwMode="auto">
            <a:xfrm>
              <a:off x="10350640" y="158118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4486492" h="4486492">
                  <a:moveTo>
                    <a:pt x="3115020" y="3115652"/>
                  </a:moveTo>
                  <a:lnTo>
                    <a:pt x="3115020" y="4358307"/>
                  </a:lnTo>
                  <a:lnTo>
                    <a:pt x="4358306" y="4358307"/>
                  </a:lnTo>
                  <a:lnTo>
                    <a:pt x="4358306" y="3115652"/>
                  </a:lnTo>
                  <a:close/>
                  <a:moveTo>
                    <a:pt x="1473659" y="3115652"/>
                  </a:moveTo>
                  <a:lnTo>
                    <a:pt x="1473659" y="4358307"/>
                  </a:lnTo>
                  <a:lnTo>
                    <a:pt x="3012833" y="4358307"/>
                  </a:lnTo>
                  <a:lnTo>
                    <a:pt x="3012833" y="3115652"/>
                  </a:lnTo>
                  <a:close/>
                  <a:moveTo>
                    <a:pt x="128186" y="3115652"/>
                  </a:moveTo>
                  <a:lnTo>
                    <a:pt x="128186" y="4358307"/>
                  </a:lnTo>
                  <a:lnTo>
                    <a:pt x="1371472" y="4358307"/>
                  </a:lnTo>
                  <a:lnTo>
                    <a:pt x="1371472" y="3115652"/>
                  </a:lnTo>
                  <a:close/>
                  <a:moveTo>
                    <a:pt x="1473659" y="2755431"/>
                  </a:moveTo>
                  <a:lnTo>
                    <a:pt x="1473659" y="3013467"/>
                  </a:lnTo>
                  <a:lnTo>
                    <a:pt x="1793547" y="3013467"/>
                  </a:lnTo>
                  <a:close/>
                  <a:moveTo>
                    <a:pt x="963448" y="2343871"/>
                  </a:moveTo>
                  <a:lnTo>
                    <a:pt x="330177" y="3013467"/>
                  </a:lnTo>
                  <a:lnTo>
                    <a:pt x="1371472" y="3013467"/>
                  </a:lnTo>
                  <a:lnTo>
                    <a:pt x="1371472" y="2673002"/>
                  </a:lnTo>
                  <a:close/>
                  <a:moveTo>
                    <a:pt x="3012833" y="1906434"/>
                  </a:moveTo>
                  <a:lnTo>
                    <a:pt x="2010377" y="3013467"/>
                  </a:lnTo>
                  <a:lnTo>
                    <a:pt x="3012833" y="3013467"/>
                  </a:lnTo>
                  <a:close/>
                  <a:moveTo>
                    <a:pt x="3386427" y="1493866"/>
                  </a:moveTo>
                  <a:lnTo>
                    <a:pt x="3115020" y="1793586"/>
                  </a:lnTo>
                  <a:lnTo>
                    <a:pt x="3115020" y="3013467"/>
                  </a:lnTo>
                  <a:lnTo>
                    <a:pt x="4358306" y="3013467"/>
                  </a:lnTo>
                  <a:lnTo>
                    <a:pt x="4358306" y="2522701"/>
                  </a:lnTo>
                  <a:close/>
                  <a:moveTo>
                    <a:pt x="3801600" y="1473023"/>
                  </a:moveTo>
                  <a:lnTo>
                    <a:pt x="4358306" y="2069204"/>
                  </a:lnTo>
                  <a:lnTo>
                    <a:pt x="4358306" y="1473023"/>
                  </a:lnTo>
                  <a:close/>
                  <a:moveTo>
                    <a:pt x="1473659" y="1473023"/>
                  </a:moveTo>
                  <a:lnTo>
                    <a:pt x="1473659" y="2383401"/>
                  </a:lnTo>
                  <a:lnTo>
                    <a:pt x="1820355" y="2695206"/>
                  </a:lnTo>
                  <a:lnTo>
                    <a:pt x="2954285" y="1473023"/>
                  </a:lnTo>
                  <a:close/>
                  <a:moveTo>
                    <a:pt x="128186" y="1473023"/>
                  </a:moveTo>
                  <a:lnTo>
                    <a:pt x="128186" y="2789526"/>
                  </a:lnTo>
                  <a:lnTo>
                    <a:pt x="963448" y="1924535"/>
                  </a:lnTo>
                  <a:lnTo>
                    <a:pt x="1371472" y="2291497"/>
                  </a:lnTo>
                  <a:lnTo>
                    <a:pt x="1371472" y="1473023"/>
                  </a:lnTo>
                  <a:close/>
                  <a:moveTo>
                    <a:pt x="3115020" y="128186"/>
                  </a:moveTo>
                  <a:lnTo>
                    <a:pt x="3115020" y="1299778"/>
                  </a:lnTo>
                  <a:lnTo>
                    <a:pt x="3376578" y="1017863"/>
                  </a:lnTo>
                  <a:lnTo>
                    <a:pt x="3706181" y="1370838"/>
                  </a:lnTo>
                  <a:lnTo>
                    <a:pt x="4358306" y="1370838"/>
                  </a:lnTo>
                  <a:lnTo>
                    <a:pt x="4358306" y="128186"/>
                  </a:lnTo>
                  <a:close/>
                  <a:moveTo>
                    <a:pt x="1473659" y="128186"/>
                  </a:moveTo>
                  <a:lnTo>
                    <a:pt x="1473659" y="1370838"/>
                  </a:lnTo>
                  <a:lnTo>
                    <a:pt x="3012833" y="1370838"/>
                  </a:lnTo>
                  <a:lnTo>
                    <a:pt x="3012833" y="128186"/>
                  </a:lnTo>
                  <a:close/>
                  <a:moveTo>
                    <a:pt x="128186" y="128186"/>
                  </a:moveTo>
                  <a:lnTo>
                    <a:pt x="128186" y="1370838"/>
                  </a:lnTo>
                  <a:lnTo>
                    <a:pt x="1371472" y="1370838"/>
                  </a:lnTo>
                  <a:lnTo>
                    <a:pt x="1371472" y="128186"/>
                  </a:lnTo>
                  <a:close/>
                  <a:moveTo>
                    <a:pt x="0" y="0"/>
                  </a:moveTo>
                  <a:lnTo>
                    <a:pt x="4486492" y="0"/>
                  </a:lnTo>
                  <a:lnTo>
                    <a:pt x="4486492" y="4486492"/>
                  </a:lnTo>
                  <a:lnTo>
                    <a:pt x="0" y="448649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0332640" y="15631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8155997" y="1685494"/>
            <a:ext cx="792000" cy="792000"/>
            <a:chOff x="10082667" y="1750000"/>
            <a:chExt cx="792000" cy="792000"/>
          </a:xfrm>
        </p:grpSpPr>
        <p:sp>
          <p:nvSpPr>
            <p:cNvPr id="87" name="Freeform 15"/>
            <p:cNvSpPr>
              <a:spLocks noEditPoints="1"/>
            </p:cNvSpPr>
            <p:nvPr/>
          </p:nvSpPr>
          <p:spPr bwMode="black">
            <a:xfrm>
              <a:off x="10118667" y="1786000"/>
              <a:ext cx="720000" cy="720000"/>
            </a:xfrm>
            <a:custGeom>
              <a:avLst/>
              <a:gdLst>
                <a:gd name="T0" fmla="*/ 455 w 708"/>
                <a:gd name="T1" fmla="*/ 121 h 709"/>
                <a:gd name="T2" fmla="*/ 392 w 708"/>
                <a:gd name="T3" fmla="*/ 121 h 709"/>
                <a:gd name="T4" fmla="*/ 392 w 708"/>
                <a:gd name="T5" fmla="*/ 206 h 709"/>
                <a:gd name="T6" fmla="*/ 316 w 708"/>
                <a:gd name="T7" fmla="*/ 206 h 709"/>
                <a:gd name="T8" fmla="*/ 316 w 708"/>
                <a:gd name="T9" fmla="*/ 121 h 709"/>
                <a:gd name="T10" fmla="*/ 250 w 708"/>
                <a:gd name="T11" fmla="*/ 121 h 709"/>
                <a:gd name="T12" fmla="*/ 354 w 708"/>
                <a:gd name="T13" fmla="*/ 0 h 709"/>
                <a:gd name="T14" fmla="*/ 455 w 708"/>
                <a:gd name="T15" fmla="*/ 121 h 709"/>
                <a:gd name="T16" fmla="*/ 205 w 708"/>
                <a:gd name="T17" fmla="*/ 371 h 709"/>
                <a:gd name="T18" fmla="*/ 139 w 708"/>
                <a:gd name="T19" fmla="*/ 371 h 709"/>
                <a:gd name="T20" fmla="*/ 139 w 708"/>
                <a:gd name="T21" fmla="*/ 456 h 709"/>
                <a:gd name="T22" fmla="*/ 63 w 708"/>
                <a:gd name="T23" fmla="*/ 456 h 709"/>
                <a:gd name="T24" fmla="*/ 63 w 708"/>
                <a:gd name="T25" fmla="*/ 371 h 709"/>
                <a:gd name="T26" fmla="*/ 0 w 708"/>
                <a:gd name="T27" fmla="*/ 371 h 709"/>
                <a:gd name="T28" fmla="*/ 101 w 708"/>
                <a:gd name="T29" fmla="*/ 251 h 709"/>
                <a:gd name="T30" fmla="*/ 205 w 708"/>
                <a:gd name="T31" fmla="*/ 371 h 709"/>
                <a:gd name="T32" fmla="*/ 205 w 708"/>
                <a:gd name="T33" fmla="*/ 503 h 709"/>
                <a:gd name="T34" fmla="*/ 0 w 708"/>
                <a:gd name="T35" fmla="*/ 503 h 709"/>
                <a:gd name="T36" fmla="*/ 0 w 708"/>
                <a:gd name="T37" fmla="*/ 709 h 709"/>
                <a:gd name="T38" fmla="*/ 205 w 708"/>
                <a:gd name="T39" fmla="*/ 709 h 709"/>
                <a:gd name="T40" fmla="*/ 205 w 708"/>
                <a:gd name="T41" fmla="*/ 503 h 709"/>
                <a:gd name="T42" fmla="*/ 708 w 708"/>
                <a:gd name="T43" fmla="*/ 503 h 709"/>
                <a:gd name="T44" fmla="*/ 503 w 708"/>
                <a:gd name="T45" fmla="*/ 503 h 709"/>
                <a:gd name="T46" fmla="*/ 503 w 708"/>
                <a:gd name="T47" fmla="*/ 709 h 709"/>
                <a:gd name="T48" fmla="*/ 708 w 708"/>
                <a:gd name="T49" fmla="*/ 709 h 709"/>
                <a:gd name="T50" fmla="*/ 708 w 708"/>
                <a:gd name="T51" fmla="*/ 503 h 709"/>
                <a:gd name="T52" fmla="*/ 708 w 708"/>
                <a:gd name="T53" fmla="*/ 0 h 709"/>
                <a:gd name="T54" fmla="*/ 503 w 708"/>
                <a:gd name="T55" fmla="*/ 0 h 709"/>
                <a:gd name="T56" fmla="*/ 503 w 708"/>
                <a:gd name="T57" fmla="*/ 206 h 709"/>
                <a:gd name="T58" fmla="*/ 708 w 708"/>
                <a:gd name="T59" fmla="*/ 206 h 709"/>
                <a:gd name="T60" fmla="*/ 708 w 708"/>
                <a:gd name="T61" fmla="*/ 0 h 709"/>
                <a:gd name="T62" fmla="*/ 708 w 708"/>
                <a:gd name="T63" fmla="*/ 251 h 709"/>
                <a:gd name="T64" fmla="*/ 503 w 708"/>
                <a:gd name="T65" fmla="*/ 251 h 709"/>
                <a:gd name="T66" fmla="*/ 503 w 708"/>
                <a:gd name="T67" fmla="*/ 456 h 709"/>
                <a:gd name="T68" fmla="*/ 708 w 708"/>
                <a:gd name="T69" fmla="*/ 456 h 709"/>
                <a:gd name="T70" fmla="*/ 708 w 708"/>
                <a:gd name="T71" fmla="*/ 251 h 709"/>
                <a:gd name="T72" fmla="*/ 455 w 708"/>
                <a:gd name="T73" fmla="*/ 251 h 709"/>
                <a:gd name="T74" fmla="*/ 250 w 708"/>
                <a:gd name="T75" fmla="*/ 251 h 709"/>
                <a:gd name="T76" fmla="*/ 250 w 708"/>
                <a:gd name="T77" fmla="*/ 456 h 709"/>
                <a:gd name="T78" fmla="*/ 455 w 708"/>
                <a:gd name="T79" fmla="*/ 456 h 709"/>
                <a:gd name="T80" fmla="*/ 455 w 708"/>
                <a:gd name="T81" fmla="*/ 251 h 709"/>
                <a:gd name="T82" fmla="*/ 455 w 708"/>
                <a:gd name="T83" fmla="*/ 503 h 709"/>
                <a:gd name="T84" fmla="*/ 250 w 708"/>
                <a:gd name="T85" fmla="*/ 503 h 709"/>
                <a:gd name="T86" fmla="*/ 250 w 708"/>
                <a:gd name="T87" fmla="*/ 709 h 709"/>
                <a:gd name="T88" fmla="*/ 455 w 708"/>
                <a:gd name="T89" fmla="*/ 709 h 709"/>
                <a:gd name="T90" fmla="*/ 455 w 708"/>
                <a:gd name="T91" fmla="*/ 5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8" h="709">
                  <a:moveTo>
                    <a:pt x="455" y="121"/>
                  </a:moveTo>
                  <a:lnTo>
                    <a:pt x="392" y="121"/>
                  </a:lnTo>
                  <a:lnTo>
                    <a:pt x="392" y="206"/>
                  </a:lnTo>
                  <a:lnTo>
                    <a:pt x="316" y="206"/>
                  </a:lnTo>
                  <a:lnTo>
                    <a:pt x="316" y="121"/>
                  </a:lnTo>
                  <a:lnTo>
                    <a:pt x="250" y="121"/>
                  </a:lnTo>
                  <a:lnTo>
                    <a:pt x="354" y="0"/>
                  </a:lnTo>
                  <a:lnTo>
                    <a:pt x="455" y="121"/>
                  </a:lnTo>
                  <a:close/>
                  <a:moveTo>
                    <a:pt x="205" y="371"/>
                  </a:moveTo>
                  <a:lnTo>
                    <a:pt x="139" y="371"/>
                  </a:lnTo>
                  <a:lnTo>
                    <a:pt x="139" y="456"/>
                  </a:lnTo>
                  <a:lnTo>
                    <a:pt x="63" y="456"/>
                  </a:lnTo>
                  <a:lnTo>
                    <a:pt x="63" y="371"/>
                  </a:lnTo>
                  <a:lnTo>
                    <a:pt x="0" y="371"/>
                  </a:lnTo>
                  <a:lnTo>
                    <a:pt x="101" y="251"/>
                  </a:lnTo>
                  <a:lnTo>
                    <a:pt x="205" y="371"/>
                  </a:lnTo>
                  <a:close/>
                  <a:moveTo>
                    <a:pt x="205" y="503"/>
                  </a:moveTo>
                  <a:lnTo>
                    <a:pt x="0" y="503"/>
                  </a:lnTo>
                  <a:lnTo>
                    <a:pt x="0" y="709"/>
                  </a:lnTo>
                  <a:lnTo>
                    <a:pt x="205" y="709"/>
                  </a:lnTo>
                  <a:lnTo>
                    <a:pt x="205" y="503"/>
                  </a:lnTo>
                  <a:close/>
                  <a:moveTo>
                    <a:pt x="708" y="503"/>
                  </a:moveTo>
                  <a:lnTo>
                    <a:pt x="503" y="503"/>
                  </a:lnTo>
                  <a:lnTo>
                    <a:pt x="503" y="709"/>
                  </a:lnTo>
                  <a:lnTo>
                    <a:pt x="708" y="709"/>
                  </a:lnTo>
                  <a:lnTo>
                    <a:pt x="708" y="503"/>
                  </a:lnTo>
                  <a:close/>
                  <a:moveTo>
                    <a:pt x="708" y="0"/>
                  </a:moveTo>
                  <a:lnTo>
                    <a:pt x="503" y="0"/>
                  </a:lnTo>
                  <a:lnTo>
                    <a:pt x="503" y="206"/>
                  </a:lnTo>
                  <a:lnTo>
                    <a:pt x="708" y="206"/>
                  </a:lnTo>
                  <a:lnTo>
                    <a:pt x="708" y="0"/>
                  </a:lnTo>
                  <a:close/>
                  <a:moveTo>
                    <a:pt x="708" y="251"/>
                  </a:moveTo>
                  <a:lnTo>
                    <a:pt x="503" y="251"/>
                  </a:lnTo>
                  <a:lnTo>
                    <a:pt x="503" y="456"/>
                  </a:lnTo>
                  <a:lnTo>
                    <a:pt x="708" y="456"/>
                  </a:lnTo>
                  <a:lnTo>
                    <a:pt x="708" y="251"/>
                  </a:lnTo>
                  <a:close/>
                  <a:moveTo>
                    <a:pt x="455" y="251"/>
                  </a:moveTo>
                  <a:lnTo>
                    <a:pt x="250" y="251"/>
                  </a:lnTo>
                  <a:lnTo>
                    <a:pt x="250" y="456"/>
                  </a:lnTo>
                  <a:lnTo>
                    <a:pt x="455" y="456"/>
                  </a:lnTo>
                  <a:lnTo>
                    <a:pt x="455" y="251"/>
                  </a:lnTo>
                  <a:close/>
                  <a:moveTo>
                    <a:pt x="455" y="503"/>
                  </a:moveTo>
                  <a:lnTo>
                    <a:pt x="250" y="503"/>
                  </a:lnTo>
                  <a:lnTo>
                    <a:pt x="250" y="709"/>
                  </a:lnTo>
                  <a:lnTo>
                    <a:pt x="455" y="709"/>
                  </a:lnTo>
                  <a:lnTo>
                    <a:pt x="455" y="50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NotesStyle-Medium" pitchFamily="2" charset="0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10082667" y="175000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8269800" y="3418169"/>
            <a:ext cx="792000" cy="792000"/>
            <a:chOff x="9732796" y="1108367"/>
            <a:chExt cx="792000" cy="792000"/>
          </a:xfrm>
        </p:grpSpPr>
        <p:sp>
          <p:nvSpPr>
            <p:cNvPr id="90" name="Freeform 11"/>
            <p:cNvSpPr>
              <a:spLocks noEditPoints="1"/>
            </p:cNvSpPr>
            <p:nvPr/>
          </p:nvSpPr>
          <p:spPr bwMode="black">
            <a:xfrm>
              <a:off x="9768796" y="1144367"/>
              <a:ext cx="720000" cy="720000"/>
            </a:xfrm>
            <a:custGeom>
              <a:avLst/>
              <a:gdLst>
                <a:gd name="T0" fmla="*/ 213 w 709"/>
                <a:gd name="T1" fmla="*/ 522 h 709"/>
                <a:gd name="T2" fmla="*/ 213 w 709"/>
                <a:gd name="T3" fmla="*/ 709 h 709"/>
                <a:gd name="T4" fmla="*/ 0 w 709"/>
                <a:gd name="T5" fmla="*/ 709 h 709"/>
                <a:gd name="T6" fmla="*/ 0 w 709"/>
                <a:gd name="T7" fmla="*/ 496 h 709"/>
                <a:gd name="T8" fmla="*/ 88 w 709"/>
                <a:gd name="T9" fmla="*/ 496 h 709"/>
                <a:gd name="T10" fmla="*/ 67 w 709"/>
                <a:gd name="T11" fmla="*/ 522 h 709"/>
                <a:gd name="T12" fmla="*/ 213 w 709"/>
                <a:gd name="T13" fmla="*/ 522 h 709"/>
                <a:gd name="T14" fmla="*/ 619 w 709"/>
                <a:gd name="T15" fmla="*/ 496 h 709"/>
                <a:gd name="T16" fmla="*/ 643 w 709"/>
                <a:gd name="T17" fmla="*/ 522 h 709"/>
                <a:gd name="T18" fmla="*/ 496 w 709"/>
                <a:gd name="T19" fmla="*/ 522 h 709"/>
                <a:gd name="T20" fmla="*/ 496 w 709"/>
                <a:gd name="T21" fmla="*/ 709 h 709"/>
                <a:gd name="T22" fmla="*/ 709 w 709"/>
                <a:gd name="T23" fmla="*/ 709 h 709"/>
                <a:gd name="T24" fmla="*/ 709 w 709"/>
                <a:gd name="T25" fmla="*/ 496 h 709"/>
                <a:gd name="T26" fmla="*/ 619 w 709"/>
                <a:gd name="T27" fmla="*/ 496 h 709"/>
                <a:gd name="T28" fmla="*/ 355 w 709"/>
                <a:gd name="T29" fmla="*/ 182 h 709"/>
                <a:gd name="T30" fmla="*/ 381 w 709"/>
                <a:gd name="T31" fmla="*/ 213 h 709"/>
                <a:gd name="T32" fmla="*/ 461 w 709"/>
                <a:gd name="T33" fmla="*/ 213 h 709"/>
                <a:gd name="T34" fmla="*/ 461 w 709"/>
                <a:gd name="T35" fmla="*/ 0 h 709"/>
                <a:gd name="T36" fmla="*/ 248 w 709"/>
                <a:gd name="T37" fmla="*/ 0 h 709"/>
                <a:gd name="T38" fmla="*/ 248 w 709"/>
                <a:gd name="T39" fmla="*/ 213 h 709"/>
                <a:gd name="T40" fmla="*/ 329 w 709"/>
                <a:gd name="T41" fmla="*/ 213 h 709"/>
                <a:gd name="T42" fmla="*/ 355 w 709"/>
                <a:gd name="T43" fmla="*/ 182 h 709"/>
                <a:gd name="T44" fmla="*/ 123 w 709"/>
                <a:gd name="T45" fmla="*/ 248 h 709"/>
                <a:gd name="T46" fmla="*/ 123 w 709"/>
                <a:gd name="T47" fmla="*/ 454 h 709"/>
                <a:gd name="T48" fmla="*/ 298 w 709"/>
                <a:gd name="T49" fmla="*/ 248 h 709"/>
                <a:gd name="T50" fmla="*/ 123 w 709"/>
                <a:gd name="T51" fmla="*/ 248 h 709"/>
                <a:gd name="T52" fmla="*/ 355 w 709"/>
                <a:gd name="T53" fmla="*/ 225 h 709"/>
                <a:gd name="T54" fmla="*/ 128 w 709"/>
                <a:gd name="T55" fmla="*/ 494 h 709"/>
                <a:gd name="T56" fmla="*/ 248 w 709"/>
                <a:gd name="T57" fmla="*/ 494 h 709"/>
                <a:gd name="T58" fmla="*/ 248 w 709"/>
                <a:gd name="T59" fmla="*/ 709 h 709"/>
                <a:gd name="T60" fmla="*/ 461 w 709"/>
                <a:gd name="T61" fmla="*/ 709 h 709"/>
                <a:gd name="T62" fmla="*/ 461 w 709"/>
                <a:gd name="T63" fmla="*/ 494 h 709"/>
                <a:gd name="T64" fmla="*/ 581 w 709"/>
                <a:gd name="T65" fmla="*/ 494 h 709"/>
                <a:gd name="T66" fmla="*/ 355 w 709"/>
                <a:gd name="T67" fmla="*/ 225 h 709"/>
                <a:gd name="T68" fmla="*/ 584 w 709"/>
                <a:gd name="T69" fmla="*/ 248 h 709"/>
                <a:gd name="T70" fmla="*/ 411 w 709"/>
                <a:gd name="T71" fmla="*/ 248 h 709"/>
                <a:gd name="T72" fmla="*/ 584 w 709"/>
                <a:gd name="T73" fmla="*/ 454 h 709"/>
                <a:gd name="T74" fmla="*/ 584 w 709"/>
                <a:gd name="T75" fmla="*/ 248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09" h="709">
                  <a:moveTo>
                    <a:pt x="213" y="522"/>
                  </a:moveTo>
                  <a:lnTo>
                    <a:pt x="213" y="709"/>
                  </a:lnTo>
                  <a:lnTo>
                    <a:pt x="0" y="709"/>
                  </a:lnTo>
                  <a:lnTo>
                    <a:pt x="0" y="496"/>
                  </a:lnTo>
                  <a:lnTo>
                    <a:pt x="88" y="496"/>
                  </a:lnTo>
                  <a:lnTo>
                    <a:pt x="67" y="522"/>
                  </a:lnTo>
                  <a:lnTo>
                    <a:pt x="213" y="522"/>
                  </a:lnTo>
                  <a:close/>
                  <a:moveTo>
                    <a:pt x="619" y="496"/>
                  </a:moveTo>
                  <a:lnTo>
                    <a:pt x="643" y="522"/>
                  </a:lnTo>
                  <a:lnTo>
                    <a:pt x="496" y="522"/>
                  </a:lnTo>
                  <a:lnTo>
                    <a:pt x="496" y="709"/>
                  </a:lnTo>
                  <a:lnTo>
                    <a:pt x="709" y="709"/>
                  </a:lnTo>
                  <a:lnTo>
                    <a:pt x="709" y="496"/>
                  </a:lnTo>
                  <a:lnTo>
                    <a:pt x="619" y="496"/>
                  </a:lnTo>
                  <a:close/>
                  <a:moveTo>
                    <a:pt x="355" y="182"/>
                  </a:moveTo>
                  <a:lnTo>
                    <a:pt x="381" y="213"/>
                  </a:lnTo>
                  <a:lnTo>
                    <a:pt x="461" y="213"/>
                  </a:lnTo>
                  <a:lnTo>
                    <a:pt x="461" y="0"/>
                  </a:lnTo>
                  <a:lnTo>
                    <a:pt x="248" y="0"/>
                  </a:lnTo>
                  <a:lnTo>
                    <a:pt x="248" y="213"/>
                  </a:lnTo>
                  <a:lnTo>
                    <a:pt x="329" y="213"/>
                  </a:lnTo>
                  <a:lnTo>
                    <a:pt x="355" y="182"/>
                  </a:lnTo>
                  <a:close/>
                  <a:moveTo>
                    <a:pt x="123" y="248"/>
                  </a:moveTo>
                  <a:lnTo>
                    <a:pt x="123" y="454"/>
                  </a:lnTo>
                  <a:lnTo>
                    <a:pt x="298" y="248"/>
                  </a:lnTo>
                  <a:lnTo>
                    <a:pt x="123" y="248"/>
                  </a:lnTo>
                  <a:close/>
                  <a:moveTo>
                    <a:pt x="355" y="225"/>
                  </a:moveTo>
                  <a:lnTo>
                    <a:pt x="128" y="494"/>
                  </a:lnTo>
                  <a:lnTo>
                    <a:pt x="248" y="494"/>
                  </a:lnTo>
                  <a:lnTo>
                    <a:pt x="248" y="709"/>
                  </a:lnTo>
                  <a:lnTo>
                    <a:pt x="461" y="709"/>
                  </a:lnTo>
                  <a:lnTo>
                    <a:pt x="461" y="494"/>
                  </a:lnTo>
                  <a:lnTo>
                    <a:pt x="581" y="494"/>
                  </a:lnTo>
                  <a:lnTo>
                    <a:pt x="355" y="225"/>
                  </a:lnTo>
                  <a:close/>
                  <a:moveTo>
                    <a:pt x="584" y="248"/>
                  </a:moveTo>
                  <a:lnTo>
                    <a:pt x="411" y="248"/>
                  </a:lnTo>
                  <a:lnTo>
                    <a:pt x="584" y="454"/>
                  </a:lnTo>
                  <a:lnTo>
                    <a:pt x="584" y="2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prstClr val="black"/>
                </a:solidFill>
                <a:latin typeface="NotesStyle-Medium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9732796" y="110836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92" name="Picture 4" descr="\\MAGNUM\Projects\Microsoft\Cloud Power FY12\Design\ICONS_PNG\Smart_phone.png"/>
          <p:cNvPicPr>
            <a:picLocks noChangeAspect="1" noChangeArrowheads="1"/>
          </p:cNvPicPr>
          <p:nvPr/>
        </p:nvPicPr>
        <p:blipFill>
          <a:blip r:embed="rId12" cstate="print">
            <a:lum bright="100000"/>
          </a:blip>
          <a:srcRect/>
          <a:stretch>
            <a:fillRect/>
          </a:stretch>
        </p:blipFill>
        <p:spPr bwMode="auto">
          <a:xfrm>
            <a:off x="1490597" y="2742512"/>
            <a:ext cx="792000" cy="792000"/>
          </a:xfrm>
          <a:prstGeom prst="rect">
            <a:avLst/>
          </a:prstGeom>
          <a:noFill/>
        </p:spPr>
      </p:pic>
      <p:pic>
        <p:nvPicPr>
          <p:cNvPr id="93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122" y="417633"/>
            <a:ext cx="756000" cy="75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4" name="Freeform 78"/>
          <p:cNvSpPr>
            <a:spLocks noEditPoints="1"/>
          </p:cNvSpPr>
          <p:nvPr/>
        </p:nvSpPr>
        <p:spPr bwMode="auto">
          <a:xfrm>
            <a:off x="702678" y="1186329"/>
            <a:ext cx="792000" cy="790357"/>
          </a:xfrm>
          <a:custGeom>
            <a:avLst/>
            <a:gdLst>
              <a:gd name="T0" fmla="*/ 1448 w 2291"/>
              <a:gd name="T1" fmla="*/ 923 h 2197"/>
              <a:gd name="T2" fmla="*/ 1464 w 2291"/>
              <a:gd name="T3" fmla="*/ 1048 h 2197"/>
              <a:gd name="T4" fmla="*/ 1622 w 2291"/>
              <a:gd name="T5" fmla="*/ 1225 h 2197"/>
              <a:gd name="T6" fmla="*/ 1522 w 2291"/>
              <a:gd name="T7" fmla="*/ 1149 h 2197"/>
              <a:gd name="T8" fmla="*/ 1622 w 2291"/>
              <a:gd name="T9" fmla="*/ 1225 h 2197"/>
              <a:gd name="T10" fmla="*/ 769 w 2291"/>
              <a:gd name="T11" fmla="*/ 1149 h 2197"/>
              <a:gd name="T12" fmla="*/ 669 w 2291"/>
              <a:gd name="T13" fmla="*/ 1225 h 2197"/>
              <a:gd name="T14" fmla="*/ 828 w 2291"/>
              <a:gd name="T15" fmla="*/ 1048 h 2197"/>
              <a:gd name="T16" fmla="*/ 844 w 2291"/>
              <a:gd name="T17" fmla="*/ 923 h 2197"/>
              <a:gd name="T18" fmla="*/ 828 w 2291"/>
              <a:gd name="T19" fmla="*/ 1048 h 2197"/>
              <a:gd name="T20" fmla="*/ 1390 w 2291"/>
              <a:gd name="T21" fmla="*/ 540 h 2197"/>
              <a:gd name="T22" fmla="*/ 1493 w 2291"/>
              <a:gd name="T23" fmla="*/ 103 h 2197"/>
              <a:gd name="T24" fmla="*/ 902 w 2291"/>
              <a:gd name="T25" fmla="*/ 0 h 2197"/>
              <a:gd name="T26" fmla="*/ 799 w 2291"/>
              <a:gd name="T27" fmla="*/ 437 h 2197"/>
              <a:gd name="T28" fmla="*/ 859 w 2291"/>
              <a:gd name="T29" fmla="*/ 103 h 2197"/>
              <a:gd name="T30" fmla="*/ 1390 w 2291"/>
              <a:gd name="T31" fmla="*/ 60 h 2197"/>
              <a:gd name="T32" fmla="*/ 1433 w 2291"/>
              <a:gd name="T33" fmla="*/ 437 h 2197"/>
              <a:gd name="T34" fmla="*/ 902 w 2291"/>
              <a:gd name="T35" fmla="*/ 480 h 2197"/>
              <a:gd name="T36" fmla="*/ 859 w 2291"/>
              <a:gd name="T37" fmla="*/ 103 h 2197"/>
              <a:gd name="T38" fmla="*/ 1614 w 2291"/>
              <a:gd name="T39" fmla="*/ 824 h 2197"/>
              <a:gd name="T40" fmla="*/ 1640 w 2291"/>
              <a:gd name="T41" fmla="*/ 786 h 2197"/>
              <a:gd name="T42" fmla="*/ 1499 w 2291"/>
              <a:gd name="T43" fmla="*/ 596 h 2197"/>
              <a:gd name="T44" fmla="*/ 835 w 2291"/>
              <a:gd name="T45" fmla="*/ 576 h 2197"/>
              <a:gd name="T46" fmla="*/ 669 w 2291"/>
              <a:gd name="T47" fmla="*/ 741 h 2197"/>
              <a:gd name="T48" fmla="*/ 652 w 2291"/>
              <a:gd name="T49" fmla="*/ 798 h 2197"/>
              <a:gd name="T50" fmla="*/ 1450 w 2291"/>
              <a:gd name="T51" fmla="*/ 1476 h 2197"/>
              <a:gd name="T52" fmla="*/ 1554 w 2291"/>
              <a:gd name="T53" fmla="*/ 1913 h 2197"/>
              <a:gd name="T54" fmla="*/ 2144 w 2291"/>
              <a:gd name="T55" fmla="*/ 1810 h 2197"/>
              <a:gd name="T56" fmla="*/ 2041 w 2291"/>
              <a:gd name="T57" fmla="*/ 1373 h 2197"/>
              <a:gd name="T58" fmla="*/ 1450 w 2291"/>
              <a:gd name="T59" fmla="*/ 1476 h 2197"/>
              <a:gd name="T60" fmla="*/ 2084 w 2291"/>
              <a:gd name="T61" fmla="*/ 1810 h 2197"/>
              <a:gd name="T62" fmla="*/ 1554 w 2291"/>
              <a:gd name="T63" fmla="*/ 1853 h 2197"/>
              <a:gd name="T64" fmla="*/ 1511 w 2291"/>
              <a:gd name="T65" fmla="*/ 1476 h 2197"/>
              <a:gd name="T66" fmla="*/ 2041 w 2291"/>
              <a:gd name="T67" fmla="*/ 1433 h 2197"/>
              <a:gd name="T68" fmla="*/ 2275 w 2291"/>
              <a:gd name="T69" fmla="*/ 2114 h 2197"/>
              <a:gd name="T70" fmla="*/ 2108 w 2291"/>
              <a:gd name="T71" fmla="*/ 1949 h 2197"/>
              <a:gd name="T72" fmla="*/ 1444 w 2291"/>
              <a:gd name="T73" fmla="*/ 1969 h 2197"/>
              <a:gd name="T74" fmla="*/ 1304 w 2291"/>
              <a:gd name="T75" fmla="*/ 2159 h 2197"/>
              <a:gd name="T76" fmla="*/ 1329 w 2291"/>
              <a:gd name="T77" fmla="*/ 2197 h 2197"/>
              <a:gd name="T78" fmla="*/ 2291 w 2291"/>
              <a:gd name="T79" fmla="*/ 2171 h 2197"/>
              <a:gd name="T80" fmla="*/ 2275 w 2291"/>
              <a:gd name="T81" fmla="*/ 2114 h 2197"/>
              <a:gd name="T82" fmla="*/ 738 w 2291"/>
              <a:gd name="T83" fmla="*/ 1913 h 2197"/>
              <a:gd name="T84" fmla="*/ 841 w 2291"/>
              <a:gd name="T85" fmla="*/ 1476 h 2197"/>
              <a:gd name="T86" fmla="*/ 250 w 2291"/>
              <a:gd name="T87" fmla="*/ 1373 h 2197"/>
              <a:gd name="T88" fmla="*/ 147 w 2291"/>
              <a:gd name="T89" fmla="*/ 1810 h 2197"/>
              <a:gd name="T90" fmla="*/ 207 w 2291"/>
              <a:gd name="T91" fmla="*/ 1476 h 2197"/>
              <a:gd name="T92" fmla="*/ 738 w 2291"/>
              <a:gd name="T93" fmla="*/ 1433 h 2197"/>
              <a:gd name="T94" fmla="*/ 781 w 2291"/>
              <a:gd name="T95" fmla="*/ 1810 h 2197"/>
              <a:gd name="T96" fmla="*/ 250 w 2291"/>
              <a:gd name="T97" fmla="*/ 1853 h 2197"/>
              <a:gd name="T98" fmla="*/ 207 w 2291"/>
              <a:gd name="T99" fmla="*/ 1476 h 2197"/>
              <a:gd name="T100" fmla="*/ 805 w 2291"/>
              <a:gd name="T101" fmla="*/ 1949 h 2197"/>
              <a:gd name="T102" fmla="*/ 141 w 2291"/>
              <a:gd name="T103" fmla="*/ 1969 h 2197"/>
              <a:gd name="T104" fmla="*/ 0 w 2291"/>
              <a:gd name="T105" fmla="*/ 2159 h 2197"/>
              <a:gd name="T106" fmla="*/ 26 w 2291"/>
              <a:gd name="T107" fmla="*/ 2197 h 2197"/>
              <a:gd name="T108" fmla="*/ 988 w 2291"/>
              <a:gd name="T109" fmla="*/ 2171 h 2197"/>
              <a:gd name="T110" fmla="*/ 971 w 2291"/>
              <a:gd name="T111" fmla="*/ 2114 h 2197"/>
              <a:gd name="T112" fmla="*/ 971 w 2291"/>
              <a:gd name="T113" fmla="*/ 1659 h 2197"/>
              <a:gd name="T114" fmla="*/ 1088 w 2291"/>
              <a:gd name="T115" fmla="*/ 1610 h 2197"/>
              <a:gd name="T116" fmla="*/ 971 w 2291"/>
              <a:gd name="T117" fmla="*/ 1659 h 2197"/>
              <a:gd name="T118" fmla="*/ 1204 w 2291"/>
              <a:gd name="T119" fmla="*/ 1610 h 2197"/>
              <a:gd name="T120" fmla="*/ 1320 w 2291"/>
              <a:gd name="T121" fmla="*/ 1659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91" h="2197">
                <a:moveTo>
                  <a:pt x="1506" y="1023"/>
                </a:moveTo>
                <a:cubicBezTo>
                  <a:pt x="1448" y="923"/>
                  <a:pt x="1448" y="923"/>
                  <a:pt x="1448" y="923"/>
                </a:cubicBezTo>
                <a:cubicBezTo>
                  <a:pt x="1406" y="947"/>
                  <a:pt x="1406" y="947"/>
                  <a:pt x="1406" y="947"/>
                </a:cubicBezTo>
                <a:cubicBezTo>
                  <a:pt x="1464" y="1048"/>
                  <a:pt x="1464" y="1048"/>
                  <a:pt x="1464" y="1048"/>
                </a:cubicBezTo>
                <a:lnTo>
                  <a:pt x="1506" y="1023"/>
                </a:lnTo>
                <a:close/>
                <a:moveTo>
                  <a:pt x="1622" y="1225"/>
                </a:moveTo>
                <a:cubicBezTo>
                  <a:pt x="1564" y="1124"/>
                  <a:pt x="1564" y="1124"/>
                  <a:pt x="1564" y="1124"/>
                </a:cubicBezTo>
                <a:cubicBezTo>
                  <a:pt x="1522" y="1149"/>
                  <a:pt x="1522" y="1149"/>
                  <a:pt x="1522" y="1149"/>
                </a:cubicBezTo>
                <a:cubicBezTo>
                  <a:pt x="1580" y="1249"/>
                  <a:pt x="1580" y="1249"/>
                  <a:pt x="1580" y="1249"/>
                </a:cubicBezTo>
                <a:lnTo>
                  <a:pt x="1622" y="1225"/>
                </a:lnTo>
                <a:close/>
                <a:moveTo>
                  <a:pt x="711" y="1249"/>
                </a:moveTo>
                <a:cubicBezTo>
                  <a:pt x="769" y="1149"/>
                  <a:pt x="769" y="1149"/>
                  <a:pt x="769" y="1149"/>
                </a:cubicBezTo>
                <a:cubicBezTo>
                  <a:pt x="727" y="1124"/>
                  <a:pt x="727" y="1124"/>
                  <a:pt x="727" y="1124"/>
                </a:cubicBezTo>
                <a:cubicBezTo>
                  <a:pt x="669" y="1225"/>
                  <a:pt x="669" y="1225"/>
                  <a:pt x="669" y="1225"/>
                </a:cubicBezTo>
                <a:lnTo>
                  <a:pt x="711" y="1249"/>
                </a:lnTo>
                <a:close/>
                <a:moveTo>
                  <a:pt x="828" y="1048"/>
                </a:moveTo>
                <a:cubicBezTo>
                  <a:pt x="886" y="947"/>
                  <a:pt x="886" y="947"/>
                  <a:pt x="886" y="947"/>
                </a:cubicBezTo>
                <a:cubicBezTo>
                  <a:pt x="844" y="923"/>
                  <a:pt x="844" y="923"/>
                  <a:pt x="844" y="923"/>
                </a:cubicBezTo>
                <a:cubicBezTo>
                  <a:pt x="786" y="1023"/>
                  <a:pt x="786" y="1023"/>
                  <a:pt x="786" y="1023"/>
                </a:cubicBezTo>
                <a:lnTo>
                  <a:pt x="828" y="1048"/>
                </a:lnTo>
                <a:close/>
                <a:moveTo>
                  <a:pt x="902" y="540"/>
                </a:moveTo>
                <a:cubicBezTo>
                  <a:pt x="1390" y="540"/>
                  <a:pt x="1390" y="540"/>
                  <a:pt x="1390" y="540"/>
                </a:cubicBezTo>
                <a:cubicBezTo>
                  <a:pt x="1447" y="540"/>
                  <a:pt x="1493" y="494"/>
                  <a:pt x="1493" y="437"/>
                </a:cubicBezTo>
                <a:cubicBezTo>
                  <a:pt x="1493" y="103"/>
                  <a:pt x="1493" y="103"/>
                  <a:pt x="1493" y="103"/>
                </a:cubicBezTo>
                <a:cubicBezTo>
                  <a:pt x="1493" y="46"/>
                  <a:pt x="1447" y="0"/>
                  <a:pt x="1390" y="0"/>
                </a:cubicBezTo>
                <a:cubicBezTo>
                  <a:pt x="902" y="0"/>
                  <a:pt x="902" y="0"/>
                  <a:pt x="902" y="0"/>
                </a:cubicBezTo>
                <a:cubicBezTo>
                  <a:pt x="845" y="0"/>
                  <a:pt x="799" y="46"/>
                  <a:pt x="799" y="103"/>
                </a:cubicBezTo>
                <a:cubicBezTo>
                  <a:pt x="799" y="437"/>
                  <a:pt x="799" y="437"/>
                  <a:pt x="799" y="437"/>
                </a:cubicBezTo>
                <a:cubicBezTo>
                  <a:pt x="799" y="494"/>
                  <a:pt x="845" y="540"/>
                  <a:pt x="902" y="540"/>
                </a:cubicBezTo>
                <a:close/>
                <a:moveTo>
                  <a:pt x="859" y="103"/>
                </a:moveTo>
                <a:cubicBezTo>
                  <a:pt x="859" y="79"/>
                  <a:pt x="878" y="60"/>
                  <a:pt x="902" y="60"/>
                </a:cubicBezTo>
                <a:cubicBezTo>
                  <a:pt x="1390" y="60"/>
                  <a:pt x="1390" y="60"/>
                  <a:pt x="1390" y="60"/>
                </a:cubicBezTo>
                <a:cubicBezTo>
                  <a:pt x="1413" y="60"/>
                  <a:pt x="1433" y="79"/>
                  <a:pt x="1433" y="103"/>
                </a:cubicBezTo>
                <a:cubicBezTo>
                  <a:pt x="1433" y="437"/>
                  <a:pt x="1433" y="437"/>
                  <a:pt x="1433" y="437"/>
                </a:cubicBezTo>
                <a:cubicBezTo>
                  <a:pt x="1433" y="461"/>
                  <a:pt x="1413" y="480"/>
                  <a:pt x="1390" y="480"/>
                </a:cubicBezTo>
                <a:cubicBezTo>
                  <a:pt x="902" y="480"/>
                  <a:pt x="902" y="480"/>
                  <a:pt x="902" y="480"/>
                </a:cubicBezTo>
                <a:cubicBezTo>
                  <a:pt x="878" y="480"/>
                  <a:pt x="859" y="461"/>
                  <a:pt x="859" y="437"/>
                </a:cubicBezTo>
                <a:lnTo>
                  <a:pt x="859" y="103"/>
                </a:lnTo>
                <a:close/>
                <a:moveTo>
                  <a:pt x="678" y="824"/>
                </a:moveTo>
                <a:cubicBezTo>
                  <a:pt x="1614" y="824"/>
                  <a:pt x="1614" y="824"/>
                  <a:pt x="1614" y="824"/>
                </a:cubicBezTo>
                <a:cubicBezTo>
                  <a:pt x="1628" y="824"/>
                  <a:pt x="1640" y="812"/>
                  <a:pt x="1640" y="798"/>
                </a:cubicBezTo>
                <a:cubicBezTo>
                  <a:pt x="1640" y="786"/>
                  <a:pt x="1640" y="786"/>
                  <a:pt x="1640" y="786"/>
                </a:cubicBezTo>
                <a:cubicBezTo>
                  <a:pt x="1640" y="772"/>
                  <a:pt x="1632" y="752"/>
                  <a:pt x="1623" y="741"/>
                </a:cubicBezTo>
                <a:cubicBezTo>
                  <a:pt x="1499" y="596"/>
                  <a:pt x="1499" y="596"/>
                  <a:pt x="1499" y="596"/>
                </a:cubicBezTo>
                <a:cubicBezTo>
                  <a:pt x="1490" y="585"/>
                  <a:pt x="1471" y="576"/>
                  <a:pt x="1457" y="576"/>
                </a:cubicBezTo>
                <a:cubicBezTo>
                  <a:pt x="835" y="576"/>
                  <a:pt x="835" y="576"/>
                  <a:pt x="835" y="576"/>
                </a:cubicBezTo>
                <a:cubicBezTo>
                  <a:pt x="821" y="576"/>
                  <a:pt x="802" y="585"/>
                  <a:pt x="792" y="596"/>
                </a:cubicBezTo>
                <a:cubicBezTo>
                  <a:pt x="669" y="741"/>
                  <a:pt x="669" y="741"/>
                  <a:pt x="669" y="741"/>
                </a:cubicBezTo>
                <a:cubicBezTo>
                  <a:pt x="659" y="752"/>
                  <a:pt x="652" y="772"/>
                  <a:pt x="652" y="786"/>
                </a:cubicBezTo>
                <a:cubicBezTo>
                  <a:pt x="652" y="798"/>
                  <a:pt x="652" y="798"/>
                  <a:pt x="652" y="798"/>
                </a:cubicBezTo>
                <a:cubicBezTo>
                  <a:pt x="652" y="812"/>
                  <a:pt x="664" y="824"/>
                  <a:pt x="678" y="824"/>
                </a:cubicBezTo>
                <a:close/>
                <a:moveTo>
                  <a:pt x="1450" y="1476"/>
                </a:moveTo>
                <a:cubicBezTo>
                  <a:pt x="1450" y="1810"/>
                  <a:pt x="1450" y="1810"/>
                  <a:pt x="1450" y="1810"/>
                </a:cubicBezTo>
                <a:cubicBezTo>
                  <a:pt x="1450" y="1867"/>
                  <a:pt x="1497" y="1913"/>
                  <a:pt x="1554" y="1913"/>
                </a:cubicBezTo>
                <a:cubicBezTo>
                  <a:pt x="2041" y="1913"/>
                  <a:pt x="2041" y="1913"/>
                  <a:pt x="2041" y="1913"/>
                </a:cubicBezTo>
                <a:cubicBezTo>
                  <a:pt x="2098" y="1913"/>
                  <a:pt x="2144" y="1867"/>
                  <a:pt x="2144" y="1810"/>
                </a:cubicBezTo>
                <a:cubicBezTo>
                  <a:pt x="2144" y="1476"/>
                  <a:pt x="2144" y="1476"/>
                  <a:pt x="2144" y="1476"/>
                </a:cubicBezTo>
                <a:cubicBezTo>
                  <a:pt x="2144" y="1419"/>
                  <a:pt x="2098" y="1373"/>
                  <a:pt x="2041" y="1373"/>
                </a:cubicBezTo>
                <a:cubicBezTo>
                  <a:pt x="1554" y="1373"/>
                  <a:pt x="1554" y="1373"/>
                  <a:pt x="1554" y="1373"/>
                </a:cubicBezTo>
                <a:cubicBezTo>
                  <a:pt x="1497" y="1373"/>
                  <a:pt x="1450" y="1419"/>
                  <a:pt x="1450" y="1476"/>
                </a:cubicBezTo>
                <a:close/>
                <a:moveTo>
                  <a:pt x="2084" y="1476"/>
                </a:moveTo>
                <a:cubicBezTo>
                  <a:pt x="2084" y="1810"/>
                  <a:pt x="2084" y="1810"/>
                  <a:pt x="2084" y="1810"/>
                </a:cubicBezTo>
                <a:cubicBezTo>
                  <a:pt x="2084" y="1834"/>
                  <a:pt x="2065" y="1853"/>
                  <a:pt x="2041" y="1853"/>
                </a:cubicBezTo>
                <a:cubicBezTo>
                  <a:pt x="1554" y="1853"/>
                  <a:pt x="1554" y="1853"/>
                  <a:pt x="1554" y="1853"/>
                </a:cubicBezTo>
                <a:cubicBezTo>
                  <a:pt x="1530" y="1853"/>
                  <a:pt x="1511" y="1834"/>
                  <a:pt x="1511" y="1810"/>
                </a:cubicBezTo>
                <a:cubicBezTo>
                  <a:pt x="1511" y="1476"/>
                  <a:pt x="1511" y="1476"/>
                  <a:pt x="1511" y="1476"/>
                </a:cubicBezTo>
                <a:cubicBezTo>
                  <a:pt x="1511" y="1452"/>
                  <a:pt x="1530" y="1433"/>
                  <a:pt x="1554" y="1433"/>
                </a:cubicBezTo>
                <a:cubicBezTo>
                  <a:pt x="2041" y="1433"/>
                  <a:pt x="2041" y="1433"/>
                  <a:pt x="2041" y="1433"/>
                </a:cubicBezTo>
                <a:cubicBezTo>
                  <a:pt x="2065" y="1433"/>
                  <a:pt x="2084" y="1452"/>
                  <a:pt x="2084" y="1476"/>
                </a:cubicBezTo>
                <a:close/>
                <a:moveTo>
                  <a:pt x="2275" y="2114"/>
                </a:moveTo>
                <a:cubicBezTo>
                  <a:pt x="2151" y="1969"/>
                  <a:pt x="2151" y="1969"/>
                  <a:pt x="2151" y="1969"/>
                </a:cubicBezTo>
                <a:cubicBezTo>
                  <a:pt x="2142" y="1958"/>
                  <a:pt x="2123" y="1949"/>
                  <a:pt x="2108" y="1949"/>
                </a:cubicBezTo>
                <a:cubicBezTo>
                  <a:pt x="1486" y="1949"/>
                  <a:pt x="1486" y="1949"/>
                  <a:pt x="1486" y="1949"/>
                </a:cubicBezTo>
                <a:cubicBezTo>
                  <a:pt x="1472" y="1949"/>
                  <a:pt x="1453" y="1958"/>
                  <a:pt x="1444" y="1969"/>
                </a:cubicBezTo>
                <a:cubicBezTo>
                  <a:pt x="1320" y="2114"/>
                  <a:pt x="1320" y="2114"/>
                  <a:pt x="1320" y="2114"/>
                </a:cubicBezTo>
                <a:cubicBezTo>
                  <a:pt x="1311" y="2125"/>
                  <a:pt x="1304" y="2145"/>
                  <a:pt x="1304" y="2159"/>
                </a:cubicBezTo>
                <a:cubicBezTo>
                  <a:pt x="1304" y="2171"/>
                  <a:pt x="1304" y="2171"/>
                  <a:pt x="1304" y="2171"/>
                </a:cubicBezTo>
                <a:cubicBezTo>
                  <a:pt x="1304" y="2185"/>
                  <a:pt x="1315" y="2197"/>
                  <a:pt x="1329" y="2197"/>
                </a:cubicBezTo>
                <a:cubicBezTo>
                  <a:pt x="2265" y="2197"/>
                  <a:pt x="2265" y="2197"/>
                  <a:pt x="2265" y="2197"/>
                </a:cubicBezTo>
                <a:cubicBezTo>
                  <a:pt x="2280" y="2197"/>
                  <a:pt x="2291" y="2185"/>
                  <a:pt x="2291" y="2171"/>
                </a:cubicBezTo>
                <a:cubicBezTo>
                  <a:pt x="2291" y="2159"/>
                  <a:pt x="2291" y="2159"/>
                  <a:pt x="2291" y="2159"/>
                </a:cubicBezTo>
                <a:cubicBezTo>
                  <a:pt x="2291" y="2145"/>
                  <a:pt x="2284" y="2125"/>
                  <a:pt x="2275" y="2114"/>
                </a:cubicBezTo>
                <a:close/>
                <a:moveTo>
                  <a:pt x="250" y="1913"/>
                </a:moveTo>
                <a:cubicBezTo>
                  <a:pt x="738" y="1913"/>
                  <a:pt x="738" y="1913"/>
                  <a:pt x="738" y="1913"/>
                </a:cubicBezTo>
                <a:cubicBezTo>
                  <a:pt x="795" y="1913"/>
                  <a:pt x="841" y="1867"/>
                  <a:pt x="841" y="1810"/>
                </a:cubicBezTo>
                <a:cubicBezTo>
                  <a:pt x="841" y="1476"/>
                  <a:pt x="841" y="1476"/>
                  <a:pt x="841" y="1476"/>
                </a:cubicBezTo>
                <a:cubicBezTo>
                  <a:pt x="841" y="1419"/>
                  <a:pt x="795" y="1373"/>
                  <a:pt x="738" y="1373"/>
                </a:cubicBezTo>
                <a:cubicBezTo>
                  <a:pt x="250" y="1373"/>
                  <a:pt x="250" y="1373"/>
                  <a:pt x="250" y="1373"/>
                </a:cubicBezTo>
                <a:cubicBezTo>
                  <a:pt x="193" y="1373"/>
                  <a:pt x="147" y="1419"/>
                  <a:pt x="147" y="1476"/>
                </a:cubicBezTo>
                <a:cubicBezTo>
                  <a:pt x="147" y="1810"/>
                  <a:pt x="147" y="1810"/>
                  <a:pt x="147" y="1810"/>
                </a:cubicBezTo>
                <a:cubicBezTo>
                  <a:pt x="147" y="1867"/>
                  <a:pt x="193" y="1913"/>
                  <a:pt x="250" y="1913"/>
                </a:cubicBezTo>
                <a:close/>
                <a:moveTo>
                  <a:pt x="207" y="1476"/>
                </a:moveTo>
                <a:cubicBezTo>
                  <a:pt x="207" y="1452"/>
                  <a:pt x="227" y="1433"/>
                  <a:pt x="250" y="1433"/>
                </a:cubicBezTo>
                <a:cubicBezTo>
                  <a:pt x="738" y="1433"/>
                  <a:pt x="738" y="1433"/>
                  <a:pt x="738" y="1433"/>
                </a:cubicBezTo>
                <a:cubicBezTo>
                  <a:pt x="762" y="1433"/>
                  <a:pt x="781" y="1452"/>
                  <a:pt x="781" y="1476"/>
                </a:cubicBezTo>
                <a:cubicBezTo>
                  <a:pt x="781" y="1810"/>
                  <a:pt x="781" y="1810"/>
                  <a:pt x="781" y="1810"/>
                </a:cubicBezTo>
                <a:cubicBezTo>
                  <a:pt x="781" y="1834"/>
                  <a:pt x="762" y="1853"/>
                  <a:pt x="738" y="1853"/>
                </a:cubicBezTo>
                <a:cubicBezTo>
                  <a:pt x="250" y="1853"/>
                  <a:pt x="250" y="1853"/>
                  <a:pt x="250" y="1853"/>
                </a:cubicBezTo>
                <a:cubicBezTo>
                  <a:pt x="227" y="1853"/>
                  <a:pt x="207" y="1834"/>
                  <a:pt x="207" y="1810"/>
                </a:cubicBezTo>
                <a:lnTo>
                  <a:pt x="207" y="1476"/>
                </a:lnTo>
                <a:close/>
                <a:moveTo>
                  <a:pt x="848" y="1969"/>
                </a:moveTo>
                <a:cubicBezTo>
                  <a:pt x="838" y="1958"/>
                  <a:pt x="819" y="1949"/>
                  <a:pt x="805" y="1949"/>
                </a:cubicBezTo>
                <a:cubicBezTo>
                  <a:pt x="183" y="1949"/>
                  <a:pt x="183" y="1949"/>
                  <a:pt x="183" y="1949"/>
                </a:cubicBezTo>
                <a:cubicBezTo>
                  <a:pt x="169" y="1949"/>
                  <a:pt x="150" y="1958"/>
                  <a:pt x="141" y="1969"/>
                </a:cubicBezTo>
                <a:cubicBezTo>
                  <a:pt x="17" y="2114"/>
                  <a:pt x="17" y="2114"/>
                  <a:pt x="17" y="2114"/>
                </a:cubicBezTo>
                <a:cubicBezTo>
                  <a:pt x="8" y="2125"/>
                  <a:pt x="0" y="2145"/>
                  <a:pt x="0" y="2159"/>
                </a:cubicBezTo>
                <a:cubicBezTo>
                  <a:pt x="0" y="2171"/>
                  <a:pt x="0" y="2171"/>
                  <a:pt x="0" y="2171"/>
                </a:cubicBezTo>
                <a:cubicBezTo>
                  <a:pt x="0" y="2185"/>
                  <a:pt x="12" y="2197"/>
                  <a:pt x="26" y="2197"/>
                </a:cubicBezTo>
                <a:cubicBezTo>
                  <a:pt x="962" y="2197"/>
                  <a:pt x="962" y="2197"/>
                  <a:pt x="962" y="2197"/>
                </a:cubicBezTo>
                <a:cubicBezTo>
                  <a:pt x="977" y="2197"/>
                  <a:pt x="988" y="2185"/>
                  <a:pt x="988" y="2171"/>
                </a:cubicBezTo>
                <a:cubicBezTo>
                  <a:pt x="988" y="2159"/>
                  <a:pt x="988" y="2159"/>
                  <a:pt x="988" y="2159"/>
                </a:cubicBezTo>
                <a:cubicBezTo>
                  <a:pt x="988" y="2145"/>
                  <a:pt x="981" y="2125"/>
                  <a:pt x="971" y="2114"/>
                </a:cubicBezTo>
                <a:lnTo>
                  <a:pt x="848" y="1969"/>
                </a:lnTo>
                <a:close/>
                <a:moveTo>
                  <a:pt x="971" y="1659"/>
                </a:moveTo>
                <a:cubicBezTo>
                  <a:pt x="1088" y="1659"/>
                  <a:pt x="1088" y="1659"/>
                  <a:pt x="1088" y="1659"/>
                </a:cubicBezTo>
                <a:cubicBezTo>
                  <a:pt x="1088" y="1610"/>
                  <a:pt x="1088" y="1610"/>
                  <a:pt x="1088" y="1610"/>
                </a:cubicBezTo>
                <a:cubicBezTo>
                  <a:pt x="971" y="1610"/>
                  <a:pt x="971" y="1610"/>
                  <a:pt x="971" y="1610"/>
                </a:cubicBezTo>
                <a:lnTo>
                  <a:pt x="971" y="1659"/>
                </a:lnTo>
                <a:close/>
                <a:moveTo>
                  <a:pt x="1320" y="1610"/>
                </a:moveTo>
                <a:cubicBezTo>
                  <a:pt x="1204" y="1610"/>
                  <a:pt x="1204" y="1610"/>
                  <a:pt x="1204" y="1610"/>
                </a:cubicBezTo>
                <a:cubicBezTo>
                  <a:pt x="1204" y="1659"/>
                  <a:pt x="1204" y="1659"/>
                  <a:pt x="1204" y="1659"/>
                </a:cubicBezTo>
                <a:cubicBezTo>
                  <a:pt x="1320" y="1659"/>
                  <a:pt x="1320" y="1659"/>
                  <a:pt x="1320" y="1659"/>
                </a:cubicBezTo>
                <a:lnTo>
                  <a:pt x="1320" y="16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1600" dirty="0">
              <a:solidFill>
                <a:prstClr val="black"/>
              </a:solidFill>
              <a:latin typeface="NotesStyle-Medium" pitchFamily="2" charset="0"/>
            </a:endParaRPr>
          </a:p>
        </p:txBody>
      </p:sp>
      <p:pic>
        <p:nvPicPr>
          <p:cNvPr id="95" name="Picture 7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49450"/>
          <a:stretch/>
        </p:blipFill>
        <p:spPr bwMode="auto">
          <a:xfrm>
            <a:off x="834953" y="3459918"/>
            <a:ext cx="792001" cy="79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" name="Picture 40" descr="C:\Users\sakuu\Documents\Ballmer WPC\PNGS\TV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838108" y="2025106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2267" y="4024212"/>
            <a:ext cx="792001" cy="792000"/>
          </a:xfrm>
          <a:prstGeom prst="rect">
            <a:avLst/>
          </a:prstGeom>
        </p:spPr>
      </p:pic>
      <p:grpSp>
        <p:nvGrpSpPr>
          <p:cNvPr id="100" name="Group 99"/>
          <p:cNvGrpSpPr/>
          <p:nvPr/>
        </p:nvGrpSpPr>
        <p:grpSpPr>
          <a:xfrm>
            <a:off x="1511122" y="2039311"/>
            <a:ext cx="792000" cy="792000"/>
            <a:chOff x="9684568" y="-310219"/>
            <a:chExt cx="792000" cy="792000"/>
          </a:xfrm>
        </p:grpSpPr>
        <p:sp>
          <p:nvSpPr>
            <p:cNvPr id="101" name="Rounded Rectangle 6"/>
            <p:cNvSpPr/>
            <p:nvPr/>
          </p:nvSpPr>
          <p:spPr bwMode="black">
            <a:xfrm>
              <a:off x="9901072" y="-168719"/>
              <a:ext cx="358992" cy="509000"/>
            </a:xfrm>
            <a:custGeom>
              <a:avLst/>
              <a:gdLst/>
              <a:ahLst/>
              <a:cxnLst/>
              <a:rect l="l" t="t" r="r" b="b"/>
              <a:pathLst>
                <a:path w="3286897" h="4658497">
                  <a:moveTo>
                    <a:pt x="1600200" y="4382531"/>
                  </a:moveTo>
                  <a:cubicBezTo>
                    <a:pt x="1600200" y="4367744"/>
                    <a:pt x="1588213" y="4355757"/>
                    <a:pt x="1573426" y="4355757"/>
                  </a:cubicBezTo>
                  <a:lnTo>
                    <a:pt x="811428" y="4355757"/>
                  </a:lnTo>
                  <a:cubicBezTo>
                    <a:pt x="796641" y="4355757"/>
                    <a:pt x="784654" y="4367744"/>
                    <a:pt x="784654" y="4382531"/>
                  </a:cubicBezTo>
                  <a:lnTo>
                    <a:pt x="784654" y="4489621"/>
                  </a:lnTo>
                  <a:cubicBezTo>
                    <a:pt x="784654" y="4504408"/>
                    <a:pt x="796641" y="4516395"/>
                    <a:pt x="811428" y="4516395"/>
                  </a:cubicBezTo>
                  <a:lnTo>
                    <a:pt x="1573426" y="4516395"/>
                  </a:lnTo>
                  <a:cubicBezTo>
                    <a:pt x="1588213" y="4516395"/>
                    <a:pt x="1600200" y="4504408"/>
                    <a:pt x="1600200" y="4489621"/>
                  </a:cubicBezTo>
                  <a:close/>
                  <a:moveTo>
                    <a:pt x="2502243" y="4382531"/>
                  </a:moveTo>
                  <a:cubicBezTo>
                    <a:pt x="2502243" y="4367744"/>
                    <a:pt x="2490256" y="4355757"/>
                    <a:pt x="2475469" y="4355757"/>
                  </a:cubicBezTo>
                  <a:lnTo>
                    <a:pt x="1713471" y="4355757"/>
                  </a:lnTo>
                  <a:cubicBezTo>
                    <a:pt x="1698684" y="4355757"/>
                    <a:pt x="1686697" y="4367744"/>
                    <a:pt x="1686697" y="4382531"/>
                  </a:cubicBezTo>
                  <a:lnTo>
                    <a:pt x="1686697" y="4489621"/>
                  </a:lnTo>
                  <a:cubicBezTo>
                    <a:pt x="1686697" y="4504408"/>
                    <a:pt x="1698684" y="4516395"/>
                    <a:pt x="1713471" y="4516395"/>
                  </a:cubicBezTo>
                  <a:lnTo>
                    <a:pt x="2475469" y="4516395"/>
                  </a:lnTo>
                  <a:cubicBezTo>
                    <a:pt x="2490256" y="4516395"/>
                    <a:pt x="2502243" y="4504408"/>
                    <a:pt x="2502243" y="4489621"/>
                  </a:cubicBezTo>
                  <a:close/>
                  <a:moveTo>
                    <a:pt x="3021231" y="480896"/>
                  </a:moveTo>
                  <a:cubicBezTo>
                    <a:pt x="3021231" y="375524"/>
                    <a:pt x="2935811" y="290104"/>
                    <a:pt x="2830439" y="290104"/>
                  </a:cubicBezTo>
                  <a:lnTo>
                    <a:pt x="444108" y="290104"/>
                  </a:lnTo>
                  <a:cubicBezTo>
                    <a:pt x="338736" y="290104"/>
                    <a:pt x="253316" y="375524"/>
                    <a:pt x="253316" y="480896"/>
                  </a:cubicBezTo>
                  <a:lnTo>
                    <a:pt x="253316" y="4029043"/>
                  </a:lnTo>
                  <a:cubicBezTo>
                    <a:pt x="253316" y="4134415"/>
                    <a:pt x="338736" y="4219835"/>
                    <a:pt x="444108" y="4219835"/>
                  </a:cubicBezTo>
                  <a:lnTo>
                    <a:pt x="2830439" y="4219835"/>
                  </a:lnTo>
                  <a:cubicBezTo>
                    <a:pt x="2935811" y="4219835"/>
                    <a:pt x="3021231" y="4134415"/>
                    <a:pt x="3021231" y="4029043"/>
                  </a:cubicBezTo>
                  <a:close/>
                  <a:moveTo>
                    <a:pt x="3286897" y="226566"/>
                  </a:moveTo>
                  <a:lnTo>
                    <a:pt x="3286897" y="4431931"/>
                  </a:lnTo>
                  <a:cubicBezTo>
                    <a:pt x="3286897" y="4557060"/>
                    <a:pt x="3185460" y="4658497"/>
                    <a:pt x="3060331" y="4658497"/>
                  </a:cubicBezTo>
                  <a:lnTo>
                    <a:pt x="226566" y="4658497"/>
                  </a:lnTo>
                  <a:cubicBezTo>
                    <a:pt x="101437" y="4658497"/>
                    <a:pt x="0" y="4557060"/>
                    <a:pt x="0" y="4431931"/>
                  </a:cubicBezTo>
                  <a:lnTo>
                    <a:pt x="0" y="226566"/>
                  </a:lnTo>
                  <a:cubicBezTo>
                    <a:pt x="0" y="101437"/>
                    <a:pt x="101437" y="0"/>
                    <a:pt x="226566" y="0"/>
                  </a:cubicBezTo>
                  <a:lnTo>
                    <a:pt x="3060331" y="0"/>
                  </a:lnTo>
                  <a:cubicBezTo>
                    <a:pt x="3185460" y="0"/>
                    <a:pt x="3286897" y="101437"/>
                    <a:pt x="3286897" y="2265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111921" tIns="55960" rIns="111921" bIns="55960" numCol="1" rtlCol="0" anchor="ctr" anchorCtr="0" compatLnSpc="1">
              <a:prstTxWarp prst="textNoShape">
                <a:avLst/>
              </a:prstTxWarp>
            </a:bodyPr>
            <a:lstStyle/>
            <a:p>
              <a:pPr defTabSz="740536"/>
              <a:endParaRPr lang="en-US" sz="1600" spc="-122" dirty="0">
                <a:solidFill>
                  <a:prstClr val="black">
                    <a:lumMod val="50000"/>
                  </a:prstClr>
                </a:solidFill>
                <a:latin typeface="NotesStyle-Medium" pitchFamily="2" charset="0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9684568" y="-31021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-9618" y="2806798"/>
            <a:ext cx="792000" cy="792000"/>
            <a:chOff x="9563690" y="725399"/>
            <a:chExt cx="792000" cy="792000"/>
          </a:xfrm>
        </p:grpSpPr>
        <p:sp>
          <p:nvSpPr>
            <p:cNvPr id="104" name="Freeform 89"/>
            <p:cNvSpPr>
              <a:spLocks noEditPoints="1"/>
            </p:cNvSpPr>
            <p:nvPr/>
          </p:nvSpPr>
          <p:spPr bwMode="black">
            <a:xfrm>
              <a:off x="9627031" y="889757"/>
              <a:ext cx="665317" cy="463284"/>
            </a:xfrm>
            <a:custGeom>
              <a:avLst/>
              <a:gdLst>
                <a:gd name="T0" fmla="*/ 350 w 3153"/>
                <a:gd name="T1" fmla="*/ 935 h 2031"/>
                <a:gd name="T2" fmla="*/ 788 w 3153"/>
                <a:gd name="T3" fmla="*/ 0 h 2031"/>
                <a:gd name="T4" fmla="*/ 2918 w 3153"/>
                <a:gd name="T5" fmla="*/ 1882 h 2031"/>
                <a:gd name="T6" fmla="*/ 2403 w 3153"/>
                <a:gd name="T7" fmla="*/ 1493 h 2031"/>
                <a:gd name="T8" fmla="*/ 2244 w 3153"/>
                <a:gd name="T9" fmla="*/ 1424 h 2031"/>
                <a:gd name="T10" fmla="*/ 2391 w 3153"/>
                <a:gd name="T11" fmla="*/ 1458 h 2031"/>
                <a:gd name="T12" fmla="*/ 1437 w 3153"/>
                <a:gd name="T13" fmla="*/ 1486 h 2031"/>
                <a:gd name="T14" fmla="*/ 1460 w 3153"/>
                <a:gd name="T15" fmla="*/ 1427 h 2031"/>
                <a:gd name="T16" fmla="*/ 1588 w 3153"/>
                <a:gd name="T17" fmla="*/ 1440 h 2031"/>
                <a:gd name="T18" fmla="*/ 1563 w 3153"/>
                <a:gd name="T19" fmla="*/ 1636 h 2031"/>
                <a:gd name="T20" fmla="*/ 1421 w 3153"/>
                <a:gd name="T21" fmla="*/ 1612 h 2031"/>
                <a:gd name="T22" fmla="*/ 1170 w 3153"/>
                <a:gd name="T23" fmla="*/ 1604 h 2031"/>
                <a:gd name="T24" fmla="*/ 1340 w 3153"/>
                <a:gd name="T25" fmla="*/ 1589 h 2031"/>
                <a:gd name="T26" fmla="*/ 1175 w 3153"/>
                <a:gd name="T27" fmla="*/ 1631 h 2031"/>
                <a:gd name="T28" fmla="*/ 1228 w 3153"/>
                <a:gd name="T29" fmla="*/ 1433 h 2031"/>
                <a:gd name="T30" fmla="*/ 1366 w 3153"/>
                <a:gd name="T31" fmla="*/ 1441 h 2031"/>
                <a:gd name="T32" fmla="*/ 916 w 3153"/>
                <a:gd name="T33" fmla="*/ 1607 h 2031"/>
                <a:gd name="T34" fmla="*/ 1099 w 3153"/>
                <a:gd name="T35" fmla="*/ 1564 h 2031"/>
                <a:gd name="T36" fmla="*/ 911 w 3153"/>
                <a:gd name="T37" fmla="*/ 1624 h 2031"/>
                <a:gd name="T38" fmla="*/ 832 w 3153"/>
                <a:gd name="T39" fmla="*/ 1503 h 2031"/>
                <a:gd name="T40" fmla="*/ 922 w 3153"/>
                <a:gd name="T41" fmla="*/ 1437 h 2031"/>
                <a:gd name="T42" fmla="*/ 999 w 3153"/>
                <a:gd name="T43" fmla="*/ 1440 h 2031"/>
                <a:gd name="T44" fmla="*/ 1143 w 3153"/>
                <a:gd name="T45" fmla="*/ 1436 h 2031"/>
                <a:gd name="T46" fmla="*/ 1113 w 3153"/>
                <a:gd name="T47" fmla="*/ 1496 h 2031"/>
                <a:gd name="T48" fmla="*/ 692 w 3153"/>
                <a:gd name="T49" fmla="*/ 1804 h 2031"/>
                <a:gd name="T50" fmla="*/ 574 w 3153"/>
                <a:gd name="T51" fmla="*/ 1739 h 2031"/>
                <a:gd name="T52" fmla="*/ 656 w 3153"/>
                <a:gd name="T53" fmla="*/ 1687 h 2031"/>
                <a:gd name="T54" fmla="*/ 823 w 3153"/>
                <a:gd name="T55" fmla="*/ 1619 h 2031"/>
                <a:gd name="T56" fmla="*/ 669 w 3153"/>
                <a:gd name="T57" fmla="*/ 1638 h 2031"/>
                <a:gd name="T58" fmla="*/ 713 w 3153"/>
                <a:gd name="T59" fmla="*/ 1551 h 2031"/>
                <a:gd name="T60" fmla="*/ 828 w 3153"/>
                <a:gd name="T61" fmla="*/ 1613 h 2031"/>
                <a:gd name="T62" fmla="*/ 1570 w 3153"/>
                <a:gd name="T63" fmla="*/ 1798 h 2031"/>
                <a:gd name="T64" fmla="*/ 850 w 3153"/>
                <a:gd name="T65" fmla="*/ 1803 h 2031"/>
                <a:gd name="T66" fmla="*/ 882 w 3153"/>
                <a:gd name="T67" fmla="*/ 1698 h 2031"/>
                <a:gd name="T68" fmla="*/ 1563 w 3153"/>
                <a:gd name="T69" fmla="*/ 1687 h 2031"/>
                <a:gd name="T70" fmla="*/ 1670 w 3153"/>
                <a:gd name="T71" fmla="*/ 1489 h 2031"/>
                <a:gd name="T72" fmla="*/ 1693 w 3153"/>
                <a:gd name="T73" fmla="*/ 1424 h 2031"/>
                <a:gd name="T74" fmla="*/ 1793 w 3153"/>
                <a:gd name="T75" fmla="*/ 1500 h 2031"/>
                <a:gd name="T76" fmla="*/ 1675 w 3153"/>
                <a:gd name="T77" fmla="*/ 1612 h 2031"/>
                <a:gd name="T78" fmla="*/ 1843 w 3153"/>
                <a:gd name="T79" fmla="*/ 1621 h 2031"/>
                <a:gd name="T80" fmla="*/ 1804 w 3153"/>
                <a:gd name="T81" fmla="*/ 1637 h 2031"/>
                <a:gd name="T82" fmla="*/ 1866 w 3153"/>
                <a:gd name="T83" fmla="*/ 1793 h 2031"/>
                <a:gd name="T84" fmla="*/ 1690 w 3153"/>
                <a:gd name="T85" fmla="*/ 1778 h 2031"/>
                <a:gd name="T86" fmla="*/ 1686 w 3153"/>
                <a:gd name="T87" fmla="*/ 1702 h 2031"/>
                <a:gd name="T88" fmla="*/ 1724 w 3153"/>
                <a:gd name="T89" fmla="*/ 1685 h 2031"/>
                <a:gd name="T90" fmla="*/ 1843 w 3153"/>
                <a:gd name="T91" fmla="*/ 1691 h 2031"/>
                <a:gd name="T92" fmla="*/ 2009 w 3153"/>
                <a:gd name="T93" fmla="*/ 1439 h 2031"/>
                <a:gd name="T94" fmla="*/ 2140 w 3153"/>
                <a:gd name="T95" fmla="*/ 1428 h 2031"/>
                <a:gd name="T96" fmla="*/ 2161 w 3153"/>
                <a:gd name="T97" fmla="*/ 1499 h 2031"/>
                <a:gd name="T98" fmla="*/ 2064 w 3153"/>
                <a:gd name="T99" fmla="*/ 1588 h 2031"/>
                <a:gd name="T100" fmla="*/ 2218 w 3153"/>
                <a:gd name="T101" fmla="*/ 1565 h 2031"/>
                <a:gd name="T102" fmla="*/ 2225 w 3153"/>
                <a:gd name="T103" fmla="*/ 1634 h 2031"/>
                <a:gd name="T104" fmla="*/ 2319 w 3153"/>
                <a:gd name="T105" fmla="*/ 1790 h 2031"/>
                <a:gd name="T106" fmla="*/ 2131 w 3153"/>
                <a:gd name="T107" fmla="*/ 1770 h 2031"/>
                <a:gd name="T108" fmla="*/ 2145 w 3153"/>
                <a:gd name="T109" fmla="*/ 1683 h 2031"/>
                <a:gd name="T110" fmla="*/ 2340 w 3153"/>
                <a:gd name="T111" fmla="*/ 1624 h 2031"/>
                <a:gd name="T112" fmla="*/ 2463 w 3153"/>
                <a:gd name="T113" fmla="*/ 1564 h 2031"/>
                <a:gd name="T114" fmla="*/ 2434 w 3153"/>
                <a:gd name="T115" fmla="*/ 1636 h 2031"/>
                <a:gd name="T116" fmla="*/ 2415 w 3153"/>
                <a:gd name="T117" fmla="*/ 1769 h 2031"/>
                <a:gd name="T118" fmla="*/ 2500 w 3153"/>
                <a:gd name="T119" fmla="*/ 1683 h 2031"/>
                <a:gd name="T120" fmla="*/ 2605 w 3153"/>
                <a:gd name="T121" fmla="*/ 1791 h 2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53" h="2031">
                  <a:moveTo>
                    <a:pt x="448" y="830"/>
                  </a:moveTo>
                  <a:cubicBezTo>
                    <a:pt x="368" y="755"/>
                    <a:pt x="368" y="615"/>
                    <a:pt x="448" y="539"/>
                  </a:cubicBezTo>
                  <a:cubicBezTo>
                    <a:pt x="393" y="549"/>
                    <a:pt x="339" y="610"/>
                    <a:pt x="339" y="685"/>
                  </a:cubicBezTo>
                  <a:cubicBezTo>
                    <a:pt x="339" y="759"/>
                    <a:pt x="393" y="820"/>
                    <a:pt x="448" y="830"/>
                  </a:cubicBezTo>
                  <a:close/>
                  <a:moveTo>
                    <a:pt x="2814" y="685"/>
                  </a:moveTo>
                  <a:cubicBezTo>
                    <a:pt x="2815" y="610"/>
                    <a:pt x="2761" y="549"/>
                    <a:pt x="2706" y="539"/>
                  </a:cubicBezTo>
                  <a:cubicBezTo>
                    <a:pt x="2786" y="615"/>
                    <a:pt x="2786" y="755"/>
                    <a:pt x="2706" y="830"/>
                  </a:cubicBezTo>
                  <a:cubicBezTo>
                    <a:pt x="2761" y="820"/>
                    <a:pt x="2815" y="759"/>
                    <a:pt x="2814" y="685"/>
                  </a:cubicBezTo>
                  <a:close/>
                  <a:moveTo>
                    <a:pt x="2804" y="935"/>
                  </a:moveTo>
                  <a:cubicBezTo>
                    <a:pt x="2886" y="904"/>
                    <a:pt x="2970" y="808"/>
                    <a:pt x="2969" y="685"/>
                  </a:cubicBezTo>
                  <a:cubicBezTo>
                    <a:pt x="2970" y="561"/>
                    <a:pt x="2886" y="465"/>
                    <a:pt x="2804" y="434"/>
                  </a:cubicBezTo>
                  <a:cubicBezTo>
                    <a:pt x="2871" y="501"/>
                    <a:pt x="2915" y="591"/>
                    <a:pt x="2914" y="685"/>
                  </a:cubicBezTo>
                  <a:cubicBezTo>
                    <a:pt x="2915" y="778"/>
                    <a:pt x="2871" y="868"/>
                    <a:pt x="2804" y="935"/>
                  </a:cubicBezTo>
                  <a:close/>
                  <a:moveTo>
                    <a:pt x="350" y="935"/>
                  </a:moveTo>
                  <a:cubicBezTo>
                    <a:pt x="282" y="868"/>
                    <a:pt x="239" y="778"/>
                    <a:pt x="239" y="685"/>
                  </a:cubicBezTo>
                  <a:cubicBezTo>
                    <a:pt x="239" y="591"/>
                    <a:pt x="282" y="501"/>
                    <a:pt x="350" y="434"/>
                  </a:cubicBezTo>
                  <a:cubicBezTo>
                    <a:pt x="267" y="465"/>
                    <a:pt x="183" y="561"/>
                    <a:pt x="184" y="685"/>
                  </a:cubicBezTo>
                  <a:cubicBezTo>
                    <a:pt x="183" y="808"/>
                    <a:pt x="267" y="904"/>
                    <a:pt x="350" y="935"/>
                  </a:cubicBezTo>
                  <a:close/>
                  <a:moveTo>
                    <a:pt x="2877" y="1804"/>
                  </a:moveTo>
                  <a:cubicBezTo>
                    <a:pt x="2844" y="1765"/>
                    <a:pt x="2811" y="1726"/>
                    <a:pt x="2778" y="1687"/>
                  </a:cubicBezTo>
                  <a:cubicBezTo>
                    <a:pt x="2705" y="1601"/>
                    <a:pt x="2633" y="1516"/>
                    <a:pt x="2560" y="1430"/>
                  </a:cubicBezTo>
                  <a:cubicBezTo>
                    <a:pt x="2557" y="1426"/>
                    <a:pt x="2553" y="1421"/>
                    <a:pt x="2549" y="1417"/>
                  </a:cubicBezTo>
                  <a:cubicBezTo>
                    <a:pt x="2534" y="1399"/>
                    <a:pt x="2511" y="1389"/>
                    <a:pt x="2489" y="1381"/>
                  </a:cubicBezTo>
                  <a:cubicBezTo>
                    <a:pt x="2466" y="1373"/>
                    <a:pt x="2441" y="1368"/>
                    <a:pt x="2416" y="1367"/>
                  </a:cubicBezTo>
                  <a:cubicBezTo>
                    <a:pt x="2503" y="1344"/>
                    <a:pt x="2567" y="1266"/>
                    <a:pt x="2567" y="1172"/>
                  </a:cubicBezTo>
                  <a:cubicBezTo>
                    <a:pt x="2567" y="202"/>
                    <a:pt x="2567" y="202"/>
                    <a:pt x="2567" y="202"/>
                  </a:cubicBezTo>
                  <a:cubicBezTo>
                    <a:pt x="2567" y="90"/>
                    <a:pt x="2476" y="0"/>
                    <a:pt x="2365" y="0"/>
                  </a:cubicBezTo>
                  <a:cubicBezTo>
                    <a:pt x="788" y="0"/>
                    <a:pt x="788" y="0"/>
                    <a:pt x="788" y="0"/>
                  </a:cubicBezTo>
                  <a:cubicBezTo>
                    <a:pt x="677" y="0"/>
                    <a:pt x="586" y="90"/>
                    <a:pt x="586" y="202"/>
                  </a:cubicBezTo>
                  <a:cubicBezTo>
                    <a:pt x="586" y="1172"/>
                    <a:pt x="586" y="1172"/>
                    <a:pt x="586" y="1172"/>
                  </a:cubicBezTo>
                  <a:cubicBezTo>
                    <a:pt x="586" y="1266"/>
                    <a:pt x="651" y="1345"/>
                    <a:pt x="738" y="1368"/>
                  </a:cubicBezTo>
                  <a:cubicBezTo>
                    <a:pt x="689" y="1370"/>
                    <a:pt x="633" y="1388"/>
                    <a:pt x="600" y="1426"/>
                  </a:cubicBezTo>
                  <a:cubicBezTo>
                    <a:pt x="575" y="1457"/>
                    <a:pt x="549" y="1487"/>
                    <a:pt x="524" y="1518"/>
                  </a:cubicBezTo>
                  <a:cubicBezTo>
                    <a:pt x="446" y="1610"/>
                    <a:pt x="368" y="1703"/>
                    <a:pt x="290" y="1796"/>
                  </a:cubicBezTo>
                  <a:cubicBezTo>
                    <a:pt x="271" y="1819"/>
                    <a:pt x="235" y="1852"/>
                    <a:pt x="235" y="1884"/>
                  </a:cubicBezTo>
                  <a:cubicBezTo>
                    <a:pt x="235" y="1971"/>
                    <a:pt x="235" y="1971"/>
                    <a:pt x="235" y="1971"/>
                  </a:cubicBezTo>
                  <a:cubicBezTo>
                    <a:pt x="236" y="1982"/>
                    <a:pt x="238" y="1993"/>
                    <a:pt x="244" y="2002"/>
                  </a:cubicBezTo>
                  <a:cubicBezTo>
                    <a:pt x="264" y="2030"/>
                    <a:pt x="304" y="2031"/>
                    <a:pt x="336" y="2031"/>
                  </a:cubicBezTo>
                  <a:cubicBezTo>
                    <a:pt x="380" y="2031"/>
                    <a:pt x="2688" y="2031"/>
                    <a:pt x="2758" y="2031"/>
                  </a:cubicBezTo>
                  <a:cubicBezTo>
                    <a:pt x="2792" y="2031"/>
                    <a:pt x="2831" y="2027"/>
                    <a:pt x="2865" y="2020"/>
                  </a:cubicBezTo>
                  <a:cubicBezTo>
                    <a:pt x="2888" y="2016"/>
                    <a:pt x="2915" y="2003"/>
                    <a:pt x="2918" y="1976"/>
                  </a:cubicBezTo>
                  <a:cubicBezTo>
                    <a:pt x="2918" y="1882"/>
                    <a:pt x="2918" y="1882"/>
                    <a:pt x="2918" y="1882"/>
                  </a:cubicBezTo>
                  <a:cubicBezTo>
                    <a:pt x="2921" y="1861"/>
                    <a:pt x="2909" y="1841"/>
                    <a:pt x="2896" y="1826"/>
                  </a:cubicBezTo>
                  <a:cubicBezTo>
                    <a:pt x="2889" y="1818"/>
                    <a:pt x="2883" y="1811"/>
                    <a:pt x="2877" y="1804"/>
                  </a:cubicBezTo>
                  <a:close/>
                  <a:moveTo>
                    <a:pt x="705" y="1159"/>
                  </a:moveTo>
                  <a:cubicBezTo>
                    <a:pt x="705" y="215"/>
                    <a:pt x="705" y="215"/>
                    <a:pt x="705" y="215"/>
                  </a:cubicBezTo>
                  <a:cubicBezTo>
                    <a:pt x="705" y="157"/>
                    <a:pt x="752" y="111"/>
                    <a:pt x="809" y="111"/>
                  </a:cubicBezTo>
                  <a:cubicBezTo>
                    <a:pt x="2344" y="111"/>
                    <a:pt x="2344" y="111"/>
                    <a:pt x="2344" y="111"/>
                  </a:cubicBezTo>
                  <a:cubicBezTo>
                    <a:pt x="2401" y="111"/>
                    <a:pt x="2448" y="157"/>
                    <a:pt x="2448" y="215"/>
                  </a:cubicBezTo>
                  <a:cubicBezTo>
                    <a:pt x="2448" y="1159"/>
                    <a:pt x="2448" y="1159"/>
                    <a:pt x="2448" y="1159"/>
                  </a:cubicBezTo>
                  <a:cubicBezTo>
                    <a:pt x="2448" y="1216"/>
                    <a:pt x="2401" y="1263"/>
                    <a:pt x="2344" y="1263"/>
                  </a:cubicBezTo>
                  <a:cubicBezTo>
                    <a:pt x="809" y="1263"/>
                    <a:pt x="809" y="1263"/>
                    <a:pt x="809" y="1263"/>
                  </a:cubicBezTo>
                  <a:cubicBezTo>
                    <a:pt x="752" y="1263"/>
                    <a:pt x="705" y="1216"/>
                    <a:pt x="705" y="1159"/>
                  </a:cubicBezTo>
                  <a:close/>
                  <a:moveTo>
                    <a:pt x="2407" y="1487"/>
                  </a:moveTo>
                  <a:cubicBezTo>
                    <a:pt x="2407" y="1489"/>
                    <a:pt x="2406" y="1491"/>
                    <a:pt x="2404" y="1493"/>
                  </a:cubicBezTo>
                  <a:cubicBezTo>
                    <a:pt x="2404" y="1493"/>
                    <a:pt x="2403" y="1493"/>
                    <a:pt x="2403" y="1493"/>
                  </a:cubicBezTo>
                  <a:cubicBezTo>
                    <a:pt x="2403" y="1493"/>
                    <a:pt x="2403" y="1493"/>
                    <a:pt x="2403" y="1493"/>
                  </a:cubicBezTo>
                  <a:cubicBezTo>
                    <a:pt x="2403" y="1494"/>
                    <a:pt x="2403" y="1494"/>
                    <a:pt x="2402" y="1494"/>
                  </a:cubicBezTo>
                  <a:cubicBezTo>
                    <a:pt x="2402" y="1494"/>
                    <a:pt x="2402" y="1494"/>
                    <a:pt x="2401" y="1495"/>
                  </a:cubicBezTo>
                  <a:cubicBezTo>
                    <a:pt x="2401" y="1495"/>
                    <a:pt x="2400" y="1495"/>
                    <a:pt x="2400" y="1496"/>
                  </a:cubicBezTo>
                  <a:cubicBezTo>
                    <a:pt x="2399" y="1496"/>
                    <a:pt x="2399" y="1496"/>
                    <a:pt x="2398" y="1496"/>
                  </a:cubicBezTo>
                  <a:cubicBezTo>
                    <a:pt x="2388" y="1501"/>
                    <a:pt x="2374" y="1500"/>
                    <a:pt x="2362" y="1500"/>
                  </a:cubicBezTo>
                  <a:cubicBezTo>
                    <a:pt x="2304" y="1500"/>
                    <a:pt x="2304" y="1500"/>
                    <a:pt x="2304" y="1500"/>
                  </a:cubicBezTo>
                  <a:cubicBezTo>
                    <a:pt x="2293" y="1500"/>
                    <a:pt x="2281" y="1498"/>
                    <a:pt x="2271" y="1493"/>
                  </a:cubicBezTo>
                  <a:cubicBezTo>
                    <a:pt x="2267" y="1491"/>
                    <a:pt x="2263" y="1489"/>
                    <a:pt x="2260" y="1487"/>
                  </a:cubicBezTo>
                  <a:cubicBezTo>
                    <a:pt x="2257" y="1484"/>
                    <a:pt x="2254" y="1482"/>
                    <a:pt x="2252" y="1479"/>
                  </a:cubicBezTo>
                  <a:cubicBezTo>
                    <a:pt x="2250" y="1474"/>
                    <a:pt x="2250" y="1474"/>
                    <a:pt x="2250" y="1474"/>
                  </a:cubicBezTo>
                  <a:cubicBezTo>
                    <a:pt x="2244" y="1463"/>
                    <a:pt x="2236" y="1453"/>
                    <a:pt x="2231" y="1441"/>
                  </a:cubicBezTo>
                  <a:cubicBezTo>
                    <a:pt x="2227" y="1433"/>
                    <a:pt x="2231" y="1429"/>
                    <a:pt x="2238" y="1426"/>
                  </a:cubicBezTo>
                  <a:cubicBezTo>
                    <a:pt x="2240" y="1425"/>
                    <a:pt x="2242" y="1424"/>
                    <a:pt x="2244" y="1424"/>
                  </a:cubicBezTo>
                  <a:cubicBezTo>
                    <a:pt x="2248" y="1423"/>
                    <a:pt x="2253" y="1422"/>
                    <a:pt x="2258" y="1422"/>
                  </a:cubicBezTo>
                  <a:cubicBezTo>
                    <a:pt x="2266" y="1422"/>
                    <a:pt x="2266" y="1422"/>
                    <a:pt x="2266" y="1422"/>
                  </a:cubicBezTo>
                  <a:cubicBezTo>
                    <a:pt x="2266" y="1422"/>
                    <a:pt x="2266" y="1422"/>
                    <a:pt x="2266" y="1422"/>
                  </a:cubicBezTo>
                  <a:cubicBezTo>
                    <a:pt x="2282" y="1422"/>
                    <a:pt x="2297" y="1422"/>
                    <a:pt x="2312" y="1422"/>
                  </a:cubicBezTo>
                  <a:cubicBezTo>
                    <a:pt x="2313" y="1422"/>
                    <a:pt x="2313" y="1422"/>
                    <a:pt x="2313" y="1422"/>
                  </a:cubicBezTo>
                  <a:cubicBezTo>
                    <a:pt x="2328" y="1422"/>
                    <a:pt x="2328" y="1422"/>
                    <a:pt x="2328" y="1422"/>
                  </a:cubicBezTo>
                  <a:cubicBezTo>
                    <a:pt x="2333" y="1422"/>
                    <a:pt x="2339" y="1422"/>
                    <a:pt x="2344" y="1423"/>
                  </a:cubicBezTo>
                  <a:cubicBezTo>
                    <a:pt x="2347" y="1424"/>
                    <a:pt x="2351" y="1425"/>
                    <a:pt x="2354" y="1426"/>
                  </a:cubicBezTo>
                  <a:cubicBezTo>
                    <a:pt x="2355" y="1426"/>
                    <a:pt x="2355" y="1426"/>
                    <a:pt x="2356" y="1426"/>
                  </a:cubicBezTo>
                  <a:cubicBezTo>
                    <a:pt x="2356" y="1427"/>
                    <a:pt x="2356" y="1427"/>
                    <a:pt x="2357" y="1427"/>
                  </a:cubicBezTo>
                  <a:cubicBezTo>
                    <a:pt x="2357" y="1427"/>
                    <a:pt x="2358" y="1427"/>
                    <a:pt x="2358" y="1427"/>
                  </a:cubicBezTo>
                  <a:cubicBezTo>
                    <a:pt x="2363" y="1429"/>
                    <a:pt x="2367" y="1431"/>
                    <a:pt x="2371" y="1433"/>
                  </a:cubicBezTo>
                  <a:cubicBezTo>
                    <a:pt x="2374" y="1436"/>
                    <a:pt x="2377" y="1438"/>
                    <a:pt x="2379" y="1441"/>
                  </a:cubicBezTo>
                  <a:cubicBezTo>
                    <a:pt x="2391" y="1458"/>
                    <a:pt x="2391" y="1458"/>
                    <a:pt x="2391" y="1458"/>
                  </a:cubicBezTo>
                  <a:cubicBezTo>
                    <a:pt x="2394" y="1463"/>
                    <a:pt x="2401" y="1471"/>
                    <a:pt x="2404" y="1478"/>
                  </a:cubicBezTo>
                  <a:cubicBezTo>
                    <a:pt x="2404" y="1478"/>
                    <a:pt x="2404" y="1478"/>
                    <a:pt x="2404" y="1478"/>
                  </a:cubicBezTo>
                  <a:cubicBezTo>
                    <a:pt x="2406" y="1481"/>
                    <a:pt x="2407" y="1484"/>
                    <a:pt x="2407" y="1487"/>
                  </a:cubicBezTo>
                  <a:close/>
                  <a:moveTo>
                    <a:pt x="1589" y="1480"/>
                  </a:moveTo>
                  <a:cubicBezTo>
                    <a:pt x="1589" y="1483"/>
                    <a:pt x="1588" y="1485"/>
                    <a:pt x="1587" y="1487"/>
                  </a:cubicBezTo>
                  <a:cubicBezTo>
                    <a:pt x="1576" y="1507"/>
                    <a:pt x="1525" y="1502"/>
                    <a:pt x="1507" y="1502"/>
                  </a:cubicBezTo>
                  <a:cubicBezTo>
                    <a:pt x="1496" y="1502"/>
                    <a:pt x="1485" y="1502"/>
                    <a:pt x="1474" y="1502"/>
                  </a:cubicBezTo>
                  <a:cubicBezTo>
                    <a:pt x="1464" y="1502"/>
                    <a:pt x="1451" y="1500"/>
                    <a:pt x="1442" y="1493"/>
                  </a:cubicBezTo>
                  <a:cubicBezTo>
                    <a:pt x="1442" y="1493"/>
                    <a:pt x="1441" y="1492"/>
                    <a:pt x="1441" y="1492"/>
                  </a:cubicBezTo>
                  <a:cubicBezTo>
                    <a:pt x="1441" y="1492"/>
                    <a:pt x="1440" y="1491"/>
                    <a:pt x="1440" y="1491"/>
                  </a:cubicBezTo>
                  <a:cubicBezTo>
                    <a:pt x="1439" y="1490"/>
                    <a:pt x="1439" y="1490"/>
                    <a:pt x="1439" y="1489"/>
                  </a:cubicBezTo>
                  <a:cubicBezTo>
                    <a:pt x="1439" y="1489"/>
                    <a:pt x="1439" y="1489"/>
                    <a:pt x="1438" y="1489"/>
                  </a:cubicBezTo>
                  <a:cubicBezTo>
                    <a:pt x="1438" y="1489"/>
                    <a:pt x="1438" y="1489"/>
                    <a:pt x="1438" y="1489"/>
                  </a:cubicBezTo>
                  <a:cubicBezTo>
                    <a:pt x="1438" y="1488"/>
                    <a:pt x="1437" y="1487"/>
                    <a:pt x="1437" y="1486"/>
                  </a:cubicBezTo>
                  <a:cubicBezTo>
                    <a:pt x="1436" y="1484"/>
                    <a:pt x="1436" y="1483"/>
                    <a:pt x="1436" y="1481"/>
                  </a:cubicBezTo>
                  <a:cubicBezTo>
                    <a:pt x="1436" y="1479"/>
                    <a:pt x="1436" y="1479"/>
                    <a:pt x="1436" y="1479"/>
                  </a:cubicBezTo>
                  <a:cubicBezTo>
                    <a:pt x="1437" y="1477"/>
                    <a:pt x="1437" y="1474"/>
                    <a:pt x="1437" y="1472"/>
                  </a:cubicBezTo>
                  <a:cubicBezTo>
                    <a:pt x="1437" y="1471"/>
                    <a:pt x="1437" y="1471"/>
                    <a:pt x="1437" y="1471"/>
                  </a:cubicBezTo>
                  <a:cubicBezTo>
                    <a:pt x="1438" y="1463"/>
                    <a:pt x="1438" y="1454"/>
                    <a:pt x="1440" y="1446"/>
                  </a:cubicBezTo>
                  <a:cubicBezTo>
                    <a:pt x="1440" y="1443"/>
                    <a:pt x="1440" y="1443"/>
                    <a:pt x="1440" y="1443"/>
                  </a:cubicBezTo>
                  <a:cubicBezTo>
                    <a:pt x="1441" y="1441"/>
                    <a:pt x="1442" y="1438"/>
                    <a:pt x="1444" y="1436"/>
                  </a:cubicBezTo>
                  <a:cubicBezTo>
                    <a:pt x="1446" y="1434"/>
                    <a:pt x="1448" y="1433"/>
                    <a:pt x="1450" y="1431"/>
                  </a:cubicBezTo>
                  <a:cubicBezTo>
                    <a:pt x="1450" y="1431"/>
                    <a:pt x="1450" y="1431"/>
                    <a:pt x="1450" y="1431"/>
                  </a:cubicBezTo>
                  <a:cubicBezTo>
                    <a:pt x="1451" y="1431"/>
                    <a:pt x="1451" y="1430"/>
                    <a:pt x="1452" y="1430"/>
                  </a:cubicBezTo>
                  <a:cubicBezTo>
                    <a:pt x="1452" y="1430"/>
                    <a:pt x="1453" y="1430"/>
                    <a:pt x="1453" y="1429"/>
                  </a:cubicBezTo>
                  <a:cubicBezTo>
                    <a:pt x="1453" y="1429"/>
                    <a:pt x="1454" y="1429"/>
                    <a:pt x="1454" y="1429"/>
                  </a:cubicBezTo>
                  <a:cubicBezTo>
                    <a:pt x="1455" y="1428"/>
                    <a:pt x="1457" y="1428"/>
                    <a:pt x="1458" y="1427"/>
                  </a:cubicBezTo>
                  <a:cubicBezTo>
                    <a:pt x="1459" y="1427"/>
                    <a:pt x="1459" y="1427"/>
                    <a:pt x="1460" y="1427"/>
                  </a:cubicBezTo>
                  <a:cubicBezTo>
                    <a:pt x="1461" y="1426"/>
                    <a:pt x="1463" y="1426"/>
                    <a:pt x="1464" y="1426"/>
                  </a:cubicBezTo>
                  <a:cubicBezTo>
                    <a:pt x="1465" y="1426"/>
                    <a:pt x="1465" y="1425"/>
                    <a:pt x="1466" y="1425"/>
                  </a:cubicBezTo>
                  <a:cubicBezTo>
                    <a:pt x="1466" y="1425"/>
                    <a:pt x="1466" y="1425"/>
                    <a:pt x="1466" y="1425"/>
                  </a:cubicBezTo>
                  <a:cubicBezTo>
                    <a:pt x="1467" y="1425"/>
                    <a:pt x="1468" y="1425"/>
                    <a:pt x="1468" y="1425"/>
                  </a:cubicBezTo>
                  <a:cubicBezTo>
                    <a:pt x="1472" y="1424"/>
                    <a:pt x="1476" y="1424"/>
                    <a:pt x="1480" y="1424"/>
                  </a:cubicBezTo>
                  <a:cubicBezTo>
                    <a:pt x="1483" y="1424"/>
                    <a:pt x="1483" y="1424"/>
                    <a:pt x="1483" y="1424"/>
                  </a:cubicBezTo>
                  <a:cubicBezTo>
                    <a:pt x="1487" y="1424"/>
                    <a:pt x="1492" y="1424"/>
                    <a:pt x="1496" y="1424"/>
                  </a:cubicBezTo>
                  <a:cubicBezTo>
                    <a:pt x="1550" y="1424"/>
                    <a:pt x="1550" y="1424"/>
                    <a:pt x="1550" y="1424"/>
                  </a:cubicBezTo>
                  <a:cubicBezTo>
                    <a:pt x="1551" y="1424"/>
                    <a:pt x="1552" y="1424"/>
                    <a:pt x="1554" y="1424"/>
                  </a:cubicBezTo>
                  <a:cubicBezTo>
                    <a:pt x="1554" y="1424"/>
                    <a:pt x="1555" y="1424"/>
                    <a:pt x="1555" y="1424"/>
                  </a:cubicBezTo>
                  <a:cubicBezTo>
                    <a:pt x="1556" y="1424"/>
                    <a:pt x="1558" y="1424"/>
                    <a:pt x="1559" y="1424"/>
                  </a:cubicBezTo>
                  <a:cubicBezTo>
                    <a:pt x="1570" y="1425"/>
                    <a:pt x="1582" y="1428"/>
                    <a:pt x="1586" y="1438"/>
                  </a:cubicBezTo>
                  <a:cubicBezTo>
                    <a:pt x="1587" y="1438"/>
                    <a:pt x="1587" y="1439"/>
                    <a:pt x="1587" y="1440"/>
                  </a:cubicBezTo>
                  <a:cubicBezTo>
                    <a:pt x="1588" y="1440"/>
                    <a:pt x="1588" y="1440"/>
                    <a:pt x="1588" y="1440"/>
                  </a:cubicBezTo>
                  <a:cubicBezTo>
                    <a:pt x="1591" y="1452"/>
                    <a:pt x="1588" y="1466"/>
                    <a:pt x="1589" y="1478"/>
                  </a:cubicBezTo>
                  <a:lnTo>
                    <a:pt x="1589" y="1480"/>
                  </a:lnTo>
                  <a:close/>
                  <a:moveTo>
                    <a:pt x="1511" y="1543"/>
                  </a:moveTo>
                  <a:cubicBezTo>
                    <a:pt x="1531" y="1543"/>
                    <a:pt x="1577" y="1537"/>
                    <a:pt x="1588" y="1559"/>
                  </a:cubicBezTo>
                  <a:cubicBezTo>
                    <a:pt x="1589" y="1561"/>
                    <a:pt x="1590" y="1563"/>
                    <a:pt x="1590" y="1566"/>
                  </a:cubicBezTo>
                  <a:cubicBezTo>
                    <a:pt x="1590" y="1589"/>
                    <a:pt x="1590" y="1589"/>
                    <a:pt x="1590" y="1589"/>
                  </a:cubicBezTo>
                  <a:cubicBezTo>
                    <a:pt x="1590" y="1595"/>
                    <a:pt x="1590" y="1602"/>
                    <a:pt x="1590" y="1609"/>
                  </a:cubicBezTo>
                  <a:cubicBezTo>
                    <a:pt x="1590" y="1609"/>
                    <a:pt x="1590" y="1609"/>
                    <a:pt x="1590" y="1609"/>
                  </a:cubicBezTo>
                  <a:cubicBezTo>
                    <a:pt x="1590" y="1612"/>
                    <a:pt x="1590" y="1612"/>
                    <a:pt x="1590" y="1612"/>
                  </a:cubicBezTo>
                  <a:cubicBezTo>
                    <a:pt x="1590" y="1615"/>
                    <a:pt x="1589" y="1619"/>
                    <a:pt x="1587" y="1622"/>
                  </a:cubicBezTo>
                  <a:cubicBezTo>
                    <a:pt x="1587" y="1622"/>
                    <a:pt x="1586" y="1623"/>
                    <a:pt x="1586" y="1623"/>
                  </a:cubicBezTo>
                  <a:cubicBezTo>
                    <a:pt x="1585" y="1624"/>
                    <a:pt x="1584" y="1625"/>
                    <a:pt x="1583" y="1626"/>
                  </a:cubicBezTo>
                  <a:cubicBezTo>
                    <a:pt x="1583" y="1626"/>
                    <a:pt x="1583" y="1626"/>
                    <a:pt x="1583" y="1626"/>
                  </a:cubicBezTo>
                  <a:cubicBezTo>
                    <a:pt x="1578" y="1631"/>
                    <a:pt x="1571" y="1634"/>
                    <a:pt x="1563" y="1636"/>
                  </a:cubicBezTo>
                  <a:cubicBezTo>
                    <a:pt x="1563" y="1636"/>
                    <a:pt x="1563" y="1636"/>
                    <a:pt x="1563" y="1636"/>
                  </a:cubicBezTo>
                  <a:cubicBezTo>
                    <a:pt x="1563" y="1636"/>
                    <a:pt x="1563" y="1636"/>
                    <a:pt x="1563" y="1636"/>
                  </a:cubicBezTo>
                  <a:cubicBezTo>
                    <a:pt x="1560" y="1637"/>
                    <a:pt x="1558" y="1637"/>
                    <a:pt x="1556" y="1637"/>
                  </a:cubicBezTo>
                  <a:cubicBezTo>
                    <a:pt x="1555" y="1637"/>
                    <a:pt x="1554" y="1637"/>
                    <a:pt x="1554" y="1638"/>
                  </a:cubicBezTo>
                  <a:cubicBezTo>
                    <a:pt x="1551" y="1638"/>
                    <a:pt x="1548" y="1638"/>
                    <a:pt x="1546" y="1638"/>
                  </a:cubicBezTo>
                  <a:cubicBezTo>
                    <a:pt x="1546" y="1638"/>
                    <a:pt x="1546" y="1638"/>
                    <a:pt x="1546" y="1638"/>
                  </a:cubicBezTo>
                  <a:cubicBezTo>
                    <a:pt x="1463" y="1638"/>
                    <a:pt x="1463" y="1638"/>
                    <a:pt x="1463" y="1638"/>
                  </a:cubicBezTo>
                  <a:cubicBezTo>
                    <a:pt x="1453" y="1638"/>
                    <a:pt x="1441" y="1636"/>
                    <a:pt x="1432" y="1631"/>
                  </a:cubicBezTo>
                  <a:cubicBezTo>
                    <a:pt x="1432" y="1631"/>
                    <a:pt x="1432" y="1631"/>
                    <a:pt x="1432" y="1631"/>
                  </a:cubicBezTo>
                  <a:cubicBezTo>
                    <a:pt x="1432" y="1631"/>
                    <a:pt x="1432" y="1630"/>
                    <a:pt x="1432" y="1630"/>
                  </a:cubicBezTo>
                  <a:cubicBezTo>
                    <a:pt x="1431" y="1629"/>
                    <a:pt x="1429" y="1628"/>
                    <a:pt x="1427" y="1627"/>
                  </a:cubicBezTo>
                  <a:cubicBezTo>
                    <a:pt x="1426" y="1626"/>
                    <a:pt x="1425" y="1624"/>
                    <a:pt x="1424" y="1623"/>
                  </a:cubicBezTo>
                  <a:cubicBezTo>
                    <a:pt x="1424" y="1623"/>
                    <a:pt x="1424" y="1623"/>
                    <a:pt x="1424" y="1622"/>
                  </a:cubicBezTo>
                  <a:cubicBezTo>
                    <a:pt x="1422" y="1619"/>
                    <a:pt x="1421" y="1616"/>
                    <a:pt x="1421" y="1612"/>
                  </a:cubicBezTo>
                  <a:cubicBezTo>
                    <a:pt x="1422" y="1606"/>
                    <a:pt x="1422" y="1606"/>
                    <a:pt x="1422" y="1606"/>
                  </a:cubicBezTo>
                  <a:cubicBezTo>
                    <a:pt x="1422" y="1606"/>
                    <a:pt x="1422" y="1606"/>
                    <a:pt x="1422" y="1606"/>
                  </a:cubicBezTo>
                  <a:cubicBezTo>
                    <a:pt x="1424" y="1593"/>
                    <a:pt x="1425" y="1580"/>
                    <a:pt x="1427" y="1567"/>
                  </a:cubicBezTo>
                  <a:cubicBezTo>
                    <a:pt x="1427" y="1566"/>
                    <a:pt x="1427" y="1566"/>
                    <a:pt x="1427" y="1566"/>
                  </a:cubicBezTo>
                  <a:cubicBezTo>
                    <a:pt x="1427" y="1566"/>
                    <a:pt x="1427" y="1566"/>
                    <a:pt x="1427" y="1565"/>
                  </a:cubicBezTo>
                  <a:cubicBezTo>
                    <a:pt x="1432" y="1536"/>
                    <a:pt x="1490" y="1543"/>
                    <a:pt x="1511" y="1543"/>
                  </a:cubicBezTo>
                  <a:close/>
                  <a:moveTo>
                    <a:pt x="1175" y="1631"/>
                  </a:moveTo>
                  <a:cubicBezTo>
                    <a:pt x="1173" y="1630"/>
                    <a:pt x="1172" y="1629"/>
                    <a:pt x="1170" y="1627"/>
                  </a:cubicBezTo>
                  <a:cubicBezTo>
                    <a:pt x="1169" y="1626"/>
                    <a:pt x="1169" y="1625"/>
                    <a:pt x="1168" y="1624"/>
                  </a:cubicBezTo>
                  <a:cubicBezTo>
                    <a:pt x="1168" y="1623"/>
                    <a:pt x="1168" y="1623"/>
                    <a:pt x="1168" y="1623"/>
                  </a:cubicBezTo>
                  <a:cubicBezTo>
                    <a:pt x="1166" y="1620"/>
                    <a:pt x="1166" y="1616"/>
                    <a:pt x="1167" y="1613"/>
                  </a:cubicBezTo>
                  <a:cubicBezTo>
                    <a:pt x="1169" y="1607"/>
                    <a:pt x="1169" y="1607"/>
                    <a:pt x="1169" y="1607"/>
                  </a:cubicBezTo>
                  <a:cubicBezTo>
                    <a:pt x="1169" y="1607"/>
                    <a:pt x="1169" y="1607"/>
                    <a:pt x="1169" y="1607"/>
                  </a:cubicBezTo>
                  <a:cubicBezTo>
                    <a:pt x="1169" y="1606"/>
                    <a:pt x="1169" y="1605"/>
                    <a:pt x="1170" y="1604"/>
                  </a:cubicBezTo>
                  <a:cubicBezTo>
                    <a:pt x="1181" y="1567"/>
                    <a:pt x="1181" y="1567"/>
                    <a:pt x="1181" y="1567"/>
                  </a:cubicBezTo>
                  <a:cubicBezTo>
                    <a:pt x="1181" y="1566"/>
                    <a:pt x="1181" y="1566"/>
                    <a:pt x="1182" y="1565"/>
                  </a:cubicBezTo>
                  <a:cubicBezTo>
                    <a:pt x="1193" y="1537"/>
                    <a:pt x="1244" y="1543"/>
                    <a:pt x="1268" y="1543"/>
                  </a:cubicBezTo>
                  <a:cubicBezTo>
                    <a:pt x="1278" y="1543"/>
                    <a:pt x="1297" y="1542"/>
                    <a:pt x="1314" y="1543"/>
                  </a:cubicBezTo>
                  <a:cubicBezTo>
                    <a:pt x="1317" y="1544"/>
                    <a:pt x="1320" y="1544"/>
                    <a:pt x="1323" y="1545"/>
                  </a:cubicBezTo>
                  <a:cubicBezTo>
                    <a:pt x="1323" y="1545"/>
                    <a:pt x="1323" y="1545"/>
                    <a:pt x="1324" y="1545"/>
                  </a:cubicBezTo>
                  <a:cubicBezTo>
                    <a:pt x="1332" y="1547"/>
                    <a:pt x="1339" y="1551"/>
                    <a:pt x="1342" y="1556"/>
                  </a:cubicBezTo>
                  <a:cubicBezTo>
                    <a:pt x="1342" y="1557"/>
                    <a:pt x="1342" y="1557"/>
                    <a:pt x="1343" y="1557"/>
                  </a:cubicBezTo>
                  <a:cubicBezTo>
                    <a:pt x="1343" y="1558"/>
                    <a:pt x="1343" y="1558"/>
                    <a:pt x="1343" y="1558"/>
                  </a:cubicBezTo>
                  <a:cubicBezTo>
                    <a:pt x="1343" y="1558"/>
                    <a:pt x="1343" y="1559"/>
                    <a:pt x="1343" y="1559"/>
                  </a:cubicBezTo>
                  <a:cubicBezTo>
                    <a:pt x="1344" y="1561"/>
                    <a:pt x="1345" y="1564"/>
                    <a:pt x="1344" y="1567"/>
                  </a:cubicBezTo>
                  <a:cubicBezTo>
                    <a:pt x="1344" y="1569"/>
                    <a:pt x="1344" y="1569"/>
                    <a:pt x="1344" y="1569"/>
                  </a:cubicBezTo>
                  <a:cubicBezTo>
                    <a:pt x="1344" y="1569"/>
                    <a:pt x="1344" y="1569"/>
                    <a:pt x="1344" y="1569"/>
                  </a:cubicBezTo>
                  <a:cubicBezTo>
                    <a:pt x="1343" y="1576"/>
                    <a:pt x="1341" y="1583"/>
                    <a:pt x="1340" y="1589"/>
                  </a:cubicBezTo>
                  <a:cubicBezTo>
                    <a:pt x="1336" y="1612"/>
                    <a:pt x="1336" y="1612"/>
                    <a:pt x="1336" y="1612"/>
                  </a:cubicBezTo>
                  <a:cubicBezTo>
                    <a:pt x="1336" y="1616"/>
                    <a:pt x="1334" y="1619"/>
                    <a:pt x="1331" y="1622"/>
                  </a:cubicBezTo>
                  <a:cubicBezTo>
                    <a:pt x="1331" y="1623"/>
                    <a:pt x="1330" y="1623"/>
                    <a:pt x="1330" y="1623"/>
                  </a:cubicBezTo>
                  <a:cubicBezTo>
                    <a:pt x="1330" y="1624"/>
                    <a:pt x="1329" y="1624"/>
                    <a:pt x="1329" y="1624"/>
                  </a:cubicBezTo>
                  <a:cubicBezTo>
                    <a:pt x="1328" y="1625"/>
                    <a:pt x="1327" y="1626"/>
                    <a:pt x="1326" y="1627"/>
                  </a:cubicBezTo>
                  <a:cubicBezTo>
                    <a:pt x="1320" y="1632"/>
                    <a:pt x="1312" y="1635"/>
                    <a:pt x="1305" y="1636"/>
                  </a:cubicBezTo>
                  <a:cubicBezTo>
                    <a:pt x="1305" y="1637"/>
                    <a:pt x="1305" y="1637"/>
                    <a:pt x="1305" y="1637"/>
                  </a:cubicBezTo>
                  <a:cubicBezTo>
                    <a:pt x="1304" y="1637"/>
                    <a:pt x="1304" y="1637"/>
                    <a:pt x="1304" y="1637"/>
                  </a:cubicBezTo>
                  <a:cubicBezTo>
                    <a:pt x="1302" y="1637"/>
                    <a:pt x="1300" y="1638"/>
                    <a:pt x="1297" y="1638"/>
                  </a:cubicBezTo>
                  <a:cubicBezTo>
                    <a:pt x="1297" y="1638"/>
                    <a:pt x="1296" y="1638"/>
                    <a:pt x="1295" y="1638"/>
                  </a:cubicBezTo>
                  <a:cubicBezTo>
                    <a:pt x="1292" y="1638"/>
                    <a:pt x="1290" y="1639"/>
                    <a:pt x="1287" y="1639"/>
                  </a:cubicBezTo>
                  <a:cubicBezTo>
                    <a:pt x="1287" y="1639"/>
                    <a:pt x="1287" y="1639"/>
                    <a:pt x="1287" y="1639"/>
                  </a:cubicBezTo>
                  <a:cubicBezTo>
                    <a:pt x="1204" y="1639"/>
                    <a:pt x="1204" y="1639"/>
                    <a:pt x="1204" y="1639"/>
                  </a:cubicBezTo>
                  <a:cubicBezTo>
                    <a:pt x="1194" y="1639"/>
                    <a:pt x="1183" y="1637"/>
                    <a:pt x="1175" y="1631"/>
                  </a:cubicBezTo>
                  <a:cubicBezTo>
                    <a:pt x="1175" y="1631"/>
                    <a:pt x="1175" y="1631"/>
                    <a:pt x="1175" y="1631"/>
                  </a:cubicBezTo>
                  <a:close/>
                  <a:moveTo>
                    <a:pt x="1278" y="1502"/>
                  </a:moveTo>
                  <a:cubicBezTo>
                    <a:pt x="1266" y="1502"/>
                    <a:pt x="1253" y="1502"/>
                    <a:pt x="1241" y="1502"/>
                  </a:cubicBezTo>
                  <a:cubicBezTo>
                    <a:pt x="1230" y="1502"/>
                    <a:pt x="1213" y="1500"/>
                    <a:pt x="1207" y="1489"/>
                  </a:cubicBezTo>
                  <a:cubicBezTo>
                    <a:pt x="1207" y="1488"/>
                    <a:pt x="1207" y="1487"/>
                    <a:pt x="1207" y="1486"/>
                  </a:cubicBezTo>
                  <a:cubicBezTo>
                    <a:pt x="1206" y="1486"/>
                    <a:pt x="1206" y="1485"/>
                    <a:pt x="1206" y="1484"/>
                  </a:cubicBezTo>
                  <a:cubicBezTo>
                    <a:pt x="1206" y="1483"/>
                    <a:pt x="1207" y="1482"/>
                    <a:pt x="1207" y="1481"/>
                  </a:cubicBezTo>
                  <a:cubicBezTo>
                    <a:pt x="1207" y="1481"/>
                    <a:pt x="1207" y="1481"/>
                    <a:pt x="1207" y="1481"/>
                  </a:cubicBezTo>
                  <a:cubicBezTo>
                    <a:pt x="1207" y="1481"/>
                    <a:pt x="1207" y="1481"/>
                    <a:pt x="1207" y="1481"/>
                  </a:cubicBezTo>
                  <a:cubicBezTo>
                    <a:pt x="1207" y="1478"/>
                    <a:pt x="1209" y="1474"/>
                    <a:pt x="1210" y="1472"/>
                  </a:cubicBezTo>
                  <a:cubicBezTo>
                    <a:pt x="1212" y="1463"/>
                    <a:pt x="1214" y="1453"/>
                    <a:pt x="1218" y="1445"/>
                  </a:cubicBezTo>
                  <a:cubicBezTo>
                    <a:pt x="1218" y="1444"/>
                    <a:pt x="1218" y="1444"/>
                    <a:pt x="1218" y="1444"/>
                  </a:cubicBezTo>
                  <a:cubicBezTo>
                    <a:pt x="1219" y="1441"/>
                    <a:pt x="1221" y="1438"/>
                    <a:pt x="1223" y="1436"/>
                  </a:cubicBezTo>
                  <a:cubicBezTo>
                    <a:pt x="1225" y="1435"/>
                    <a:pt x="1226" y="1434"/>
                    <a:pt x="1228" y="1433"/>
                  </a:cubicBezTo>
                  <a:cubicBezTo>
                    <a:pt x="1233" y="1429"/>
                    <a:pt x="1239" y="1427"/>
                    <a:pt x="1245" y="1426"/>
                  </a:cubicBezTo>
                  <a:cubicBezTo>
                    <a:pt x="1246" y="1426"/>
                    <a:pt x="1246" y="1426"/>
                    <a:pt x="1247" y="1426"/>
                  </a:cubicBezTo>
                  <a:cubicBezTo>
                    <a:pt x="1251" y="1425"/>
                    <a:pt x="1257" y="1424"/>
                    <a:pt x="1262" y="1424"/>
                  </a:cubicBezTo>
                  <a:cubicBezTo>
                    <a:pt x="1269" y="1424"/>
                    <a:pt x="1269" y="1424"/>
                    <a:pt x="1269" y="1424"/>
                  </a:cubicBezTo>
                  <a:cubicBezTo>
                    <a:pt x="1271" y="1424"/>
                    <a:pt x="1274" y="1424"/>
                    <a:pt x="1276" y="1424"/>
                  </a:cubicBezTo>
                  <a:cubicBezTo>
                    <a:pt x="1291" y="1424"/>
                    <a:pt x="1307" y="1424"/>
                    <a:pt x="1322" y="1424"/>
                  </a:cubicBezTo>
                  <a:cubicBezTo>
                    <a:pt x="1324" y="1424"/>
                    <a:pt x="1326" y="1424"/>
                    <a:pt x="1329" y="1424"/>
                  </a:cubicBezTo>
                  <a:cubicBezTo>
                    <a:pt x="1331" y="1424"/>
                    <a:pt x="1331" y="1424"/>
                    <a:pt x="1331" y="1424"/>
                  </a:cubicBezTo>
                  <a:cubicBezTo>
                    <a:pt x="1332" y="1424"/>
                    <a:pt x="1332" y="1424"/>
                    <a:pt x="1333" y="1424"/>
                  </a:cubicBezTo>
                  <a:cubicBezTo>
                    <a:pt x="1335" y="1424"/>
                    <a:pt x="1337" y="1424"/>
                    <a:pt x="1339" y="1425"/>
                  </a:cubicBezTo>
                  <a:cubicBezTo>
                    <a:pt x="1339" y="1425"/>
                    <a:pt x="1339" y="1425"/>
                    <a:pt x="1339" y="1425"/>
                  </a:cubicBezTo>
                  <a:cubicBezTo>
                    <a:pt x="1351" y="1426"/>
                    <a:pt x="1364" y="1429"/>
                    <a:pt x="1366" y="1439"/>
                  </a:cubicBezTo>
                  <a:cubicBezTo>
                    <a:pt x="1366" y="1439"/>
                    <a:pt x="1366" y="1440"/>
                    <a:pt x="1366" y="1440"/>
                  </a:cubicBezTo>
                  <a:cubicBezTo>
                    <a:pt x="1366" y="1440"/>
                    <a:pt x="1366" y="1440"/>
                    <a:pt x="1366" y="1441"/>
                  </a:cubicBezTo>
                  <a:cubicBezTo>
                    <a:pt x="1367" y="1452"/>
                    <a:pt x="1362" y="1467"/>
                    <a:pt x="1360" y="1478"/>
                  </a:cubicBezTo>
                  <a:cubicBezTo>
                    <a:pt x="1360" y="1478"/>
                    <a:pt x="1360" y="1478"/>
                    <a:pt x="1360" y="1478"/>
                  </a:cubicBezTo>
                  <a:cubicBezTo>
                    <a:pt x="1359" y="1481"/>
                    <a:pt x="1359" y="1481"/>
                    <a:pt x="1359" y="1481"/>
                  </a:cubicBezTo>
                  <a:cubicBezTo>
                    <a:pt x="1359" y="1483"/>
                    <a:pt x="1358" y="1485"/>
                    <a:pt x="1356" y="1487"/>
                  </a:cubicBezTo>
                  <a:cubicBezTo>
                    <a:pt x="1356" y="1488"/>
                    <a:pt x="1355" y="1488"/>
                    <a:pt x="1355" y="1489"/>
                  </a:cubicBezTo>
                  <a:cubicBezTo>
                    <a:pt x="1355" y="1489"/>
                    <a:pt x="1355" y="1489"/>
                    <a:pt x="1355" y="1489"/>
                  </a:cubicBezTo>
                  <a:cubicBezTo>
                    <a:pt x="1355" y="1489"/>
                    <a:pt x="1355" y="1489"/>
                    <a:pt x="1354" y="1489"/>
                  </a:cubicBezTo>
                  <a:cubicBezTo>
                    <a:pt x="1339" y="1507"/>
                    <a:pt x="1298" y="1502"/>
                    <a:pt x="1278" y="1502"/>
                  </a:cubicBezTo>
                  <a:close/>
                  <a:moveTo>
                    <a:pt x="911" y="1620"/>
                  </a:moveTo>
                  <a:cubicBezTo>
                    <a:pt x="911" y="1619"/>
                    <a:pt x="911" y="1618"/>
                    <a:pt x="911" y="1618"/>
                  </a:cubicBezTo>
                  <a:cubicBezTo>
                    <a:pt x="912" y="1616"/>
                    <a:pt x="912" y="1615"/>
                    <a:pt x="913" y="1614"/>
                  </a:cubicBezTo>
                  <a:cubicBezTo>
                    <a:pt x="913" y="1614"/>
                    <a:pt x="913" y="1614"/>
                    <a:pt x="913" y="1613"/>
                  </a:cubicBezTo>
                  <a:cubicBezTo>
                    <a:pt x="913" y="1612"/>
                    <a:pt x="913" y="1612"/>
                    <a:pt x="913" y="1612"/>
                  </a:cubicBezTo>
                  <a:cubicBezTo>
                    <a:pt x="914" y="1611"/>
                    <a:pt x="915" y="1609"/>
                    <a:pt x="916" y="1607"/>
                  </a:cubicBezTo>
                  <a:cubicBezTo>
                    <a:pt x="922" y="1594"/>
                    <a:pt x="928" y="1582"/>
                    <a:pt x="935" y="1569"/>
                  </a:cubicBezTo>
                  <a:cubicBezTo>
                    <a:pt x="935" y="1569"/>
                    <a:pt x="935" y="1569"/>
                    <a:pt x="935" y="1569"/>
                  </a:cubicBezTo>
                  <a:cubicBezTo>
                    <a:pt x="935" y="1568"/>
                    <a:pt x="935" y="1568"/>
                    <a:pt x="935" y="1568"/>
                  </a:cubicBezTo>
                  <a:cubicBezTo>
                    <a:pt x="936" y="1567"/>
                    <a:pt x="936" y="1566"/>
                    <a:pt x="937" y="1566"/>
                  </a:cubicBezTo>
                  <a:cubicBezTo>
                    <a:pt x="937" y="1565"/>
                    <a:pt x="938" y="1564"/>
                    <a:pt x="938" y="1563"/>
                  </a:cubicBezTo>
                  <a:cubicBezTo>
                    <a:pt x="938" y="1563"/>
                    <a:pt x="938" y="1563"/>
                    <a:pt x="939" y="1563"/>
                  </a:cubicBezTo>
                  <a:cubicBezTo>
                    <a:pt x="956" y="1539"/>
                    <a:pt x="997" y="1544"/>
                    <a:pt x="1023" y="1544"/>
                  </a:cubicBezTo>
                  <a:cubicBezTo>
                    <a:pt x="1023" y="1544"/>
                    <a:pt x="1023" y="1544"/>
                    <a:pt x="1023" y="1544"/>
                  </a:cubicBezTo>
                  <a:cubicBezTo>
                    <a:pt x="1030" y="1544"/>
                    <a:pt x="1049" y="1542"/>
                    <a:pt x="1066" y="1544"/>
                  </a:cubicBezTo>
                  <a:cubicBezTo>
                    <a:pt x="1071" y="1544"/>
                    <a:pt x="1077" y="1544"/>
                    <a:pt x="1081" y="1545"/>
                  </a:cubicBezTo>
                  <a:cubicBezTo>
                    <a:pt x="1084" y="1546"/>
                    <a:pt x="1087" y="1547"/>
                    <a:pt x="1089" y="1548"/>
                  </a:cubicBezTo>
                  <a:cubicBezTo>
                    <a:pt x="1095" y="1551"/>
                    <a:pt x="1099" y="1556"/>
                    <a:pt x="1099" y="1562"/>
                  </a:cubicBezTo>
                  <a:cubicBezTo>
                    <a:pt x="1099" y="1562"/>
                    <a:pt x="1099" y="1562"/>
                    <a:pt x="1099" y="1562"/>
                  </a:cubicBezTo>
                  <a:cubicBezTo>
                    <a:pt x="1099" y="1563"/>
                    <a:pt x="1099" y="1563"/>
                    <a:pt x="1099" y="1564"/>
                  </a:cubicBezTo>
                  <a:cubicBezTo>
                    <a:pt x="1099" y="1565"/>
                    <a:pt x="1099" y="1566"/>
                    <a:pt x="1099" y="1567"/>
                  </a:cubicBezTo>
                  <a:cubicBezTo>
                    <a:pt x="1082" y="1613"/>
                    <a:pt x="1082" y="1613"/>
                    <a:pt x="1082" y="1613"/>
                  </a:cubicBezTo>
                  <a:cubicBezTo>
                    <a:pt x="1081" y="1617"/>
                    <a:pt x="1078" y="1620"/>
                    <a:pt x="1075" y="1623"/>
                  </a:cubicBezTo>
                  <a:cubicBezTo>
                    <a:pt x="1071" y="1626"/>
                    <a:pt x="1067" y="1629"/>
                    <a:pt x="1062" y="1631"/>
                  </a:cubicBezTo>
                  <a:cubicBezTo>
                    <a:pt x="1062" y="1632"/>
                    <a:pt x="1061" y="1632"/>
                    <a:pt x="1061" y="1632"/>
                  </a:cubicBezTo>
                  <a:cubicBezTo>
                    <a:pt x="1054" y="1635"/>
                    <a:pt x="1047" y="1637"/>
                    <a:pt x="1039" y="1639"/>
                  </a:cubicBezTo>
                  <a:cubicBezTo>
                    <a:pt x="1038" y="1639"/>
                    <a:pt x="1038" y="1639"/>
                    <a:pt x="1038" y="1639"/>
                  </a:cubicBezTo>
                  <a:cubicBezTo>
                    <a:pt x="1036" y="1639"/>
                    <a:pt x="1035" y="1639"/>
                    <a:pt x="1034" y="1639"/>
                  </a:cubicBezTo>
                  <a:cubicBezTo>
                    <a:pt x="1020" y="1640"/>
                    <a:pt x="1005" y="1639"/>
                    <a:pt x="990" y="1639"/>
                  </a:cubicBezTo>
                  <a:cubicBezTo>
                    <a:pt x="975" y="1639"/>
                    <a:pt x="960" y="1640"/>
                    <a:pt x="945" y="1640"/>
                  </a:cubicBezTo>
                  <a:cubicBezTo>
                    <a:pt x="935" y="1640"/>
                    <a:pt x="920" y="1638"/>
                    <a:pt x="914" y="1628"/>
                  </a:cubicBezTo>
                  <a:cubicBezTo>
                    <a:pt x="913" y="1628"/>
                    <a:pt x="913" y="1628"/>
                    <a:pt x="913" y="1627"/>
                  </a:cubicBezTo>
                  <a:cubicBezTo>
                    <a:pt x="913" y="1627"/>
                    <a:pt x="912" y="1626"/>
                    <a:pt x="912" y="1626"/>
                  </a:cubicBezTo>
                  <a:cubicBezTo>
                    <a:pt x="912" y="1625"/>
                    <a:pt x="912" y="1624"/>
                    <a:pt x="911" y="1624"/>
                  </a:cubicBezTo>
                  <a:cubicBezTo>
                    <a:pt x="911" y="1624"/>
                    <a:pt x="911" y="1624"/>
                    <a:pt x="911" y="1624"/>
                  </a:cubicBezTo>
                  <a:cubicBezTo>
                    <a:pt x="911" y="1623"/>
                    <a:pt x="911" y="1623"/>
                    <a:pt x="911" y="1623"/>
                  </a:cubicBezTo>
                  <a:cubicBezTo>
                    <a:pt x="911" y="1622"/>
                    <a:pt x="911" y="1621"/>
                    <a:pt x="911" y="1620"/>
                  </a:cubicBezTo>
                  <a:close/>
                  <a:moveTo>
                    <a:pt x="910" y="1465"/>
                  </a:moveTo>
                  <a:cubicBezTo>
                    <a:pt x="910" y="1465"/>
                    <a:pt x="910" y="1465"/>
                    <a:pt x="910" y="1465"/>
                  </a:cubicBezTo>
                  <a:cubicBezTo>
                    <a:pt x="900" y="1482"/>
                    <a:pt x="900" y="1482"/>
                    <a:pt x="900" y="1482"/>
                  </a:cubicBezTo>
                  <a:cubicBezTo>
                    <a:pt x="899" y="1485"/>
                    <a:pt x="896" y="1488"/>
                    <a:pt x="893" y="1490"/>
                  </a:cubicBezTo>
                  <a:cubicBezTo>
                    <a:pt x="889" y="1493"/>
                    <a:pt x="885" y="1495"/>
                    <a:pt x="880" y="1497"/>
                  </a:cubicBezTo>
                  <a:cubicBezTo>
                    <a:pt x="879" y="1497"/>
                    <a:pt x="878" y="1498"/>
                    <a:pt x="876" y="1498"/>
                  </a:cubicBezTo>
                  <a:cubicBezTo>
                    <a:pt x="876" y="1499"/>
                    <a:pt x="875" y="1499"/>
                    <a:pt x="874" y="1499"/>
                  </a:cubicBezTo>
                  <a:cubicBezTo>
                    <a:pt x="874" y="1499"/>
                    <a:pt x="874" y="1499"/>
                    <a:pt x="874" y="1499"/>
                  </a:cubicBezTo>
                  <a:cubicBezTo>
                    <a:pt x="871" y="1500"/>
                    <a:pt x="868" y="1501"/>
                    <a:pt x="865" y="1502"/>
                  </a:cubicBezTo>
                  <a:cubicBezTo>
                    <a:pt x="859" y="1503"/>
                    <a:pt x="854" y="1503"/>
                    <a:pt x="848" y="1503"/>
                  </a:cubicBezTo>
                  <a:cubicBezTo>
                    <a:pt x="832" y="1503"/>
                    <a:pt x="832" y="1503"/>
                    <a:pt x="832" y="1503"/>
                  </a:cubicBezTo>
                  <a:cubicBezTo>
                    <a:pt x="832" y="1503"/>
                    <a:pt x="832" y="1503"/>
                    <a:pt x="832" y="1503"/>
                  </a:cubicBezTo>
                  <a:cubicBezTo>
                    <a:pt x="812" y="1503"/>
                    <a:pt x="793" y="1504"/>
                    <a:pt x="774" y="1504"/>
                  </a:cubicBezTo>
                  <a:cubicBezTo>
                    <a:pt x="765" y="1504"/>
                    <a:pt x="747" y="1502"/>
                    <a:pt x="745" y="1491"/>
                  </a:cubicBezTo>
                  <a:cubicBezTo>
                    <a:pt x="745" y="1489"/>
                    <a:pt x="745" y="1488"/>
                    <a:pt x="746" y="1486"/>
                  </a:cubicBezTo>
                  <a:cubicBezTo>
                    <a:pt x="747" y="1482"/>
                    <a:pt x="751" y="1478"/>
                    <a:pt x="753" y="1475"/>
                  </a:cubicBezTo>
                  <a:cubicBezTo>
                    <a:pt x="760" y="1464"/>
                    <a:pt x="766" y="1452"/>
                    <a:pt x="775" y="1443"/>
                  </a:cubicBezTo>
                  <a:cubicBezTo>
                    <a:pt x="775" y="1442"/>
                    <a:pt x="776" y="1442"/>
                    <a:pt x="776" y="1441"/>
                  </a:cubicBezTo>
                  <a:cubicBezTo>
                    <a:pt x="776" y="1441"/>
                    <a:pt x="777" y="1441"/>
                    <a:pt x="777" y="1441"/>
                  </a:cubicBezTo>
                  <a:cubicBezTo>
                    <a:pt x="799" y="1419"/>
                    <a:pt x="845" y="1425"/>
                    <a:pt x="873" y="1425"/>
                  </a:cubicBezTo>
                  <a:cubicBezTo>
                    <a:pt x="886" y="1425"/>
                    <a:pt x="901" y="1423"/>
                    <a:pt x="913" y="1428"/>
                  </a:cubicBezTo>
                  <a:cubicBezTo>
                    <a:pt x="913" y="1428"/>
                    <a:pt x="913" y="1428"/>
                    <a:pt x="913" y="1428"/>
                  </a:cubicBezTo>
                  <a:cubicBezTo>
                    <a:pt x="915" y="1429"/>
                    <a:pt x="916" y="1430"/>
                    <a:pt x="917" y="1430"/>
                  </a:cubicBezTo>
                  <a:cubicBezTo>
                    <a:pt x="917" y="1430"/>
                    <a:pt x="917" y="1431"/>
                    <a:pt x="918" y="1431"/>
                  </a:cubicBezTo>
                  <a:cubicBezTo>
                    <a:pt x="920" y="1432"/>
                    <a:pt x="922" y="1435"/>
                    <a:pt x="922" y="1437"/>
                  </a:cubicBezTo>
                  <a:cubicBezTo>
                    <a:pt x="923" y="1439"/>
                    <a:pt x="923" y="1442"/>
                    <a:pt x="921" y="1444"/>
                  </a:cubicBezTo>
                  <a:cubicBezTo>
                    <a:pt x="920" y="1446"/>
                    <a:pt x="920" y="1446"/>
                    <a:pt x="920" y="1446"/>
                  </a:cubicBezTo>
                  <a:cubicBezTo>
                    <a:pt x="918" y="1452"/>
                    <a:pt x="913" y="1460"/>
                    <a:pt x="910" y="1465"/>
                  </a:cubicBezTo>
                  <a:close/>
                  <a:moveTo>
                    <a:pt x="1095" y="1502"/>
                  </a:moveTo>
                  <a:cubicBezTo>
                    <a:pt x="1093" y="1502"/>
                    <a:pt x="1091" y="1502"/>
                    <a:pt x="1089" y="1502"/>
                  </a:cubicBezTo>
                  <a:cubicBezTo>
                    <a:pt x="1089" y="1502"/>
                    <a:pt x="1089" y="1503"/>
                    <a:pt x="1088" y="1503"/>
                  </a:cubicBezTo>
                  <a:cubicBezTo>
                    <a:pt x="1077" y="1504"/>
                    <a:pt x="1066" y="1503"/>
                    <a:pt x="1054" y="1503"/>
                  </a:cubicBezTo>
                  <a:cubicBezTo>
                    <a:pt x="1007" y="1503"/>
                    <a:pt x="1007" y="1503"/>
                    <a:pt x="1007" y="1503"/>
                  </a:cubicBezTo>
                  <a:cubicBezTo>
                    <a:pt x="997" y="1503"/>
                    <a:pt x="980" y="1501"/>
                    <a:pt x="976" y="1490"/>
                  </a:cubicBezTo>
                  <a:cubicBezTo>
                    <a:pt x="976" y="1489"/>
                    <a:pt x="976" y="1488"/>
                    <a:pt x="976" y="1487"/>
                  </a:cubicBezTo>
                  <a:cubicBezTo>
                    <a:pt x="976" y="1486"/>
                    <a:pt x="976" y="1486"/>
                    <a:pt x="976" y="1485"/>
                  </a:cubicBezTo>
                  <a:cubicBezTo>
                    <a:pt x="977" y="1481"/>
                    <a:pt x="980" y="1477"/>
                    <a:pt x="982" y="1473"/>
                  </a:cubicBezTo>
                  <a:cubicBezTo>
                    <a:pt x="986" y="1463"/>
                    <a:pt x="990" y="1449"/>
                    <a:pt x="998" y="1441"/>
                  </a:cubicBezTo>
                  <a:cubicBezTo>
                    <a:pt x="998" y="1440"/>
                    <a:pt x="999" y="1440"/>
                    <a:pt x="999" y="1440"/>
                  </a:cubicBezTo>
                  <a:cubicBezTo>
                    <a:pt x="1000" y="1439"/>
                    <a:pt x="1000" y="1439"/>
                    <a:pt x="1000" y="1438"/>
                  </a:cubicBezTo>
                  <a:cubicBezTo>
                    <a:pt x="1001" y="1438"/>
                    <a:pt x="1001" y="1438"/>
                    <a:pt x="1001" y="1438"/>
                  </a:cubicBezTo>
                  <a:cubicBezTo>
                    <a:pt x="1002" y="1437"/>
                    <a:pt x="1002" y="1437"/>
                    <a:pt x="1002" y="1437"/>
                  </a:cubicBezTo>
                  <a:cubicBezTo>
                    <a:pt x="1003" y="1436"/>
                    <a:pt x="1003" y="1436"/>
                    <a:pt x="1003" y="1436"/>
                  </a:cubicBezTo>
                  <a:cubicBezTo>
                    <a:pt x="1010" y="1431"/>
                    <a:pt x="1018" y="1428"/>
                    <a:pt x="1027" y="1427"/>
                  </a:cubicBezTo>
                  <a:cubicBezTo>
                    <a:pt x="1027" y="1427"/>
                    <a:pt x="1027" y="1426"/>
                    <a:pt x="1028" y="1426"/>
                  </a:cubicBezTo>
                  <a:cubicBezTo>
                    <a:pt x="1033" y="1425"/>
                    <a:pt x="1038" y="1425"/>
                    <a:pt x="1043" y="1425"/>
                  </a:cubicBezTo>
                  <a:cubicBezTo>
                    <a:pt x="1072" y="1425"/>
                    <a:pt x="1072" y="1425"/>
                    <a:pt x="1072" y="1425"/>
                  </a:cubicBezTo>
                  <a:cubicBezTo>
                    <a:pt x="1081" y="1425"/>
                    <a:pt x="1090" y="1425"/>
                    <a:pt x="1099" y="1425"/>
                  </a:cubicBezTo>
                  <a:cubicBezTo>
                    <a:pt x="1112" y="1425"/>
                    <a:pt x="1130" y="1423"/>
                    <a:pt x="1140" y="1432"/>
                  </a:cubicBezTo>
                  <a:cubicBezTo>
                    <a:pt x="1140" y="1433"/>
                    <a:pt x="1141" y="1433"/>
                    <a:pt x="1141" y="1434"/>
                  </a:cubicBezTo>
                  <a:cubicBezTo>
                    <a:pt x="1142" y="1434"/>
                    <a:pt x="1142" y="1434"/>
                    <a:pt x="1142" y="1434"/>
                  </a:cubicBezTo>
                  <a:cubicBezTo>
                    <a:pt x="1142" y="1434"/>
                    <a:pt x="1142" y="1435"/>
                    <a:pt x="1142" y="1435"/>
                  </a:cubicBezTo>
                  <a:cubicBezTo>
                    <a:pt x="1143" y="1435"/>
                    <a:pt x="1143" y="1436"/>
                    <a:pt x="1143" y="1436"/>
                  </a:cubicBezTo>
                  <a:cubicBezTo>
                    <a:pt x="1144" y="1438"/>
                    <a:pt x="1144" y="1440"/>
                    <a:pt x="1144" y="1442"/>
                  </a:cubicBezTo>
                  <a:cubicBezTo>
                    <a:pt x="1143" y="1452"/>
                    <a:pt x="1135" y="1467"/>
                    <a:pt x="1133" y="1473"/>
                  </a:cubicBezTo>
                  <a:cubicBezTo>
                    <a:pt x="1133" y="1474"/>
                    <a:pt x="1133" y="1474"/>
                    <a:pt x="1133" y="1474"/>
                  </a:cubicBezTo>
                  <a:cubicBezTo>
                    <a:pt x="1132" y="1476"/>
                    <a:pt x="1131" y="1478"/>
                    <a:pt x="1130" y="1480"/>
                  </a:cubicBezTo>
                  <a:cubicBezTo>
                    <a:pt x="1130" y="1481"/>
                    <a:pt x="1130" y="1481"/>
                    <a:pt x="1130" y="1481"/>
                  </a:cubicBezTo>
                  <a:cubicBezTo>
                    <a:pt x="1130" y="1482"/>
                    <a:pt x="1129" y="1483"/>
                    <a:pt x="1129" y="1483"/>
                  </a:cubicBezTo>
                  <a:cubicBezTo>
                    <a:pt x="1129" y="1484"/>
                    <a:pt x="1128" y="1484"/>
                    <a:pt x="1128" y="1485"/>
                  </a:cubicBezTo>
                  <a:cubicBezTo>
                    <a:pt x="1128" y="1485"/>
                    <a:pt x="1127" y="1486"/>
                    <a:pt x="1127" y="1487"/>
                  </a:cubicBezTo>
                  <a:cubicBezTo>
                    <a:pt x="1126" y="1487"/>
                    <a:pt x="1126" y="1487"/>
                    <a:pt x="1126" y="1488"/>
                  </a:cubicBezTo>
                  <a:cubicBezTo>
                    <a:pt x="1125" y="1488"/>
                    <a:pt x="1125" y="1488"/>
                    <a:pt x="1125" y="1488"/>
                  </a:cubicBezTo>
                  <a:cubicBezTo>
                    <a:pt x="1124" y="1489"/>
                    <a:pt x="1124" y="1489"/>
                    <a:pt x="1124" y="1490"/>
                  </a:cubicBezTo>
                  <a:cubicBezTo>
                    <a:pt x="1122" y="1491"/>
                    <a:pt x="1121" y="1492"/>
                    <a:pt x="1119" y="1493"/>
                  </a:cubicBezTo>
                  <a:cubicBezTo>
                    <a:pt x="1117" y="1494"/>
                    <a:pt x="1115" y="1495"/>
                    <a:pt x="1114" y="1496"/>
                  </a:cubicBezTo>
                  <a:cubicBezTo>
                    <a:pt x="1113" y="1496"/>
                    <a:pt x="1113" y="1496"/>
                    <a:pt x="1113" y="1496"/>
                  </a:cubicBezTo>
                  <a:cubicBezTo>
                    <a:pt x="1112" y="1497"/>
                    <a:pt x="1112" y="1497"/>
                    <a:pt x="1112" y="1497"/>
                  </a:cubicBezTo>
                  <a:cubicBezTo>
                    <a:pt x="1106" y="1499"/>
                    <a:pt x="1100" y="1501"/>
                    <a:pt x="1095" y="1502"/>
                  </a:cubicBezTo>
                  <a:close/>
                  <a:moveTo>
                    <a:pt x="773" y="1710"/>
                  </a:moveTo>
                  <a:cubicBezTo>
                    <a:pt x="773" y="1710"/>
                    <a:pt x="773" y="1710"/>
                    <a:pt x="773" y="1710"/>
                  </a:cubicBezTo>
                  <a:cubicBezTo>
                    <a:pt x="771" y="1721"/>
                    <a:pt x="762" y="1732"/>
                    <a:pt x="756" y="1742"/>
                  </a:cubicBezTo>
                  <a:cubicBezTo>
                    <a:pt x="756" y="1742"/>
                    <a:pt x="756" y="1742"/>
                    <a:pt x="756" y="1742"/>
                  </a:cubicBezTo>
                  <a:cubicBezTo>
                    <a:pt x="750" y="1753"/>
                    <a:pt x="744" y="1767"/>
                    <a:pt x="736" y="1777"/>
                  </a:cubicBezTo>
                  <a:cubicBezTo>
                    <a:pt x="735" y="1778"/>
                    <a:pt x="735" y="1779"/>
                    <a:pt x="734" y="1781"/>
                  </a:cubicBezTo>
                  <a:cubicBezTo>
                    <a:pt x="734" y="1781"/>
                    <a:pt x="733" y="1781"/>
                    <a:pt x="733" y="1781"/>
                  </a:cubicBezTo>
                  <a:cubicBezTo>
                    <a:pt x="732" y="1782"/>
                    <a:pt x="731" y="1783"/>
                    <a:pt x="730" y="1784"/>
                  </a:cubicBezTo>
                  <a:cubicBezTo>
                    <a:pt x="729" y="1785"/>
                    <a:pt x="729" y="1785"/>
                    <a:pt x="728" y="1786"/>
                  </a:cubicBezTo>
                  <a:cubicBezTo>
                    <a:pt x="728" y="1786"/>
                    <a:pt x="728" y="1786"/>
                    <a:pt x="728" y="1786"/>
                  </a:cubicBezTo>
                  <a:cubicBezTo>
                    <a:pt x="719" y="1794"/>
                    <a:pt x="708" y="1799"/>
                    <a:pt x="696" y="1802"/>
                  </a:cubicBezTo>
                  <a:cubicBezTo>
                    <a:pt x="695" y="1803"/>
                    <a:pt x="693" y="1803"/>
                    <a:pt x="692" y="1804"/>
                  </a:cubicBezTo>
                  <a:cubicBezTo>
                    <a:pt x="685" y="1805"/>
                    <a:pt x="678" y="1806"/>
                    <a:pt x="671" y="1806"/>
                  </a:cubicBezTo>
                  <a:cubicBezTo>
                    <a:pt x="665" y="1806"/>
                    <a:pt x="665" y="1806"/>
                    <a:pt x="665" y="1806"/>
                  </a:cubicBezTo>
                  <a:cubicBezTo>
                    <a:pt x="665" y="1806"/>
                    <a:pt x="665" y="1806"/>
                    <a:pt x="665" y="1806"/>
                  </a:cubicBezTo>
                  <a:cubicBezTo>
                    <a:pt x="636" y="1806"/>
                    <a:pt x="607" y="1807"/>
                    <a:pt x="578" y="1807"/>
                  </a:cubicBezTo>
                  <a:cubicBezTo>
                    <a:pt x="575" y="1807"/>
                    <a:pt x="573" y="1806"/>
                    <a:pt x="571" y="1806"/>
                  </a:cubicBezTo>
                  <a:cubicBezTo>
                    <a:pt x="567" y="1806"/>
                    <a:pt x="563" y="1805"/>
                    <a:pt x="560" y="1804"/>
                  </a:cubicBezTo>
                  <a:cubicBezTo>
                    <a:pt x="555" y="1802"/>
                    <a:pt x="551" y="1800"/>
                    <a:pt x="549" y="1797"/>
                  </a:cubicBezTo>
                  <a:cubicBezTo>
                    <a:pt x="546" y="1794"/>
                    <a:pt x="545" y="1790"/>
                    <a:pt x="545" y="1786"/>
                  </a:cubicBezTo>
                  <a:cubicBezTo>
                    <a:pt x="545" y="1783"/>
                    <a:pt x="546" y="1780"/>
                    <a:pt x="548" y="1777"/>
                  </a:cubicBezTo>
                  <a:cubicBezTo>
                    <a:pt x="548" y="1776"/>
                    <a:pt x="549" y="1776"/>
                    <a:pt x="549" y="1776"/>
                  </a:cubicBezTo>
                  <a:cubicBezTo>
                    <a:pt x="549" y="1775"/>
                    <a:pt x="549" y="1774"/>
                    <a:pt x="550" y="1774"/>
                  </a:cubicBezTo>
                  <a:cubicBezTo>
                    <a:pt x="551" y="1772"/>
                    <a:pt x="551" y="1772"/>
                    <a:pt x="551" y="1772"/>
                  </a:cubicBezTo>
                  <a:cubicBezTo>
                    <a:pt x="551" y="1772"/>
                    <a:pt x="551" y="1772"/>
                    <a:pt x="551" y="1772"/>
                  </a:cubicBezTo>
                  <a:cubicBezTo>
                    <a:pt x="558" y="1761"/>
                    <a:pt x="566" y="1750"/>
                    <a:pt x="574" y="1739"/>
                  </a:cubicBezTo>
                  <a:cubicBezTo>
                    <a:pt x="579" y="1730"/>
                    <a:pt x="585" y="1720"/>
                    <a:pt x="592" y="1713"/>
                  </a:cubicBezTo>
                  <a:cubicBezTo>
                    <a:pt x="593" y="1712"/>
                    <a:pt x="593" y="1711"/>
                    <a:pt x="594" y="1710"/>
                  </a:cubicBezTo>
                  <a:cubicBezTo>
                    <a:pt x="594" y="1710"/>
                    <a:pt x="595" y="1710"/>
                    <a:pt x="595" y="1710"/>
                  </a:cubicBezTo>
                  <a:cubicBezTo>
                    <a:pt x="596" y="1708"/>
                    <a:pt x="598" y="1707"/>
                    <a:pt x="600" y="1705"/>
                  </a:cubicBezTo>
                  <a:cubicBezTo>
                    <a:pt x="600" y="1705"/>
                    <a:pt x="600" y="1705"/>
                    <a:pt x="600" y="1705"/>
                  </a:cubicBezTo>
                  <a:cubicBezTo>
                    <a:pt x="600" y="1705"/>
                    <a:pt x="600" y="1705"/>
                    <a:pt x="600" y="1705"/>
                  </a:cubicBezTo>
                  <a:cubicBezTo>
                    <a:pt x="610" y="1697"/>
                    <a:pt x="622" y="1692"/>
                    <a:pt x="635" y="1690"/>
                  </a:cubicBezTo>
                  <a:cubicBezTo>
                    <a:pt x="635" y="1690"/>
                    <a:pt x="635" y="1690"/>
                    <a:pt x="635" y="1690"/>
                  </a:cubicBezTo>
                  <a:cubicBezTo>
                    <a:pt x="636" y="1690"/>
                    <a:pt x="636" y="1690"/>
                    <a:pt x="636" y="1690"/>
                  </a:cubicBezTo>
                  <a:cubicBezTo>
                    <a:pt x="638" y="1689"/>
                    <a:pt x="640" y="1689"/>
                    <a:pt x="643" y="1688"/>
                  </a:cubicBezTo>
                  <a:cubicBezTo>
                    <a:pt x="644" y="1688"/>
                    <a:pt x="646" y="1688"/>
                    <a:pt x="647" y="1688"/>
                  </a:cubicBezTo>
                  <a:cubicBezTo>
                    <a:pt x="649" y="1688"/>
                    <a:pt x="650" y="1688"/>
                    <a:pt x="652" y="1688"/>
                  </a:cubicBezTo>
                  <a:cubicBezTo>
                    <a:pt x="653" y="1687"/>
                    <a:pt x="654" y="1687"/>
                    <a:pt x="655" y="1687"/>
                  </a:cubicBezTo>
                  <a:cubicBezTo>
                    <a:pt x="656" y="1687"/>
                    <a:pt x="656" y="1687"/>
                    <a:pt x="656" y="1687"/>
                  </a:cubicBezTo>
                  <a:cubicBezTo>
                    <a:pt x="656" y="1687"/>
                    <a:pt x="656" y="1687"/>
                    <a:pt x="656" y="1687"/>
                  </a:cubicBezTo>
                  <a:cubicBezTo>
                    <a:pt x="683" y="1687"/>
                    <a:pt x="709" y="1687"/>
                    <a:pt x="736" y="1687"/>
                  </a:cubicBezTo>
                  <a:cubicBezTo>
                    <a:pt x="736" y="1687"/>
                    <a:pt x="736" y="1687"/>
                    <a:pt x="736" y="1687"/>
                  </a:cubicBezTo>
                  <a:cubicBezTo>
                    <a:pt x="740" y="1687"/>
                    <a:pt x="740" y="1687"/>
                    <a:pt x="740" y="1687"/>
                  </a:cubicBezTo>
                  <a:cubicBezTo>
                    <a:pt x="747" y="1687"/>
                    <a:pt x="753" y="1688"/>
                    <a:pt x="757" y="1689"/>
                  </a:cubicBezTo>
                  <a:cubicBezTo>
                    <a:pt x="759" y="1690"/>
                    <a:pt x="760" y="1690"/>
                    <a:pt x="761" y="1691"/>
                  </a:cubicBezTo>
                  <a:cubicBezTo>
                    <a:pt x="761" y="1691"/>
                    <a:pt x="762" y="1691"/>
                    <a:pt x="763" y="1691"/>
                  </a:cubicBezTo>
                  <a:cubicBezTo>
                    <a:pt x="763" y="1692"/>
                    <a:pt x="763" y="1692"/>
                    <a:pt x="764" y="1692"/>
                  </a:cubicBezTo>
                  <a:cubicBezTo>
                    <a:pt x="771" y="1695"/>
                    <a:pt x="775" y="1701"/>
                    <a:pt x="773" y="1710"/>
                  </a:cubicBezTo>
                  <a:close/>
                  <a:moveTo>
                    <a:pt x="828" y="1613"/>
                  </a:moveTo>
                  <a:cubicBezTo>
                    <a:pt x="827" y="1614"/>
                    <a:pt x="827" y="1614"/>
                    <a:pt x="827" y="1614"/>
                  </a:cubicBezTo>
                  <a:cubicBezTo>
                    <a:pt x="827" y="1614"/>
                    <a:pt x="827" y="1614"/>
                    <a:pt x="827" y="1614"/>
                  </a:cubicBezTo>
                  <a:cubicBezTo>
                    <a:pt x="826" y="1616"/>
                    <a:pt x="825" y="1617"/>
                    <a:pt x="824" y="1619"/>
                  </a:cubicBezTo>
                  <a:cubicBezTo>
                    <a:pt x="824" y="1619"/>
                    <a:pt x="824" y="1619"/>
                    <a:pt x="823" y="1619"/>
                  </a:cubicBezTo>
                  <a:cubicBezTo>
                    <a:pt x="817" y="1627"/>
                    <a:pt x="807" y="1632"/>
                    <a:pt x="797" y="1635"/>
                  </a:cubicBezTo>
                  <a:cubicBezTo>
                    <a:pt x="797" y="1635"/>
                    <a:pt x="797" y="1635"/>
                    <a:pt x="797" y="1635"/>
                  </a:cubicBezTo>
                  <a:cubicBezTo>
                    <a:pt x="795" y="1636"/>
                    <a:pt x="794" y="1636"/>
                    <a:pt x="792" y="1636"/>
                  </a:cubicBezTo>
                  <a:cubicBezTo>
                    <a:pt x="791" y="1637"/>
                    <a:pt x="790" y="1637"/>
                    <a:pt x="789" y="1637"/>
                  </a:cubicBezTo>
                  <a:cubicBezTo>
                    <a:pt x="788" y="1637"/>
                    <a:pt x="788" y="1638"/>
                    <a:pt x="787" y="1638"/>
                  </a:cubicBezTo>
                  <a:cubicBezTo>
                    <a:pt x="781" y="1639"/>
                    <a:pt x="774" y="1640"/>
                    <a:pt x="768" y="1640"/>
                  </a:cubicBezTo>
                  <a:cubicBezTo>
                    <a:pt x="767" y="1640"/>
                    <a:pt x="767" y="1640"/>
                    <a:pt x="767" y="1640"/>
                  </a:cubicBezTo>
                  <a:cubicBezTo>
                    <a:pt x="756" y="1641"/>
                    <a:pt x="745" y="1640"/>
                    <a:pt x="735" y="1640"/>
                  </a:cubicBezTo>
                  <a:cubicBezTo>
                    <a:pt x="718" y="1640"/>
                    <a:pt x="702" y="1640"/>
                    <a:pt x="685" y="1640"/>
                  </a:cubicBezTo>
                  <a:cubicBezTo>
                    <a:pt x="683" y="1640"/>
                    <a:pt x="680" y="1640"/>
                    <a:pt x="677" y="1640"/>
                  </a:cubicBezTo>
                  <a:cubicBezTo>
                    <a:pt x="677" y="1640"/>
                    <a:pt x="677" y="1640"/>
                    <a:pt x="676" y="1640"/>
                  </a:cubicBezTo>
                  <a:cubicBezTo>
                    <a:pt x="674" y="1639"/>
                    <a:pt x="672" y="1639"/>
                    <a:pt x="669" y="1638"/>
                  </a:cubicBezTo>
                  <a:cubicBezTo>
                    <a:pt x="669" y="1638"/>
                    <a:pt x="669" y="1638"/>
                    <a:pt x="669" y="1638"/>
                  </a:cubicBezTo>
                  <a:cubicBezTo>
                    <a:pt x="669" y="1638"/>
                    <a:pt x="669" y="1638"/>
                    <a:pt x="669" y="1638"/>
                  </a:cubicBezTo>
                  <a:cubicBezTo>
                    <a:pt x="662" y="1636"/>
                    <a:pt x="655" y="1632"/>
                    <a:pt x="655" y="1624"/>
                  </a:cubicBezTo>
                  <a:cubicBezTo>
                    <a:pt x="655" y="1623"/>
                    <a:pt x="655" y="1621"/>
                    <a:pt x="656" y="1620"/>
                  </a:cubicBezTo>
                  <a:cubicBezTo>
                    <a:pt x="656" y="1619"/>
                    <a:pt x="656" y="1619"/>
                    <a:pt x="656" y="1618"/>
                  </a:cubicBezTo>
                  <a:cubicBezTo>
                    <a:pt x="657" y="1617"/>
                    <a:pt x="657" y="1616"/>
                    <a:pt x="658" y="1614"/>
                  </a:cubicBezTo>
                  <a:cubicBezTo>
                    <a:pt x="658" y="1614"/>
                    <a:pt x="658" y="1614"/>
                    <a:pt x="658" y="1614"/>
                  </a:cubicBezTo>
                  <a:cubicBezTo>
                    <a:pt x="659" y="1613"/>
                    <a:pt x="659" y="1613"/>
                    <a:pt x="659" y="1613"/>
                  </a:cubicBezTo>
                  <a:cubicBezTo>
                    <a:pt x="660" y="1612"/>
                    <a:pt x="661" y="1610"/>
                    <a:pt x="662" y="1609"/>
                  </a:cubicBezTo>
                  <a:cubicBezTo>
                    <a:pt x="670" y="1597"/>
                    <a:pt x="678" y="1585"/>
                    <a:pt x="686" y="1572"/>
                  </a:cubicBezTo>
                  <a:cubicBezTo>
                    <a:pt x="687" y="1572"/>
                    <a:pt x="687" y="1572"/>
                    <a:pt x="687" y="1572"/>
                  </a:cubicBezTo>
                  <a:cubicBezTo>
                    <a:pt x="689" y="1568"/>
                    <a:pt x="689" y="1568"/>
                    <a:pt x="689" y="1568"/>
                  </a:cubicBezTo>
                  <a:cubicBezTo>
                    <a:pt x="692" y="1565"/>
                    <a:pt x="695" y="1562"/>
                    <a:pt x="699" y="1559"/>
                  </a:cubicBezTo>
                  <a:cubicBezTo>
                    <a:pt x="702" y="1557"/>
                    <a:pt x="705" y="1555"/>
                    <a:pt x="708" y="1554"/>
                  </a:cubicBezTo>
                  <a:cubicBezTo>
                    <a:pt x="709" y="1553"/>
                    <a:pt x="710" y="1553"/>
                    <a:pt x="711" y="1552"/>
                  </a:cubicBezTo>
                  <a:cubicBezTo>
                    <a:pt x="712" y="1552"/>
                    <a:pt x="712" y="1552"/>
                    <a:pt x="713" y="1551"/>
                  </a:cubicBezTo>
                  <a:cubicBezTo>
                    <a:pt x="713" y="1551"/>
                    <a:pt x="714" y="1551"/>
                    <a:pt x="714" y="1551"/>
                  </a:cubicBezTo>
                  <a:cubicBezTo>
                    <a:pt x="715" y="1551"/>
                    <a:pt x="715" y="1551"/>
                    <a:pt x="716" y="1550"/>
                  </a:cubicBezTo>
                  <a:cubicBezTo>
                    <a:pt x="720" y="1549"/>
                    <a:pt x="725" y="1547"/>
                    <a:pt x="730" y="1546"/>
                  </a:cubicBezTo>
                  <a:cubicBezTo>
                    <a:pt x="735" y="1545"/>
                    <a:pt x="741" y="1544"/>
                    <a:pt x="747" y="1544"/>
                  </a:cubicBezTo>
                  <a:cubicBezTo>
                    <a:pt x="763" y="1544"/>
                    <a:pt x="763" y="1544"/>
                    <a:pt x="763" y="1544"/>
                  </a:cubicBezTo>
                  <a:cubicBezTo>
                    <a:pt x="767" y="1544"/>
                    <a:pt x="770" y="1544"/>
                    <a:pt x="774" y="1544"/>
                  </a:cubicBezTo>
                  <a:cubicBezTo>
                    <a:pt x="789" y="1544"/>
                    <a:pt x="803" y="1544"/>
                    <a:pt x="818" y="1544"/>
                  </a:cubicBezTo>
                  <a:cubicBezTo>
                    <a:pt x="818" y="1544"/>
                    <a:pt x="818" y="1544"/>
                    <a:pt x="818" y="1544"/>
                  </a:cubicBezTo>
                  <a:cubicBezTo>
                    <a:pt x="824" y="1544"/>
                    <a:pt x="824" y="1544"/>
                    <a:pt x="824" y="1544"/>
                  </a:cubicBezTo>
                  <a:cubicBezTo>
                    <a:pt x="830" y="1544"/>
                    <a:pt x="835" y="1545"/>
                    <a:pt x="839" y="1546"/>
                  </a:cubicBezTo>
                  <a:cubicBezTo>
                    <a:pt x="843" y="1547"/>
                    <a:pt x="845" y="1548"/>
                    <a:pt x="847" y="1549"/>
                  </a:cubicBezTo>
                  <a:cubicBezTo>
                    <a:pt x="854" y="1553"/>
                    <a:pt x="858" y="1559"/>
                    <a:pt x="853" y="1568"/>
                  </a:cubicBezTo>
                  <a:cubicBezTo>
                    <a:pt x="848" y="1579"/>
                    <a:pt x="841" y="1590"/>
                    <a:pt x="835" y="1600"/>
                  </a:cubicBezTo>
                  <a:cubicBezTo>
                    <a:pt x="828" y="1613"/>
                    <a:pt x="828" y="1613"/>
                    <a:pt x="828" y="1613"/>
                  </a:cubicBezTo>
                  <a:cubicBezTo>
                    <a:pt x="828" y="1613"/>
                    <a:pt x="828" y="1613"/>
                    <a:pt x="828" y="1613"/>
                  </a:cubicBezTo>
                  <a:close/>
                  <a:moveTo>
                    <a:pt x="1592" y="1771"/>
                  </a:moveTo>
                  <a:cubicBezTo>
                    <a:pt x="1592" y="1773"/>
                    <a:pt x="1592" y="1775"/>
                    <a:pt x="1591" y="1777"/>
                  </a:cubicBezTo>
                  <a:cubicBezTo>
                    <a:pt x="1591" y="1778"/>
                    <a:pt x="1591" y="1778"/>
                    <a:pt x="1591" y="1778"/>
                  </a:cubicBezTo>
                  <a:cubicBezTo>
                    <a:pt x="1590" y="1780"/>
                    <a:pt x="1590" y="1782"/>
                    <a:pt x="1589" y="1783"/>
                  </a:cubicBezTo>
                  <a:cubicBezTo>
                    <a:pt x="1589" y="1783"/>
                    <a:pt x="1589" y="1783"/>
                    <a:pt x="1589" y="1784"/>
                  </a:cubicBezTo>
                  <a:cubicBezTo>
                    <a:pt x="1588" y="1784"/>
                    <a:pt x="1588" y="1784"/>
                    <a:pt x="1588" y="1784"/>
                  </a:cubicBezTo>
                  <a:cubicBezTo>
                    <a:pt x="1587" y="1786"/>
                    <a:pt x="1586" y="1788"/>
                    <a:pt x="1584" y="1789"/>
                  </a:cubicBezTo>
                  <a:cubicBezTo>
                    <a:pt x="1584" y="1789"/>
                    <a:pt x="1584" y="1789"/>
                    <a:pt x="1584" y="1789"/>
                  </a:cubicBezTo>
                  <a:cubicBezTo>
                    <a:pt x="1582" y="1791"/>
                    <a:pt x="1581" y="1792"/>
                    <a:pt x="1579" y="1794"/>
                  </a:cubicBezTo>
                  <a:cubicBezTo>
                    <a:pt x="1578" y="1794"/>
                    <a:pt x="1578" y="1794"/>
                    <a:pt x="1578" y="1794"/>
                  </a:cubicBezTo>
                  <a:cubicBezTo>
                    <a:pt x="1578" y="1794"/>
                    <a:pt x="1577" y="1795"/>
                    <a:pt x="1577" y="1795"/>
                  </a:cubicBezTo>
                  <a:cubicBezTo>
                    <a:pt x="1575" y="1796"/>
                    <a:pt x="1573" y="1797"/>
                    <a:pt x="1571" y="1798"/>
                  </a:cubicBezTo>
                  <a:cubicBezTo>
                    <a:pt x="1571" y="1798"/>
                    <a:pt x="1571" y="1798"/>
                    <a:pt x="1570" y="1798"/>
                  </a:cubicBezTo>
                  <a:cubicBezTo>
                    <a:pt x="1569" y="1799"/>
                    <a:pt x="1567" y="1800"/>
                    <a:pt x="1566" y="1800"/>
                  </a:cubicBezTo>
                  <a:cubicBezTo>
                    <a:pt x="1565" y="1800"/>
                    <a:pt x="1564" y="1801"/>
                    <a:pt x="1563" y="1801"/>
                  </a:cubicBezTo>
                  <a:cubicBezTo>
                    <a:pt x="1563" y="1801"/>
                    <a:pt x="1563" y="1801"/>
                    <a:pt x="1562" y="1801"/>
                  </a:cubicBezTo>
                  <a:cubicBezTo>
                    <a:pt x="1562" y="1801"/>
                    <a:pt x="1561" y="1801"/>
                    <a:pt x="1561" y="1802"/>
                  </a:cubicBezTo>
                  <a:cubicBezTo>
                    <a:pt x="1559" y="1802"/>
                    <a:pt x="1557" y="1802"/>
                    <a:pt x="1555" y="1803"/>
                  </a:cubicBezTo>
                  <a:cubicBezTo>
                    <a:pt x="1553" y="1803"/>
                    <a:pt x="1551" y="1803"/>
                    <a:pt x="1550" y="1803"/>
                  </a:cubicBezTo>
                  <a:cubicBezTo>
                    <a:pt x="1548" y="1804"/>
                    <a:pt x="1546" y="1804"/>
                    <a:pt x="1544" y="1804"/>
                  </a:cubicBezTo>
                  <a:cubicBezTo>
                    <a:pt x="1544" y="1804"/>
                    <a:pt x="1543" y="1804"/>
                    <a:pt x="1542" y="1804"/>
                  </a:cubicBezTo>
                  <a:cubicBezTo>
                    <a:pt x="1540" y="1804"/>
                    <a:pt x="1540" y="1804"/>
                    <a:pt x="1540" y="1804"/>
                  </a:cubicBezTo>
                  <a:cubicBezTo>
                    <a:pt x="1540" y="1804"/>
                    <a:pt x="1540" y="1804"/>
                    <a:pt x="1540" y="1804"/>
                  </a:cubicBezTo>
                  <a:cubicBezTo>
                    <a:pt x="1530" y="1804"/>
                    <a:pt x="1519" y="1804"/>
                    <a:pt x="1509" y="1804"/>
                  </a:cubicBezTo>
                  <a:cubicBezTo>
                    <a:pt x="1461" y="1804"/>
                    <a:pt x="908" y="1806"/>
                    <a:pt x="869" y="1806"/>
                  </a:cubicBezTo>
                  <a:cubicBezTo>
                    <a:pt x="866" y="1806"/>
                    <a:pt x="863" y="1806"/>
                    <a:pt x="861" y="1805"/>
                  </a:cubicBezTo>
                  <a:cubicBezTo>
                    <a:pt x="857" y="1805"/>
                    <a:pt x="853" y="1804"/>
                    <a:pt x="850" y="1803"/>
                  </a:cubicBezTo>
                  <a:cubicBezTo>
                    <a:pt x="845" y="1802"/>
                    <a:pt x="841" y="1799"/>
                    <a:pt x="838" y="1796"/>
                  </a:cubicBezTo>
                  <a:cubicBezTo>
                    <a:pt x="835" y="1793"/>
                    <a:pt x="833" y="1790"/>
                    <a:pt x="832" y="1786"/>
                  </a:cubicBezTo>
                  <a:cubicBezTo>
                    <a:pt x="832" y="1782"/>
                    <a:pt x="832" y="1778"/>
                    <a:pt x="834" y="1773"/>
                  </a:cubicBezTo>
                  <a:cubicBezTo>
                    <a:pt x="836" y="1771"/>
                    <a:pt x="836" y="1771"/>
                    <a:pt x="836" y="1771"/>
                  </a:cubicBezTo>
                  <a:cubicBezTo>
                    <a:pt x="836" y="1771"/>
                    <a:pt x="836" y="1771"/>
                    <a:pt x="836" y="1771"/>
                  </a:cubicBezTo>
                  <a:cubicBezTo>
                    <a:pt x="842" y="1758"/>
                    <a:pt x="848" y="1745"/>
                    <a:pt x="854" y="1732"/>
                  </a:cubicBezTo>
                  <a:cubicBezTo>
                    <a:pt x="856" y="1730"/>
                    <a:pt x="857" y="1728"/>
                    <a:pt x="858" y="1726"/>
                  </a:cubicBezTo>
                  <a:cubicBezTo>
                    <a:pt x="862" y="1716"/>
                    <a:pt x="862" y="1716"/>
                    <a:pt x="862" y="1716"/>
                  </a:cubicBezTo>
                  <a:cubicBezTo>
                    <a:pt x="864" y="1712"/>
                    <a:pt x="868" y="1708"/>
                    <a:pt x="872" y="1704"/>
                  </a:cubicBezTo>
                  <a:cubicBezTo>
                    <a:pt x="873" y="1704"/>
                    <a:pt x="874" y="1703"/>
                    <a:pt x="875" y="1702"/>
                  </a:cubicBezTo>
                  <a:cubicBezTo>
                    <a:pt x="875" y="1702"/>
                    <a:pt x="876" y="1701"/>
                    <a:pt x="877" y="1701"/>
                  </a:cubicBezTo>
                  <a:cubicBezTo>
                    <a:pt x="878" y="1700"/>
                    <a:pt x="878" y="1700"/>
                    <a:pt x="879" y="1699"/>
                  </a:cubicBezTo>
                  <a:cubicBezTo>
                    <a:pt x="880" y="1699"/>
                    <a:pt x="880" y="1699"/>
                    <a:pt x="880" y="1699"/>
                  </a:cubicBezTo>
                  <a:cubicBezTo>
                    <a:pt x="881" y="1698"/>
                    <a:pt x="881" y="1698"/>
                    <a:pt x="882" y="1698"/>
                  </a:cubicBezTo>
                  <a:cubicBezTo>
                    <a:pt x="883" y="1697"/>
                    <a:pt x="885" y="1696"/>
                    <a:pt x="886" y="1695"/>
                  </a:cubicBezTo>
                  <a:cubicBezTo>
                    <a:pt x="887" y="1695"/>
                    <a:pt x="888" y="1695"/>
                    <a:pt x="889" y="1694"/>
                  </a:cubicBezTo>
                  <a:cubicBezTo>
                    <a:pt x="890" y="1694"/>
                    <a:pt x="891" y="1693"/>
                    <a:pt x="893" y="1693"/>
                  </a:cubicBezTo>
                  <a:cubicBezTo>
                    <a:pt x="895" y="1692"/>
                    <a:pt x="897" y="1691"/>
                    <a:pt x="899" y="1690"/>
                  </a:cubicBezTo>
                  <a:cubicBezTo>
                    <a:pt x="900" y="1690"/>
                    <a:pt x="901" y="1690"/>
                    <a:pt x="903" y="1689"/>
                  </a:cubicBezTo>
                  <a:cubicBezTo>
                    <a:pt x="903" y="1689"/>
                    <a:pt x="904" y="1689"/>
                    <a:pt x="904" y="1689"/>
                  </a:cubicBezTo>
                  <a:cubicBezTo>
                    <a:pt x="910" y="1687"/>
                    <a:pt x="917" y="1687"/>
                    <a:pt x="923" y="1687"/>
                  </a:cubicBezTo>
                  <a:cubicBezTo>
                    <a:pt x="923" y="1687"/>
                    <a:pt x="1503" y="1685"/>
                    <a:pt x="1525" y="1685"/>
                  </a:cubicBezTo>
                  <a:cubicBezTo>
                    <a:pt x="1531" y="1685"/>
                    <a:pt x="1538" y="1685"/>
                    <a:pt x="1545" y="1685"/>
                  </a:cubicBezTo>
                  <a:cubicBezTo>
                    <a:pt x="1548" y="1685"/>
                    <a:pt x="1551" y="1685"/>
                    <a:pt x="1554" y="1686"/>
                  </a:cubicBezTo>
                  <a:cubicBezTo>
                    <a:pt x="1554" y="1686"/>
                    <a:pt x="1555" y="1686"/>
                    <a:pt x="1555" y="1686"/>
                  </a:cubicBezTo>
                  <a:cubicBezTo>
                    <a:pt x="1557" y="1686"/>
                    <a:pt x="1560" y="1686"/>
                    <a:pt x="1562" y="1687"/>
                  </a:cubicBezTo>
                  <a:cubicBezTo>
                    <a:pt x="1562" y="1687"/>
                    <a:pt x="1563" y="1687"/>
                    <a:pt x="1563" y="1687"/>
                  </a:cubicBezTo>
                  <a:cubicBezTo>
                    <a:pt x="1563" y="1687"/>
                    <a:pt x="1563" y="1687"/>
                    <a:pt x="1563" y="1687"/>
                  </a:cubicBezTo>
                  <a:cubicBezTo>
                    <a:pt x="1566" y="1688"/>
                    <a:pt x="1568" y="1689"/>
                    <a:pt x="1570" y="1690"/>
                  </a:cubicBezTo>
                  <a:cubicBezTo>
                    <a:pt x="1570" y="1690"/>
                    <a:pt x="1571" y="1690"/>
                    <a:pt x="1571" y="1690"/>
                  </a:cubicBezTo>
                  <a:cubicBezTo>
                    <a:pt x="1573" y="1691"/>
                    <a:pt x="1575" y="1692"/>
                    <a:pt x="1577" y="1693"/>
                  </a:cubicBezTo>
                  <a:cubicBezTo>
                    <a:pt x="1577" y="1693"/>
                    <a:pt x="1577" y="1693"/>
                    <a:pt x="1578" y="1693"/>
                  </a:cubicBezTo>
                  <a:cubicBezTo>
                    <a:pt x="1578" y="1694"/>
                    <a:pt x="1578" y="1694"/>
                    <a:pt x="1578" y="1694"/>
                  </a:cubicBezTo>
                  <a:cubicBezTo>
                    <a:pt x="1580" y="1695"/>
                    <a:pt x="1581" y="1696"/>
                    <a:pt x="1582" y="1697"/>
                  </a:cubicBezTo>
                  <a:cubicBezTo>
                    <a:pt x="1584" y="1698"/>
                    <a:pt x="1586" y="1700"/>
                    <a:pt x="1588" y="1703"/>
                  </a:cubicBezTo>
                  <a:cubicBezTo>
                    <a:pt x="1590" y="1706"/>
                    <a:pt x="1592" y="1710"/>
                    <a:pt x="1592" y="1714"/>
                  </a:cubicBezTo>
                  <a:cubicBezTo>
                    <a:pt x="1592" y="1717"/>
                    <a:pt x="1592" y="1717"/>
                    <a:pt x="1592" y="1717"/>
                  </a:cubicBezTo>
                  <a:cubicBezTo>
                    <a:pt x="1592" y="1717"/>
                    <a:pt x="1592" y="1717"/>
                    <a:pt x="1592" y="1717"/>
                  </a:cubicBezTo>
                  <a:cubicBezTo>
                    <a:pt x="1592" y="1731"/>
                    <a:pt x="1592" y="1746"/>
                    <a:pt x="1592" y="1760"/>
                  </a:cubicBezTo>
                  <a:cubicBezTo>
                    <a:pt x="1592" y="1764"/>
                    <a:pt x="1593" y="1767"/>
                    <a:pt x="1592" y="1771"/>
                  </a:cubicBezTo>
                  <a:close/>
                  <a:moveTo>
                    <a:pt x="1671" y="1490"/>
                  </a:moveTo>
                  <a:cubicBezTo>
                    <a:pt x="1671" y="1490"/>
                    <a:pt x="1670" y="1489"/>
                    <a:pt x="1670" y="1489"/>
                  </a:cubicBezTo>
                  <a:cubicBezTo>
                    <a:pt x="1670" y="1489"/>
                    <a:pt x="1669" y="1489"/>
                    <a:pt x="1669" y="1488"/>
                  </a:cubicBezTo>
                  <a:cubicBezTo>
                    <a:pt x="1667" y="1486"/>
                    <a:pt x="1666" y="1483"/>
                    <a:pt x="1665" y="1480"/>
                  </a:cubicBezTo>
                  <a:cubicBezTo>
                    <a:pt x="1665" y="1477"/>
                    <a:pt x="1665" y="1477"/>
                    <a:pt x="1665" y="1477"/>
                  </a:cubicBezTo>
                  <a:cubicBezTo>
                    <a:pt x="1665" y="1475"/>
                    <a:pt x="1665" y="1473"/>
                    <a:pt x="1665" y="1471"/>
                  </a:cubicBezTo>
                  <a:cubicBezTo>
                    <a:pt x="1665" y="1471"/>
                    <a:pt x="1665" y="1471"/>
                    <a:pt x="1665" y="1471"/>
                  </a:cubicBezTo>
                  <a:cubicBezTo>
                    <a:pt x="1664" y="1463"/>
                    <a:pt x="1662" y="1454"/>
                    <a:pt x="1663" y="1445"/>
                  </a:cubicBezTo>
                  <a:cubicBezTo>
                    <a:pt x="1663" y="1443"/>
                    <a:pt x="1663" y="1443"/>
                    <a:pt x="1663" y="1443"/>
                  </a:cubicBezTo>
                  <a:cubicBezTo>
                    <a:pt x="1662" y="1440"/>
                    <a:pt x="1663" y="1437"/>
                    <a:pt x="1665" y="1435"/>
                  </a:cubicBezTo>
                  <a:cubicBezTo>
                    <a:pt x="1667" y="1433"/>
                    <a:pt x="1669" y="1431"/>
                    <a:pt x="1673" y="1429"/>
                  </a:cubicBezTo>
                  <a:cubicBezTo>
                    <a:pt x="1676" y="1427"/>
                    <a:pt x="1680" y="1426"/>
                    <a:pt x="1684" y="1425"/>
                  </a:cubicBezTo>
                  <a:cubicBezTo>
                    <a:pt x="1684" y="1425"/>
                    <a:pt x="1684" y="1425"/>
                    <a:pt x="1684" y="1425"/>
                  </a:cubicBezTo>
                  <a:cubicBezTo>
                    <a:pt x="1685" y="1425"/>
                    <a:pt x="1685" y="1425"/>
                    <a:pt x="1685" y="1425"/>
                  </a:cubicBezTo>
                  <a:cubicBezTo>
                    <a:pt x="1687" y="1424"/>
                    <a:pt x="1689" y="1424"/>
                    <a:pt x="1690" y="1424"/>
                  </a:cubicBezTo>
                  <a:cubicBezTo>
                    <a:pt x="1691" y="1424"/>
                    <a:pt x="1692" y="1424"/>
                    <a:pt x="1693" y="1424"/>
                  </a:cubicBezTo>
                  <a:cubicBezTo>
                    <a:pt x="1700" y="1423"/>
                    <a:pt x="1708" y="1423"/>
                    <a:pt x="1716" y="1423"/>
                  </a:cubicBezTo>
                  <a:cubicBezTo>
                    <a:pt x="1769" y="1423"/>
                    <a:pt x="1769" y="1423"/>
                    <a:pt x="1769" y="1423"/>
                  </a:cubicBezTo>
                  <a:cubicBezTo>
                    <a:pt x="1772" y="1423"/>
                    <a:pt x="1775" y="1423"/>
                    <a:pt x="1778" y="1424"/>
                  </a:cubicBezTo>
                  <a:cubicBezTo>
                    <a:pt x="1792" y="1425"/>
                    <a:pt x="1808" y="1429"/>
                    <a:pt x="1810" y="1442"/>
                  </a:cubicBezTo>
                  <a:cubicBezTo>
                    <a:pt x="1814" y="1454"/>
                    <a:pt x="1815" y="1466"/>
                    <a:pt x="1817" y="1478"/>
                  </a:cubicBezTo>
                  <a:cubicBezTo>
                    <a:pt x="1818" y="1480"/>
                    <a:pt x="1818" y="1480"/>
                    <a:pt x="1818" y="1480"/>
                  </a:cubicBezTo>
                  <a:cubicBezTo>
                    <a:pt x="1818" y="1482"/>
                    <a:pt x="1818" y="1485"/>
                    <a:pt x="1817" y="1487"/>
                  </a:cubicBezTo>
                  <a:cubicBezTo>
                    <a:pt x="1817" y="1487"/>
                    <a:pt x="1817" y="1488"/>
                    <a:pt x="1816" y="1488"/>
                  </a:cubicBezTo>
                  <a:cubicBezTo>
                    <a:pt x="1816" y="1488"/>
                    <a:pt x="1816" y="1488"/>
                    <a:pt x="1816" y="1488"/>
                  </a:cubicBezTo>
                  <a:cubicBezTo>
                    <a:pt x="1816" y="1488"/>
                    <a:pt x="1816" y="1488"/>
                    <a:pt x="1816" y="1488"/>
                  </a:cubicBezTo>
                  <a:cubicBezTo>
                    <a:pt x="1813" y="1494"/>
                    <a:pt x="1807" y="1497"/>
                    <a:pt x="1799" y="1499"/>
                  </a:cubicBezTo>
                  <a:cubicBezTo>
                    <a:pt x="1798" y="1499"/>
                    <a:pt x="1798" y="1499"/>
                    <a:pt x="1797" y="1499"/>
                  </a:cubicBezTo>
                  <a:cubicBezTo>
                    <a:pt x="1796" y="1500"/>
                    <a:pt x="1796" y="1500"/>
                    <a:pt x="1795" y="1500"/>
                  </a:cubicBezTo>
                  <a:cubicBezTo>
                    <a:pt x="1794" y="1500"/>
                    <a:pt x="1794" y="1500"/>
                    <a:pt x="1793" y="1500"/>
                  </a:cubicBezTo>
                  <a:cubicBezTo>
                    <a:pt x="1792" y="1500"/>
                    <a:pt x="1790" y="1501"/>
                    <a:pt x="1789" y="1501"/>
                  </a:cubicBezTo>
                  <a:cubicBezTo>
                    <a:pt x="1771" y="1503"/>
                    <a:pt x="1750" y="1501"/>
                    <a:pt x="1741" y="1501"/>
                  </a:cubicBezTo>
                  <a:cubicBezTo>
                    <a:pt x="1707" y="1501"/>
                    <a:pt x="1707" y="1501"/>
                    <a:pt x="1707" y="1501"/>
                  </a:cubicBezTo>
                  <a:cubicBezTo>
                    <a:pt x="1704" y="1501"/>
                    <a:pt x="1702" y="1501"/>
                    <a:pt x="1699" y="1501"/>
                  </a:cubicBezTo>
                  <a:cubicBezTo>
                    <a:pt x="1697" y="1501"/>
                    <a:pt x="1695" y="1500"/>
                    <a:pt x="1693" y="1500"/>
                  </a:cubicBezTo>
                  <a:cubicBezTo>
                    <a:pt x="1693" y="1500"/>
                    <a:pt x="1692" y="1500"/>
                    <a:pt x="1692" y="1500"/>
                  </a:cubicBezTo>
                  <a:cubicBezTo>
                    <a:pt x="1691" y="1500"/>
                    <a:pt x="1691" y="1500"/>
                    <a:pt x="1691" y="1500"/>
                  </a:cubicBezTo>
                  <a:cubicBezTo>
                    <a:pt x="1689" y="1499"/>
                    <a:pt x="1687" y="1499"/>
                    <a:pt x="1685" y="1498"/>
                  </a:cubicBezTo>
                  <a:cubicBezTo>
                    <a:pt x="1684" y="1498"/>
                    <a:pt x="1684" y="1497"/>
                    <a:pt x="1683" y="1497"/>
                  </a:cubicBezTo>
                  <a:cubicBezTo>
                    <a:pt x="1681" y="1496"/>
                    <a:pt x="1680" y="1496"/>
                    <a:pt x="1678" y="1495"/>
                  </a:cubicBezTo>
                  <a:cubicBezTo>
                    <a:pt x="1676" y="1494"/>
                    <a:pt x="1674" y="1492"/>
                    <a:pt x="1672" y="1491"/>
                  </a:cubicBezTo>
                  <a:cubicBezTo>
                    <a:pt x="1672" y="1491"/>
                    <a:pt x="1671" y="1490"/>
                    <a:pt x="1671" y="1490"/>
                  </a:cubicBezTo>
                  <a:close/>
                  <a:moveTo>
                    <a:pt x="1680" y="1622"/>
                  </a:moveTo>
                  <a:cubicBezTo>
                    <a:pt x="1677" y="1618"/>
                    <a:pt x="1676" y="1615"/>
                    <a:pt x="1675" y="1612"/>
                  </a:cubicBezTo>
                  <a:cubicBezTo>
                    <a:pt x="1675" y="1607"/>
                    <a:pt x="1675" y="1607"/>
                    <a:pt x="1675" y="1607"/>
                  </a:cubicBezTo>
                  <a:cubicBezTo>
                    <a:pt x="1675" y="1607"/>
                    <a:pt x="1675" y="1607"/>
                    <a:pt x="1675" y="1607"/>
                  </a:cubicBezTo>
                  <a:cubicBezTo>
                    <a:pt x="1674" y="1593"/>
                    <a:pt x="1673" y="1580"/>
                    <a:pt x="1672" y="1567"/>
                  </a:cubicBezTo>
                  <a:cubicBezTo>
                    <a:pt x="1672" y="1567"/>
                    <a:pt x="1672" y="1567"/>
                    <a:pt x="1672" y="1567"/>
                  </a:cubicBezTo>
                  <a:cubicBezTo>
                    <a:pt x="1672" y="1566"/>
                    <a:pt x="1672" y="1566"/>
                    <a:pt x="1672" y="1566"/>
                  </a:cubicBezTo>
                  <a:cubicBezTo>
                    <a:pt x="1672" y="1565"/>
                    <a:pt x="1672" y="1564"/>
                    <a:pt x="1672" y="1563"/>
                  </a:cubicBezTo>
                  <a:cubicBezTo>
                    <a:pt x="1675" y="1535"/>
                    <a:pt x="1735" y="1542"/>
                    <a:pt x="1754" y="1542"/>
                  </a:cubicBezTo>
                  <a:cubicBezTo>
                    <a:pt x="1776" y="1542"/>
                    <a:pt x="1819" y="1537"/>
                    <a:pt x="1832" y="1559"/>
                  </a:cubicBezTo>
                  <a:cubicBezTo>
                    <a:pt x="1833" y="1561"/>
                    <a:pt x="1835" y="1563"/>
                    <a:pt x="1835" y="1565"/>
                  </a:cubicBezTo>
                  <a:cubicBezTo>
                    <a:pt x="1836" y="1568"/>
                    <a:pt x="1836" y="1568"/>
                    <a:pt x="1836" y="1568"/>
                  </a:cubicBezTo>
                  <a:cubicBezTo>
                    <a:pt x="1836" y="1568"/>
                    <a:pt x="1836" y="1568"/>
                    <a:pt x="1836" y="1568"/>
                  </a:cubicBezTo>
                  <a:cubicBezTo>
                    <a:pt x="1837" y="1575"/>
                    <a:pt x="1838" y="1581"/>
                    <a:pt x="1840" y="1588"/>
                  </a:cubicBezTo>
                  <a:cubicBezTo>
                    <a:pt x="1844" y="1611"/>
                    <a:pt x="1844" y="1611"/>
                    <a:pt x="1844" y="1611"/>
                  </a:cubicBezTo>
                  <a:cubicBezTo>
                    <a:pt x="1845" y="1615"/>
                    <a:pt x="1844" y="1618"/>
                    <a:pt x="1843" y="1621"/>
                  </a:cubicBezTo>
                  <a:cubicBezTo>
                    <a:pt x="1842" y="1623"/>
                    <a:pt x="1840" y="1625"/>
                    <a:pt x="1838" y="1627"/>
                  </a:cubicBezTo>
                  <a:cubicBezTo>
                    <a:pt x="1838" y="1627"/>
                    <a:pt x="1837" y="1628"/>
                    <a:pt x="1836" y="1629"/>
                  </a:cubicBezTo>
                  <a:cubicBezTo>
                    <a:pt x="1836" y="1629"/>
                    <a:pt x="1835" y="1629"/>
                    <a:pt x="1835" y="1630"/>
                  </a:cubicBezTo>
                  <a:cubicBezTo>
                    <a:pt x="1835" y="1630"/>
                    <a:pt x="1834" y="1630"/>
                    <a:pt x="1834" y="1630"/>
                  </a:cubicBezTo>
                  <a:cubicBezTo>
                    <a:pt x="1833" y="1631"/>
                    <a:pt x="1832" y="1631"/>
                    <a:pt x="1830" y="1632"/>
                  </a:cubicBezTo>
                  <a:cubicBezTo>
                    <a:pt x="1829" y="1633"/>
                    <a:pt x="1828" y="1633"/>
                    <a:pt x="1827" y="1634"/>
                  </a:cubicBezTo>
                  <a:cubicBezTo>
                    <a:pt x="1826" y="1634"/>
                    <a:pt x="1825" y="1634"/>
                    <a:pt x="1825" y="1634"/>
                  </a:cubicBezTo>
                  <a:cubicBezTo>
                    <a:pt x="1824" y="1635"/>
                    <a:pt x="1823" y="1635"/>
                    <a:pt x="1822" y="1635"/>
                  </a:cubicBezTo>
                  <a:cubicBezTo>
                    <a:pt x="1821" y="1635"/>
                    <a:pt x="1820" y="1636"/>
                    <a:pt x="1819" y="1636"/>
                  </a:cubicBezTo>
                  <a:cubicBezTo>
                    <a:pt x="1818" y="1636"/>
                    <a:pt x="1818" y="1636"/>
                    <a:pt x="1818" y="1636"/>
                  </a:cubicBezTo>
                  <a:cubicBezTo>
                    <a:pt x="1816" y="1636"/>
                    <a:pt x="1814" y="1637"/>
                    <a:pt x="1812" y="1637"/>
                  </a:cubicBezTo>
                  <a:cubicBezTo>
                    <a:pt x="1809" y="1637"/>
                    <a:pt x="1807" y="1637"/>
                    <a:pt x="1805" y="1637"/>
                  </a:cubicBezTo>
                  <a:cubicBezTo>
                    <a:pt x="1805" y="1637"/>
                    <a:pt x="1805" y="1637"/>
                    <a:pt x="1805" y="1637"/>
                  </a:cubicBezTo>
                  <a:cubicBezTo>
                    <a:pt x="1804" y="1637"/>
                    <a:pt x="1804" y="1637"/>
                    <a:pt x="1804" y="1637"/>
                  </a:cubicBezTo>
                  <a:cubicBezTo>
                    <a:pt x="1804" y="1637"/>
                    <a:pt x="1804" y="1637"/>
                    <a:pt x="1804" y="1637"/>
                  </a:cubicBezTo>
                  <a:cubicBezTo>
                    <a:pt x="1777" y="1637"/>
                    <a:pt x="1750" y="1637"/>
                    <a:pt x="1722" y="1638"/>
                  </a:cubicBezTo>
                  <a:cubicBezTo>
                    <a:pt x="1719" y="1638"/>
                    <a:pt x="1716" y="1637"/>
                    <a:pt x="1714" y="1637"/>
                  </a:cubicBezTo>
                  <a:cubicBezTo>
                    <a:pt x="1713" y="1637"/>
                    <a:pt x="1712" y="1637"/>
                    <a:pt x="1712" y="1637"/>
                  </a:cubicBezTo>
                  <a:cubicBezTo>
                    <a:pt x="1709" y="1636"/>
                    <a:pt x="1707" y="1636"/>
                    <a:pt x="1705" y="1636"/>
                  </a:cubicBezTo>
                  <a:cubicBezTo>
                    <a:pt x="1705" y="1636"/>
                    <a:pt x="1705" y="1636"/>
                    <a:pt x="1705" y="1636"/>
                  </a:cubicBezTo>
                  <a:cubicBezTo>
                    <a:pt x="1704" y="1635"/>
                    <a:pt x="1704" y="1635"/>
                    <a:pt x="1704" y="1635"/>
                  </a:cubicBezTo>
                  <a:cubicBezTo>
                    <a:pt x="1701" y="1635"/>
                    <a:pt x="1699" y="1634"/>
                    <a:pt x="1697" y="1633"/>
                  </a:cubicBezTo>
                  <a:cubicBezTo>
                    <a:pt x="1696" y="1633"/>
                    <a:pt x="1695" y="1632"/>
                    <a:pt x="1695" y="1632"/>
                  </a:cubicBezTo>
                  <a:cubicBezTo>
                    <a:pt x="1693" y="1632"/>
                    <a:pt x="1692" y="1631"/>
                    <a:pt x="1691" y="1630"/>
                  </a:cubicBezTo>
                  <a:cubicBezTo>
                    <a:pt x="1691" y="1630"/>
                    <a:pt x="1690" y="1630"/>
                    <a:pt x="1690" y="1630"/>
                  </a:cubicBezTo>
                  <a:cubicBezTo>
                    <a:pt x="1686" y="1628"/>
                    <a:pt x="1682" y="1625"/>
                    <a:pt x="1680" y="1622"/>
                  </a:cubicBezTo>
                  <a:close/>
                  <a:moveTo>
                    <a:pt x="1875" y="1783"/>
                  </a:moveTo>
                  <a:cubicBezTo>
                    <a:pt x="1873" y="1787"/>
                    <a:pt x="1870" y="1790"/>
                    <a:pt x="1866" y="1793"/>
                  </a:cubicBezTo>
                  <a:cubicBezTo>
                    <a:pt x="1862" y="1796"/>
                    <a:pt x="1858" y="1799"/>
                    <a:pt x="1852" y="1800"/>
                  </a:cubicBezTo>
                  <a:cubicBezTo>
                    <a:pt x="1846" y="1802"/>
                    <a:pt x="1840" y="1803"/>
                    <a:pt x="1833" y="1803"/>
                  </a:cubicBezTo>
                  <a:cubicBezTo>
                    <a:pt x="1815" y="1803"/>
                    <a:pt x="1815" y="1803"/>
                    <a:pt x="1815" y="1803"/>
                  </a:cubicBezTo>
                  <a:cubicBezTo>
                    <a:pt x="1814" y="1803"/>
                    <a:pt x="1814" y="1803"/>
                    <a:pt x="1814" y="1803"/>
                  </a:cubicBezTo>
                  <a:cubicBezTo>
                    <a:pt x="1789" y="1803"/>
                    <a:pt x="1765" y="1803"/>
                    <a:pt x="1740" y="1803"/>
                  </a:cubicBezTo>
                  <a:cubicBezTo>
                    <a:pt x="1737" y="1803"/>
                    <a:pt x="1734" y="1803"/>
                    <a:pt x="1731" y="1803"/>
                  </a:cubicBezTo>
                  <a:cubicBezTo>
                    <a:pt x="1730" y="1803"/>
                    <a:pt x="1730" y="1803"/>
                    <a:pt x="1729" y="1803"/>
                  </a:cubicBezTo>
                  <a:cubicBezTo>
                    <a:pt x="1726" y="1802"/>
                    <a:pt x="1724" y="1802"/>
                    <a:pt x="1721" y="1801"/>
                  </a:cubicBezTo>
                  <a:cubicBezTo>
                    <a:pt x="1721" y="1801"/>
                    <a:pt x="1721" y="1801"/>
                    <a:pt x="1720" y="1801"/>
                  </a:cubicBezTo>
                  <a:cubicBezTo>
                    <a:pt x="1720" y="1801"/>
                    <a:pt x="1720" y="1801"/>
                    <a:pt x="1720" y="1801"/>
                  </a:cubicBezTo>
                  <a:cubicBezTo>
                    <a:pt x="1709" y="1798"/>
                    <a:pt x="1698" y="1792"/>
                    <a:pt x="1692" y="1783"/>
                  </a:cubicBezTo>
                  <a:cubicBezTo>
                    <a:pt x="1692" y="1783"/>
                    <a:pt x="1692" y="1783"/>
                    <a:pt x="1692" y="1783"/>
                  </a:cubicBezTo>
                  <a:cubicBezTo>
                    <a:pt x="1692" y="1783"/>
                    <a:pt x="1692" y="1783"/>
                    <a:pt x="1692" y="1783"/>
                  </a:cubicBezTo>
                  <a:cubicBezTo>
                    <a:pt x="1691" y="1782"/>
                    <a:pt x="1690" y="1780"/>
                    <a:pt x="1690" y="1778"/>
                  </a:cubicBezTo>
                  <a:cubicBezTo>
                    <a:pt x="1689" y="1777"/>
                    <a:pt x="1689" y="1776"/>
                    <a:pt x="1689" y="1775"/>
                  </a:cubicBezTo>
                  <a:cubicBezTo>
                    <a:pt x="1688" y="1774"/>
                    <a:pt x="1688" y="1773"/>
                    <a:pt x="1688" y="1772"/>
                  </a:cubicBezTo>
                  <a:cubicBezTo>
                    <a:pt x="1688" y="1772"/>
                    <a:pt x="1688" y="1771"/>
                    <a:pt x="1688" y="1771"/>
                  </a:cubicBezTo>
                  <a:cubicBezTo>
                    <a:pt x="1687" y="1769"/>
                    <a:pt x="1687" y="1769"/>
                    <a:pt x="1687" y="1769"/>
                  </a:cubicBezTo>
                  <a:cubicBezTo>
                    <a:pt x="1687" y="1769"/>
                    <a:pt x="1687" y="1769"/>
                    <a:pt x="1687" y="1769"/>
                  </a:cubicBezTo>
                  <a:cubicBezTo>
                    <a:pt x="1686" y="1756"/>
                    <a:pt x="1685" y="1742"/>
                    <a:pt x="1684" y="1728"/>
                  </a:cubicBezTo>
                  <a:cubicBezTo>
                    <a:pt x="1684" y="1725"/>
                    <a:pt x="1684" y="1723"/>
                    <a:pt x="1684" y="1721"/>
                  </a:cubicBezTo>
                  <a:cubicBezTo>
                    <a:pt x="1683" y="1714"/>
                    <a:pt x="1683" y="1714"/>
                    <a:pt x="1683" y="1714"/>
                  </a:cubicBezTo>
                  <a:cubicBezTo>
                    <a:pt x="1683" y="1713"/>
                    <a:pt x="1683" y="1713"/>
                    <a:pt x="1683" y="1713"/>
                  </a:cubicBezTo>
                  <a:cubicBezTo>
                    <a:pt x="1683" y="1711"/>
                    <a:pt x="1683" y="1710"/>
                    <a:pt x="1684" y="1709"/>
                  </a:cubicBezTo>
                  <a:cubicBezTo>
                    <a:pt x="1684" y="1708"/>
                    <a:pt x="1684" y="1707"/>
                    <a:pt x="1684" y="1707"/>
                  </a:cubicBezTo>
                  <a:cubicBezTo>
                    <a:pt x="1685" y="1706"/>
                    <a:pt x="1685" y="1705"/>
                    <a:pt x="1685" y="1704"/>
                  </a:cubicBezTo>
                  <a:cubicBezTo>
                    <a:pt x="1686" y="1703"/>
                    <a:pt x="1686" y="1703"/>
                    <a:pt x="1686" y="1702"/>
                  </a:cubicBezTo>
                  <a:cubicBezTo>
                    <a:pt x="1686" y="1702"/>
                    <a:pt x="1686" y="1702"/>
                    <a:pt x="1686" y="1702"/>
                  </a:cubicBezTo>
                  <a:cubicBezTo>
                    <a:pt x="1687" y="1700"/>
                    <a:pt x="1688" y="1699"/>
                    <a:pt x="1689" y="1698"/>
                  </a:cubicBezTo>
                  <a:cubicBezTo>
                    <a:pt x="1690" y="1697"/>
                    <a:pt x="1691" y="1697"/>
                    <a:pt x="1691" y="1696"/>
                  </a:cubicBezTo>
                  <a:cubicBezTo>
                    <a:pt x="1692" y="1695"/>
                    <a:pt x="1693" y="1695"/>
                    <a:pt x="1694" y="1694"/>
                  </a:cubicBezTo>
                  <a:cubicBezTo>
                    <a:pt x="1695" y="1694"/>
                    <a:pt x="1695" y="1693"/>
                    <a:pt x="1695" y="1693"/>
                  </a:cubicBezTo>
                  <a:cubicBezTo>
                    <a:pt x="1695" y="1693"/>
                    <a:pt x="1696" y="1693"/>
                    <a:pt x="1696" y="1693"/>
                  </a:cubicBezTo>
                  <a:cubicBezTo>
                    <a:pt x="1698" y="1692"/>
                    <a:pt x="1699" y="1691"/>
                    <a:pt x="1701" y="1690"/>
                  </a:cubicBezTo>
                  <a:cubicBezTo>
                    <a:pt x="1702" y="1690"/>
                    <a:pt x="1702" y="1689"/>
                    <a:pt x="1702" y="1689"/>
                  </a:cubicBezTo>
                  <a:cubicBezTo>
                    <a:pt x="1703" y="1689"/>
                    <a:pt x="1703" y="1689"/>
                    <a:pt x="1703" y="1689"/>
                  </a:cubicBezTo>
                  <a:cubicBezTo>
                    <a:pt x="1704" y="1689"/>
                    <a:pt x="1704" y="1689"/>
                    <a:pt x="1705" y="1688"/>
                  </a:cubicBezTo>
                  <a:cubicBezTo>
                    <a:pt x="1706" y="1688"/>
                    <a:pt x="1708" y="1687"/>
                    <a:pt x="1709" y="1687"/>
                  </a:cubicBezTo>
                  <a:cubicBezTo>
                    <a:pt x="1710" y="1687"/>
                    <a:pt x="1711" y="1686"/>
                    <a:pt x="1712" y="1686"/>
                  </a:cubicBezTo>
                  <a:cubicBezTo>
                    <a:pt x="1713" y="1686"/>
                    <a:pt x="1714" y="1686"/>
                    <a:pt x="1714" y="1686"/>
                  </a:cubicBezTo>
                  <a:cubicBezTo>
                    <a:pt x="1717" y="1685"/>
                    <a:pt x="1720" y="1685"/>
                    <a:pt x="1723" y="1685"/>
                  </a:cubicBezTo>
                  <a:cubicBezTo>
                    <a:pt x="1723" y="1685"/>
                    <a:pt x="1724" y="1685"/>
                    <a:pt x="1724" y="1685"/>
                  </a:cubicBezTo>
                  <a:cubicBezTo>
                    <a:pt x="1725" y="1685"/>
                    <a:pt x="1726" y="1685"/>
                    <a:pt x="1727" y="1685"/>
                  </a:cubicBezTo>
                  <a:cubicBezTo>
                    <a:pt x="1731" y="1685"/>
                    <a:pt x="1731" y="1685"/>
                    <a:pt x="1731" y="1685"/>
                  </a:cubicBezTo>
                  <a:cubicBezTo>
                    <a:pt x="1736" y="1684"/>
                    <a:pt x="1740" y="1684"/>
                    <a:pt x="1744" y="1684"/>
                  </a:cubicBezTo>
                  <a:cubicBezTo>
                    <a:pt x="1748" y="1684"/>
                    <a:pt x="1752" y="1684"/>
                    <a:pt x="1755" y="1684"/>
                  </a:cubicBezTo>
                  <a:cubicBezTo>
                    <a:pt x="1791" y="1684"/>
                    <a:pt x="1791" y="1684"/>
                    <a:pt x="1791" y="1684"/>
                  </a:cubicBezTo>
                  <a:cubicBezTo>
                    <a:pt x="1801" y="1684"/>
                    <a:pt x="1811" y="1684"/>
                    <a:pt x="1820" y="1685"/>
                  </a:cubicBezTo>
                  <a:cubicBezTo>
                    <a:pt x="1822" y="1685"/>
                    <a:pt x="1823" y="1685"/>
                    <a:pt x="1825" y="1685"/>
                  </a:cubicBezTo>
                  <a:cubicBezTo>
                    <a:pt x="1826" y="1686"/>
                    <a:pt x="1827" y="1686"/>
                    <a:pt x="1828" y="1686"/>
                  </a:cubicBezTo>
                  <a:cubicBezTo>
                    <a:pt x="1828" y="1686"/>
                    <a:pt x="1829" y="1686"/>
                    <a:pt x="1830" y="1686"/>
                  </a:cubicBezTo>
                  <a:cubicBezTo>
                    <a:pt x="1830" y="1686"/>
                    <a:pt x="1831" y="1686"/>
                    <a:pt x="1831" y="1687"/>
                  </a:cubicBezTo>
                  <a:cubicBezTo>
                    <a:pt x="1832" y="1687"/>
                    <a:pt x="1832" y="1687"/>
                    <a:pt x="1833" y="1687"/>
                  </a:cubicBezTo>
                  <a:cubicBezTo>
                    <a:pt x="1834" y="1687"/>
                    <a:pt x="1836" y="1688"/>
                    <a:pt x="1838" y="1689"/>
                  </a:cubicBezTo>
                  <a:cubicBezTo>
                    <a:pt x="1839" y="1689"/>
                    <a:pt x="1840" y="1689"/>
                    <a:pt x="1841" y="1690"/>
                  </a:cubicBezTo>
                  <a:cubicBezTo>
                    <a:pt x="1842" y="1690"/>
                    <a:pt x="1842" y="1690"/>
                    <a:pt x="1843" y="1691"/>
                  </a:cubicBezTo>
                  <a:cubicBezTo>
                    <a:pt x="1845" y="1691"/>
                    <a:pt x="1846" y="1692"/>
                    <a:pt x="1847" y="1693"/>
                  </a:cubicBezTo>
                  <a:cubicBezTo>
                    <a:pt x="1852" y="1695"/>
                    <a:pt x="1856" y="1698"/>
                    <a:pt x="1859" y="1702"/>
                  </a:cubicBezTo>
                  <a:cubicBezTo>
                    <a:pt x="1862" y="1705"/>
                    <a:pt x="1864" y="1709"/>
                    <a:pt x="1865" y="1713"/>
                  </a:cubicBezTo>
                  <a:cubicBezTo>
                    <a:pt x="1870" y="1736"/>
                    <a:pt x="1870" y="1736"/>
                    <a:pt x="1870" y="1736"/>
                  </a:cubicBezTo>
                  <a:cubicBezTo>
                    <a:pt x="1871" y="1746"/>
                    <a:pt x="1873" y="1755"/>
                    <a:pt x="1875" y="1764"/>
                  </a:cubicBezTo>
                  <a:cubicBezTo>
                    <a:pt x="1875" y="1764"/>
                    <a:pt x="1875" y="1764"/>
                    <a:pt x="1875" y="1764"/>
                  </a:cubicBezTo>
                  <a:cubicBezTo>
                    <a:pt x="1876" y="1770"/>
                    <a:pt x="1876" y="1770"/>
                    <a:pt x="1876" y="1770"/>
                  </a:cubicBezTo>
                  <a:cubicBezTo>
                    <a:pt x="1877" y="1775"/>
                    <a:pt x="1877" y="1779"/>
                    <a:pt x="1875" y="1783"/>
                  </a:cubicBezTo>
                  <a:close/>
                  <a:moveTo>
                    <a:pt x="2041" y="1494"/>
                  </a:moveTo>
                  <a:cubicBezTo>
                    <a:pt x="2036" y="1492"/>
                    <a:pt x="2032" y="1490"/>
                    <a:pt x="2030" y="1487"/>
                  </a:cubicBezTo>
                  <a:cubicBezTo>
                    <a:pt x="2027" y="1485"/>
                    <a:pt x="2024" y="1482"/>
                    <a:pt x="2023" y="1479"/>
                  </a:cubicBezTo>
                  <a:cubicBezTo>
                    <a:pt x="2021" y="1474"/>
                    <a:pt x="2021" y="1474"/>
                    <a:pt x="2021" y="1474"/>
                  </a:cubicBezTo>
                  <a:cubicBezTo>
                    <a:pt x="2019" y="1467"/>
                    <a:pt x="2016" y="1460"/>
                    <a:pt x="2014" y="1453"/>
                  </a:cubicBezTo>
                  <a:cubicBezTo>
                    <a:pt x="2012" y="1449"/>
                    <a:pt x="2009" y="1444"/>
                    <a:pt x="2009" y="1439"/>
                  </a:cubicBezTo>
                  <a:cubicBezTo>
                    <a:pt x="2009" y="1439"/>
                    <a:pt x="2009" y="1438"/>
                    <a:pt x="2009" y="1437"/>
                  </a:cubicBezTo>
                  <a:cubicBezTo>
                    <a:pt x="2009" y="1437"/>
                    <a:pt x="2009" y="1437"/>
                    <a:pt x="2009" y="1437"/>
                  </a:cubicBezTo>
                  <a:cubicBezTo>
                    <a:pt x="2009" y="1436"/>
                    <a:pt x="2009" y="1436"/>
                    <a:pt x="2009" y="1436"/>
                  </a:cubicBezTo>
                  <a:cubicBezTo>
                    <a:pt x="2010" y="1435"/>
                    <a:pt x="2009" y="1435"/>
                    <a:pt x="2010" y="1434"/>
                  </a:cubicBezTo>
                  <a:cubicBezTo>
                    <a:pt x="2010" y="1434"/>
                    <a:pt x="2010" y="1434"/>
                    <a:pt x="2010" y="1434"/>
                  </a:cubicBezTo>
                  <a:cubicBezTo>
                    <a:pt x="2016" y="1421"/>
                    <a:pt x="2039" y="1423"/>
                    <a:pt x="2051" y="1423"/>
                  </a:cubicBezTo>
                  <a:cubicBezTo>
                    <a:pt x="2110" y="1422"/>
                    <a:pt x="2110" y="1422"/>
                    <a:pt x="2110" y="1422"/>
                  </a:cubicBezTo>
                  <a:cubicBezTo>
                    <a:pt x="2115" y="1422"/>
                    <a:pt x="2120" y="1423"/>
                    <a:pt x="2125" y="1424"/>
                  </a:cubicBezTo>
                  <a:cubicBezTo>
                    <a:pt x="2126" y="1424"/>
                    <a:pt x="2128" y="1424"/>
                    <a:pt x="2129" y="1425"/>
                  </a:cubicBezTo>
                  <a:cubicBezTo>
                    <a:pt x="2129" y="1425"/>
                    <a:pt x="2130" y="1425"/>
                    <a:pt x="2131" y="1425"/>
                  </a:cubicBezTo>
                  <a:cubicBezTo>
                    <a:pt x="2132" y="1425"/>
                    <a:pt x="2133" y="1426"/>
                    <a:pt x="2133" y="1426"/>
                  </a:cubicBezTo>
                  <a:cubicBezTo>
                    <a:pt x="2135" y="1426"/>
                    <a:pt x="2137" y="1427"/>
                    <a:pt x="2138" y="1428"/>
                  </a:cubicBezTo>
                  <a:cubicBezTo>
                    <a:pt x="2139" y="1428"/>
                    <a:pt x="2139" y="1428"/>
                    <a:pt x="2139" y="1428"/>
                  </a:cubicBezTo>
                  <a:cubicBezTo>
                    <a:pt x="2139" y="1428"/>
                    <a:pt x="2139" y="1428"/>
                    <a:pt x="2140" y="1428"/>
                  </a:cubicBezTo>
                  <a:cubicBezTo>
                    <a:pt x="2141" y="1429"/>
                    <a:pt x="2142" y="1429"/>
                    <a:pt x="2144" y="1430"/>
                  </a:cubicBezTo>
                  <a:cubicBezTo>
                    <a:pt x="2145" y="1431"/>
                    <a:pt x="2146" y="1431"/>
                    <a:pt x="2146" y="1431"/>
                  </a:cubicBezTo>
                  <a:cubicBezTo>
                    <a:pt x="2147" y="1432"/>
                    <a:pt x="2147" y="1432"/>
                    <a:pt x="2148" y="1432"/>
                  </a:cubicBezTo>
                  <a:cubicBezTo>
                    <a:pt x="2148" y="1433"/>
                    <a:pt x="2148" y="1433"/>
                    <a:pt x="2149" y="1433"/>
                  </a:cubicBezTo>
                  <a:cubicBezTo>
                    <a:pt x="2149" y="1433"/>
                    <a:pt x="2150" y="1434"/>
                    <a:pt x="2150" y="1434"/>
                  </a:cubicBezTo>
                  <a:cubicBezTo>
                    <a:pt x="2153" y="1436"/>
                    <a:pt x="2156" y="1439"/>
                    <a:pt x="2157" y="1442"/>
                  </a:cubicBezTo>
                  <a:cubicBezTo>
                    <a:pt x="2157" y="1442"/>
                    <a:pt x="2157" y="1442"/>
                    <a:pt x="2157" y="1442"/>
                  </a:cubicBezTo>
                  <a:cubicBezTo>
                    <a:pt x="2163" y="1450"/>
                    <a:pt x="2166" y="1460"/>
                    <a:pt x="2170" y="1468"/>
                  </a:cubicBezTo>
                  <a:cubicBezTo>
                    <a:pt x="2170" y="1468"/>
                    <a:pt x="2170" y="1468"/>
                    <a:pt x="2170" y="1468"/>
                  </a:cubicBezTo>
                  <a:cubicBezTo>
                    <a:pt x="2172" y="1473"/>
                    <a:pt x="2176" y="1477"/>
                    <a:pt x="2177" y="1482"/>
                  </a:cubicBezTo>
                  <a:cubicBezTo>
                    <a:pt x="2177" y="1482"/>
                    <a:pt x="2177" y="1483"/>
                    <a:pt x="2177" y="1483"/>
                  </a:cubicBezTo>
                  <a:cubicBezTo>
                    <a:pt x="2177" y="1483"/>
                    <a:pt x="2177" y="1483"/>
                    <a:pt x="2177" y="1483"/>
                  </a:cubicBezTo>
                  <a:cubicBezTo>
                    <a:pt x="2178" y="1492"/>
                    <a:pt x="2170" y="1496"/>
                    <a:pt x="2162" y="1498"/>
                  </a:cubicBezTo>
                  <a:cubicBezTo>
                    <a:pt x="2161" y="1498"/>
                    <a:pt x="2161" y="1498"/>
                    <a:pt x="2161" y="1499"/>
                  </a:cubicBezTo>
                  <a:cubicBezTo>
                    <a:pt x="2160" y="1499"/>
                    <a:pt x="2160" y="1499"/>
                    <a:pt x="2159" y="1499"/>
                  </a:cubicBezTo>
                  <a:cubicBezTo>
                    <a:pt x="2158" y="1499"/>
                    <a:pt x="2156" y="1499"/>
                    <a:pt x="2155" y="1500"/>
                  </a:cubicBezTo>
                  <a:cubicBezTo>
                    <a:pt x="2154" y="1500"/>
                    <a:pt x="2154" y="1500"/>
                    <a:pt x="2153" y="1500"/>
                  </a:cubicBezTo>
                  <a:cubicBezTo>
                    <a:pt x="2152" y="1500"/>
                    <a:pt x="2150" y="1500"/>
                    <a:pt x="2149" y="1500"/>
                  </a:cubicBezTo>
                  <a:cubicBezTo>
                    <a:pt x="2148" y="1500"/>
                    <a:pt x="2147" y="1500"/>
                    <a:pt x="2146" y="1500"/>
                  </a:cubicBezTo>
                  <a:cubicBezTo>
                    <a:pt x="2146" y="1500"/>
                    <a:pt x="2146" y="1500"/>
                    <a:pt x="2146" y="1500"/>
                  </a:cubicBezTo>
                  <a:cubicBezTo>
                    <a:pt x="2144" y="1500"/>
                    <a:pt x="2144" y="1500"/>
                    <a:pt x="2144" y="1500"/>
                  </a:cubicBezTo>
                  <a:cubicBezTo>
                    <a:pt x="2135" y="1500"/>
                    <a:pt x="2126" y="1500"/>
                    <a:pt x="2117" y="1500"/>
                  </a:cubicBezTo>
                  <a:cubicBezTo>
                    <a:pt x="2102" y="1500"/>
                    <a:pt x="2087" y="1500"/>
                    <a:pt x="2072" y="1500"/>
                  </a:cubicBezTo>
                  <a:cubicBezTo>
                    <a:pt x="2061" y="1500"/>
                    <a:pt x="2050" y="1499"/>
                    <a:pt x="2041" y="1494"/>
                  </a:cubicBezTo>
                  <a:cubicBezTo>
                    <a:pt x="2041" y="1494"/>
                    <a:pt x="2041" y="1494"/>
                    <a:pt x="2041" y="1494"/>
                  </a:cubicBezTo>
                  <a:close/>
                  <a:moveTo>
                    <a:pt x="2079" y="1621"/>
                  </a:moveTo>
                  <a:cubicBezTo>
                    <a:pt x="2076" y="1617"/>
                    <a:pt x="2073" y="1614"/>
                    <a:pt x="2072" y="1611"/>
                  </a:cubicBezTo>
                  <a:cubicBezTo>
                    <a:pt x="2064" y="1588"/>
                    <a:pt x="2064" y="1588"/>
                    <a:pt x="2064" y="1588"/>
                  </a:cubicBezTo>
                  <a:cubicBezTo>
                    <a:pt x="2061" y="1581"/>
                    <a:pt x="2059" y="1575"/>
                    <a:pt x="2056" y="1568"/>
                  </a:cubicBezTo>
                  <a:cubicBezTo>
                    <a:pt x="2056" y="1568"/>
                    <a:pt x="2056" y="1568"/>
                    <a:pt x="2056" y="1568"/>
                  </a:cubicBezTo>
                  <a:cubicBezTo>
                    <a:pt x="2055" y="1565"/>
                    <a:pt x="2055" y="1565"/>
                    <a:pt x="2055" y="1565"/>
                  </a:cubicBezTo>
                  <a:cubicBezTo>
                    <a:pt x="2054" y="1561"/>
                    <a:pt x="2054" y="1558"/>
                    <a:pt x="2055" y="1555"/>
                  </a:cubicBezTo>
                  <a:cubicBezTo>
                    <a:pt x="2056" y="1553"/>
                    <a:pt x="2057" y="1552"/>
                    <a:pt x="2059" y="1550"/>
                  </a:cubicBezTo>
                  <a:cubicBezTo>
                    <a:pt x="2059" y="1550"/>
                    <a:pt x="2059" y="1550"/>
                    <a:pt x="2060" y="1549"/>
                  </a:cubicBezTo>
                  <a:cubicBezTo>
                    <a:pt x="2060" y="1549"/>
                    <a:pt x="2061" y="1548"/>
                    <a:pt x="2061" y="1548"/>
                  </a:cubicBezTo>
                  <a:cubicBezTo>
                    <a:pt x="2064" y="1546"/>
                    <a:pt x="2068" y="1544"/>
                    <a:pt x="2072" y="1543"/>
                  </a:cubicBezTo>
                  <a:cubicBezTo>
                    <a:pt x="2076" y="1542"/>
                    <a:pt x="2080" y="1542"/>
                    <a:pt x="2084" y="1541"/>
                  </a:cubicBezTo>
                  <a:cubicBezTo>
                    <a:pt x="2100" y="1540"/>
                    <a:pt x="2117" y="1541"/>
                    <a:pt x="2125" y="1541"/>
                  </a:cubicBezTo>
                  <a:cubicBezTo>
                    <a:pt x="2153" y="1541"/>
                    <a:pt x="2202" y="1535"/>
                    <a:pt x="2218" y="1564"/>
                  </a:cubicBezTo>
                  <a:cubicBezTo>
                    <a:pt x="2218" y="1564"/>
                    <a:pt x="2218" y="1564"/>
                    <a:pt x="2218" y="1564"/>
                  </a:cubicBezTo>
                  <a:cubicBezTo>
                    <a:pt x="2218" y="1565"/>
                    <a:pt x="2218" y="1565"/>
                    <a:pt x="2218" y="1565"/>
                  </a:cubicBezTo>
                  <a:cubicBezTo>
                    <a:pt x="2218" y="1565"/>
                    <a:pt x="2218" y="1565"/>
                    <a:pt x="2218" y="1565"/>
                  </a:cubicBezTo>
                  <a:cubicBezTo>
                    <a:pt x="2224" y="1577"/>
                    <a:pt x="2230" y="1589"/>
                    <a:pt x="2236" y="1601"/>
                  </a:cubicBezTo>
                  <a:cubicBezTo>
                    <a:pt x="2238" y="1605"/>
                    <a:pt x="2241" y="1609"/>
                    <a:pt x="2242" y="1614"/>
                  </a:cubicBezTo>
                  <a:cubicBezTo>
                    <a:pt x="2242" y="1614"/>
                    <a:pt x="2242" y="1614"/>
                    <a:pt x="2242" y="1614"/>
                  </a:cubicBezTo>
                  <a:cubicBezTo>
                    <a:pt x="2242" y="1615"/>
                    <a:pt x="2242" y="1616"/>
                    <a:pt x="2242" y="1617"/>
                  </a:cubicBezTo>
                  <a:cubicBezTo>
                    <a:pt x="2242" y="1618"/>
                    <a:pt x="2242" y="1619"/>
                    <a:pt x="2242" y="1620"/>
                  </a:cubicBezTo>
                  <a:cubicBezTo>
                    <a:pt x="2242" y="1620"/>
                    <a:pt x="2242" y="1620"/>
                    <a:pt x="2242" y="1620"/>
                  </a:cubicBezTo>
                  <a:cubicBezTo>
                    <a:pt x="2242" y="1620"/>
                    <a:pt x="2242" y="1621"/>
                    <a:pt x="2242" y="1621"/>
                  </a:cubicBezTo>
                  <a:cubicBezTo>
                    <a:pt x="2242" y="1622"/>
                    <a:pt x="2241" y="1623"/>
                    <a:pt x="2240" y="1624"/>
                  </a:cubicBezTo>
                  <a:cubicBezTo>
                    <a:pt x="2240" y="1625"/>
                    <a:pt x="2240" y="1625"/>
                    <a:pt x="2240" y="1625"/>
                  </a:cubicBezTo>
                  <a:cubicBezTo>
                    <a:pt x="2239" y="1626"/>
                    <a:pt x="2238" y="1627"/>
                    <a:pt x="2237" y="1628"/>
                  </a:cubicBezTo>
                  <a:cubicBezTo>
                    <a:pt x="2237" y="1628"/>
                    <a:pt x="2237" y="1628"/>
                    <a:pt x="2237" y="1628"/>
                  </a:cubicBezTo>
                  <a:cubicBezTo>
                    <a:pt x="2236" y="1629"/>
                    <a:pt x="2236" y="1629"/>
                    <a:pt x="2236" y="1629"/>
                  </a:cubicBezTo>
                  <a:cubicBezTo>
                    <a:pt x="2235" y="1630"/>
                    <a:pt x="2234" y="1630"/>
                    <a:pt x="2234" y="1630"/>
                  </a:cubicBezTo>
                  <a:cubicBezTo>
                    <a:pt x="2231" y="1632"/>
                    <a:pt x="2229" y="1633"/>
                    <a:pt x="2225" y="1634"/>
                  </a:cubicBezTo>
                  <a:cubicBezTo>
                    <a:pt x="2225" y="1634"/>
                    <a:pt x="2224" y="1635"/>
                    <a:pt x="2223" y="1635"/>
                  </a:cubicBezTo>
                  <a:cubicBezTo>
                    <a:pt x="2221" y="1635"/>
                    <a:pt x="2220" y="1635"/>
                    <a:pt x="2219" y="1636"/>
                  </a:cubicBezTo>
                  <a:cubicBezTo>
                    <a:pt x="2218" y="1636"/>
                    <a:pt x="2218" y="1636"/>
                    <a:pt x="2217" y="1636"/>
                  </a:cubicBezTo>
                  <a:cubicBezTo>
                    <a:pt x="2217" y="1636"/>
                    <a:pt x="2216" y="1636"/>
                    <a:pt x="2216" y="1636"/>
                  </a:cubicBezTo>
                  <a:cubicBezTo>
                    <a:pt x="2187" y="1639"/>
                    <a:pt x="2156" y="1636"/>
                    <a:pt x="2126" y="1637"/>
                  </a:cubicBezTo>
                  <a:cubicBezTo>
                    <a:pt x="2123" y="1637"/>
                    <a:pt x="2120" y="1636"/>
                    <a:pt x="2117" y="1636"/>
                  </a:cubicBezTo>
                  <a:cubicBezTo>
                    <a:pt x="2117" y="1636"/>
                    <a:pt x="2117" y="1636"/>
                    <a:pt x="2117" y="1636"/>
                  </a:cubicBezTo>
                  <a:cubicBezTo>
                    <a:pt x="2106" y="1635"/>
                    <a:pt x="2095" y="1631"/>
                    <a:pt x="2086" y="1625"/>
                  </a:cubicBezTo>
                  <a:cubicBezTo>
                    <a:pt x="2083" y="1624"/>
                    <a:pt x="2081" y="1622"/>
                    <a:pt x="2079" y="1621"/>
                  </a:cubicBezTo>
                  <a:close/>
                  <a:moveTo>
                    <a:pt x="2322" y="1782"/>
                  </a:moveTo>
                  <a:cubicBezTo>
                    <a:pt x="2322" y="1783"/>
                    <a:pt x="2321" y="1783"/>
                    <a:pt x="2321" y="1784"/>
                  </a:cubicBezTo>
                  <a:cubicBezTo>
                    <a:pt x="2321" y="1785"/>
                    <a:pt x="2321" y="1785"/>
                    <a:pt x="2321" y="1786"/>
                  </a:cubicBezTo>
                  <a:cubicBezTo>
                    <a:pt x="2320" y="1787"/>
                    <a:pt x="2320" y="1788"/>
                    <a:pt x="2319" y="1789"/>
                  </a:cubicBezTo>
                  <a:cubicBezTo>
                    <a:pt x="2319" y="1789"/>
                    <a:pt x="2319" y="1789"/>
                    <a:pt x="2319" y="1790"/>
                  </a:cubicBezTo>
                  <a:cubicBezTo>
                    <a:pt x="2318" y="1790"/>
                    <a:pt x="2318" y="1791"/>
                    <a:pt x="2317" y="1791"/>
                  </a:cubicBezTo>
                  <a:cubicBezTo>
                    <a:pt x="2317" y="1791"/>
                    <a:pt x="2317" y="1792"/>
                    <a:pt x="2316" y="1792"/>
                  </a:cubicBezTo>
                  <a:cubicBezTo>
                    <a:pt x="2316" y="1792"/>
                    <a:pt x="2316" y="1792"/>
                    <a:pt x="2316" y="1793"/>
                  </a:cubicBezTo>
                  <a:cubicBezTo>
                    <a:pt x="2310" y="1798"/>
                    <a:pt x="2303" y="1800"/>
                    <a:pt x="2296" y="1801"/>
                  </a:cubicBezTo>
                  <a:cubicBezTo>
                    <a:pt x="2296" y="1801"/>
                    <a:pt x="2295" y="1801"/>
                    <a:pt x="2295" y="1801"/>
                  </a:cubicBezTo>
                  <a:cubicBezTo>
                    <a:pt x="2292" y="1802"/>
                    <a:pt x="2289" y="1802"/>
                    <a:pt x="2286" y="1802"/>
                  </a:cubicBezTo>
                  <a:cubicBezTo>
                    <a:pt x="2286" y="1802"/>
                    <a:pt x="2286" y="1802"/>
                    <a:pt x="2286" y="1802"/>
                  </a:cubicBezTo>
                  <a:cubicBezTo>
                    <a:pt x="2283" y="1802"/>
                    <a:pt x="2283" y="1802"/>
                    <a:pt x="2283" y="1802"/>
                  </a:cubicBezTo>
                  <a:cubicBezTo>
                    <a:pt x="2280" y="1802"/>
                    <a:pt x="2277" y="1802"/>
                    <a:pt x="2275" y="1802"/>
                  </a:cubicBezTo>
                  <a:cubicBezTo>
                    <a:pt x="2193" y="1802"/>
                    <a:pt x="2193" y="1802"/>
                    <a:pt x="2193" y="1802"/>
                  </a:cubicBezTo>
                  <a:cubicBezTo>
                    <a:pt x="2190" y="1802"/>
                    <a:pt x="2187" y="1802"/>
                    <a:pt x="2184" y="1802"/>
                  </a:cubicBezTo>
                  <a:cubicBezTo>
                    <a:pt x="2183" y="1801"/>
                    <a:pt x="2182" y="1801"/>
                    <a:pt x="2181" y="1801"/>
                  </a:cubicBezTo>
                  <a:cubicBezTo>
                    <a:pt x="2164" y="1799"/>
                    <a:pt x="2144" y="1791"/>
                    <a:pt x="2135" y="1776"/>
                  </a:cubicBezTo>
                  <a:cubicBezTo>
                    <a:pt x="2133" y="1774"/>
                    <a:pt x="2132" y="1772"/>
                    <a:pt x="2131" y="1770"/>
                  </a:cubicBezTo>
                  <a:cubicBezTo>
                    <a:pt x="2131" y="1769"/>
                    <a:pt x="2131" y="1769"/>
                    <a:pt x="2131" y="1769"/>
                  </a:cubicBezTo>
                  <a:cubicBezTo>
                    <a:pt x="2131" y="1769"/>
                    <a:pt x="2131" y="1769"/>
                    <a:pt x="2131" y="1769"/>
                  </a:cubicBezTo>
                  <a:cubicBezTo>
                    <a:pt x="2127" y="1757"/>
                    <a:pt x="2122" y="1746"/>
                    <a:pt x="2118" y="1734"/>
                  </a:cubicBezTo>
                  <a:cubicBezTo>
                    <a:pt x="2116" y="1728"/>
                    <a:pt x="2112" y="1720"/>
                    <a:pt x="2110" y="1713"/>
                  </a:cubicBezTo>
                  <a:cubicBezTo>
                    <a:pt x="2110" y="1713"/>
                    <a:pt x="2110" y="1713"/>
                    <a:pt x="2110" y="1713"/>
                  </a:cubicBezTo>
                  <a:cubicBezTo>
                    <a:pt x="2110" y="1713"/>
                    <a:pt x="2110" y="1712"/>
                    <a:pt x="2110" y="1712"/>
                  </a:cubicBezTo>
                  <a:cubicBezTo>
                    <a:pt x="2110" y="1712"/>
                    <a:pt x="2109" y="1711"/>
                    <a:pt x="2109" y="1710"/>
                  </a:cubicBezTo>
                  <a:cubicBezTo>
                    <a:pt x="2109" y="1707"/>
                    <a:pt x="2109" y="1704"/>
                    <a:pt x="2109" y="1701"/>
                  </a:cubicBezTo>
                  <a:cubicBezTo>
                    <a:pt x="2110" y="1699"/>
                    <a:pt x="2111" y="1698"/>
                    <a:pt x="2112" y="1696"/>
                  </a:cubicBezTo>
                  <a:cubicBezTo>
                    <a:pt x="2112" y="1696"/>
                    <a:pt x="2112" y="1696"/>
                    <a:pt x="2112" y="1696"/>
                  </a:cubicBezTo>
                  <a:cubicBezTo>
                    <a:pt x="2117" y="1688"/>
                    <a:pt x="2126" y="1685"/>
                    <a:pt x="2136" y="1684"/>
                  </a:cubicBezTo>
                  <a:cubicBezTo>
                    <a:pt x="2136" y="1684"/>
                    <a:pt x="2136" y="1684"/>
                    <a:pt x="2137" y="1684"/>
                  </a:cubicBezTo>
                  <a:cubicBezTo>
                    <a:pt x="2139" y="1684"/>
                    <a:pt x="2141" y="1684"/>
                    <a:pt x="2144" y="1684"/>
                  </a:cubicBezTo>
                  <a:cubicBezTo>
                    <a:pt x="2144" y="1684"/>
                    <a:pt x="2145" y="1683"/>
                    <a:pt x="2145" y="1683"/>
                  </a:cubicBezTo>
                  <a:cubicBezTo>
                    <a:pt x="2151" y="1683"/>
                    <a:pt x="2151" y="1683"/>
                    <a:pt x="2151" y="1683"/>
                  </a:cubicBezTo>
                  <a:cubicBezTo>
                    <a:pt x="2152" y="1683"/>
                    <a:pt x="2153" y="1683"/>
                    <a:pt x="2155" y="1683"/>
                  </a:cubicBezTo>
                  <a:cubicBezTo>
                    <a:pt x="2180" y="1683"/>
                    <a:pt x="2205" y="1683"/>
                    <a:pt x="2231" y="1683"/>
                  </a:cubicBezTo>
                  <a:cubicBezTo>
                    <a:pt x="2231" y="1683"/>
                    <a:pt x="2231" y="1683"/>
                    <a:pt x="2231" y="1683"/>
                  </a:cubicBezTo>
                  <a:cubicBezTo>
                    <a:pt x="2231" y="1683"/>
                    <a:pt x="2231" y="1683"/>
                    <a:pt x="2231" y="1683"/>
                  </a:cubicBezTo>
                  <a:cubicBezTo>
                    <a:pt x="2234" y="1683"/>
                    <a:pt x="2237" y="1683"/>
                    <a:pt x="2240" y="1684"/>
                  </a:cubicBezTo>
                  <a:cubicBezTo>
                    <a:pt x="2240" y="1684"/>
                    <a:pt x="2241" y="1684"/>
                    <a:pt x="2241" y="1684"/>
                  </a:cubicBezTo>
                  <a:cubicBezTo>
                    <a:pt x="2258" y="1686"/>
                    <a:pt x="2277" y="1693"/>
                    <a:pt x="2287" y="1706"/>
                  </a:cubicBezTo>
                  <a:cubicBezTo>
                    <a:pt x="2289" y="1708"/>
                    <a:pt x="2290" y="1710"/>
                    <a:pt x="2291" y="1712"/>
                  </a:cubicBezTo>
                  <a:cubicBezTo>
                    <a:pt x="2294" y="1717"/>
                    <a:pt x="2294" y="1717"/>
                    <a:pt x="2294" y="1717"/>
                  </a:cubicBezTo>
                  <a:cubicBezTo>
                    <a:pt x="2299" y="1727"/>
                    <a:pt x="2304" y="1737"/>
                    <a:pt x="2309" y="1748"/>
                  </a:cubicBezTo>
                  <a:cubicBezTo>
                    <a:pt x="2312" y="1754"/>
                    <a:pt x="2318" y="1762"/>
                    <a:pt x="2320" y="1771"/>
                  </a:cubicBezTo>
                  <a:cubicBezTo>
                    <a:pt x="2322" y="1775"/>
                    <a:pt x="2323" y="1778"/>
                    <a:pt x="2322" y="1782"/>
                  </a:cubicBezTo>
                  <a:close/>
                  <a:moveTo>
                    <a:pt x="2340" y="1624"/>
                  </a:moveTo>
                  <a:cubicBezTo>
                    <a:pt x="2338" y="1622"/>
                    <a:pt x="2337" y="1621"/>
                    <a:pt x="2335" y="1620"/>
                  </a:cubicBezTo>
                  <a:cubicBezTo>
                    <a:pt x="2331" y="1617"/>
                    <a:pt x="2328" y="1613"/>
                    <a:pt x="2326" y="1610"/>
                  </a:cubicBezTo>
                  <a:cubicBezTo>
                    <a:pt x="2324" y="1607"/>
                    <a:pt x="2324" y="1607"/>
                    <a:pt x="2324" y="1607"/>
                  </a:cubicBezTo>
                  <a:cubicBezTo>
                    <a:pt x="2324" y="1607"/>
                    <a:pt x="2324" y="1607"/>
                    <a:pt x="2324" y="1607"/>
                  </a:cubicBezTo>
                  <a:cubicBezTo>
                    <a:pt x="2317" y="1594"/>
                    <a:pt x="2310" y="1582"/>
                    <a:pt x="2303" y="1569"/>
                  </a:cubicBezTo>
                  <a:cubicBezTo>
                    <a:pt x="2303" y="1569"/>
                    <a:pt x="2303" y="1569"/>
                    <a:pt x="2303" y="1569"/>
                  </a:cubicBezTo>
                  <a:cubicBezTo>
                    <a:pt x="2300" y="1564"/>
                    <a:pt x="2300" y="1564"/>
                    <a:pt x="2300" y="1564"/>
                  </a:cubicBezTo>
                  <a:cubicBezTo>
                    <a:pt x="2298" y="1561"/>
                    <a:pt x="2298" y="1558"/>
                    <a:pt x="2298" y="1555"/>
                  </a:cubicBezTo>
                  <a:cubicBezTo>
                    <a:pt x="2299" y="1552"/>
                    <a:pt x="2300" y="1550"/>
                    <a:pt x="2303" y="1547"/>
                  </a:cubicBezTo>
                  <a:cubicBezTo>
                    <a:pt x="2306" y="1545"/>
                    <a:pt x="2309" y="1544"/>
                    <a:pt x="2313" y="1542"/>
                  </a:cubicBezTo>
                  <a:cubicBezTo>
                    <a:pt x="2318" y="1541"/>
                    <a:pt x="2323" y="1541"/>
                    <a:pt x="2329" y="1541"/>
                  </a:cubicBezTo>
                  <a:cubicBezTo>
                    <a:pt x="2330" y="1541"/>
                    <a:pt x="2330" y="1541"/>
                    <a:pt x="2330" y="1541"/>
                  </a:cubicBezTo>
                  <a:cubicBezTo>
                    <a:pt x="2342" y="1540"/>
                    <a:pt x="2356" y="1540"/>
                    <a:pt x="2363" y="1540"/>
                  </a:cubicBezTo>
                  <a:cubicBezTo>
                    <a:pt x="2394" y="1540"/>
                    <a:pt x="2443" y="1534"/>
                    <a:pt x="2463" y="1564"/>
                  </a:cubicBezTo>
                  <a:cubicBezTo>
                    <a:pt x="2470" y="1573"/>
                    <a:pt x="2476" y="1583"/>
                    <a:pt x="2483" y="1593"/>
                  </a:cubicBezTo>
                  <a:cubicBezTo>
                    <a:pt x="2486" y="1598"/>
                    <a:pt x="2492" y="1605"/>
                    <a:pt x="2495" y="1611"/>
                  </a:cubicBezTo>
                  <a:cubicBezTo>
                    <a:pt x="2497" y="1614"/>
                    <a:pt x="2498" y="1617"/>
                    <a:pt x="2498" y="1620"/>
                  </a:cubicBezTo>
                  <a:cubicBezTo>
                    <a:pt x="2498" y="1621"/>
                    <a:pt x="2497" y="1623"/>
                    <a:pt x="2496" y="1625"/>
                  </a:cubicBezTo>
                  <a:cubicBezTo>
                    <a:pt x="2496" y="1626"/>
                    <a:pt x="2495" y="1627"/>
                    <a:pt x="2494" y="1628"/>
                  </a:cubicBezTo>
                  <a:cubicBezTo>
                    <a:pt x="2494" y="1628"/>
                    <a:pt x="2494" y="1628"/>
                    <a:pt x="2494" y="1628"/>
                  </a:cubicBezTo>
                  <a:cubicBezTo>
                    <a:pt x="2494" y="1628"/>
                    <a:pt x="2494" y="1628"/>
                    <a:pt x="2494" y="1628"/>
                  </a:cubicBezTo>
                  <a:cubicBezTo>
                    <a:pt x="2493" y="1629"/>
                    <a:pt x="2493" y="1629"/>
                    <a:pt x="2492" y="1630"/>
                  </a:cubicBezTo>
                  <a:cubicBezTo>
                    <a:pt x="2492" y="1630"/>
                    <a:pt x="2491" y="1630"/>
                    <a:pt x="2491" y="1630"/>
                  </a:cubicBezTo>
                  <a:cubicBezTo>
                    <a:pt x="2490" y="1631"/>
                    <a:pt x="2489" y="1631"/>
                    <a:pt x="2488" y="1632"/>
                  </a:cubicBezTo>
                  <a:cubicBezTo>
                    <a:pt x="2487" y="1632"/>
                    <a:pt x="2485" y="1633"/>
                    <a:pt x="2484" y="1633"/>
                  </a:cubicBezTo>
                  <a:cubicBezTo>
                    <a:pt x="2484" y="1633"/>
                    <a:pt x="2484" y="1634"/>
                    <a:pt x="2484" y="1634"/>
                  </a:cubicBezTo>
                  <a:cubicBezTo>
                    <a:pt x="2484" y="1634"/>
                    <a:pt x="2483" y="1634"/>
                    <a:pt x="2483" y="1634"/>
                  </a:cubicBezTo>
                  <a:cubicBezTo>
                    <a:pt x="2469" y="1638"/>
                    <a:pt x="2448" y="1636"/>
                    <a:pt x="2434" y="1636"/>
                  </a:cubicBezTo>
                  <a:cubicBezTo>
                    <a:pt x="2418" y="1636"/>
                    <a:pt x="2401" y="1636"/>
                    <a:pt x="2385" y="1636"/>
                  </a:cubicBezTo>
                  <a:cubicBezTo>
                    <a:pt x="2370" y="1636"/>
                    <a:pt x="2353" y="1632"/>
                    <a:pt x="2340" y="1624"/>
                  </a:cubicBezTo>
                  <a:close/>
                  <a:moveTo>
                    <a:pt x="2605" y="1791"/>
                  </a:moveTo>
                  <a:cubicBezTo>
                    <a:pt x="2605" y="1791"/>
                    <a:pt x="2605" y="1791"/>
                    <a:pt x="2604" y="1791"/>
                  </a:cubicBezTo>
                  <a:cubicBezTo>
                    <a:pt x="2602" y="1794"/>
                    <a:pt x="2598" y="1797"/>
                    <a:pt x="2593" y="1798"/>
                  </a:cubicBezTo>
                  <a:cubicBezTo>
                    <a:pt x="2589" y="1800"/>
                    <a:pt x="2583" y="1801"/>
                    <a:pt x="2576" y="1801"/>
                  </a:cubicBezTo>
                  <a:cubicBezTo>
                    <a:pt x="2569" y="1801"/>
                    <a:pt x="2569" y="1801"/>
                    <a:pt x="2569" y="1801"/>
                  </a:cubicBezTo>
                  <a:cubicBezTo>
                    <a:pt x="2569" y="1801"/>
                    <a:pt x="2569" y="1801"/>
                    <a:pt x="2569" y="1801"/>
                  </a:cubicBezTo>
                  <a:cubicBezTo>
                    <a:pt x="2541" y="1801"/>
                    <a:pt x="2512" y="1801"/>
                    <a:pt x="2483" y="1801"/>
                  </a:cubicBezTo>
                  <a:cubicBezTo>
                    <a:pt x="2480" y="1801"/>
                    <a:pt x="2476" y="1801"/>
                    <a:pt x="2473" y="1801"/>
                  </a:cubicBezTo>
                  <a:cubicBezTo>
                    <a:pt x="2473" y="1801"/>
                    <a:pt x="2473" y="1801"/>
                    <a:pt x="2473" y="1801"/>
                  </a:cubicBezTo>
                  <a:cubicBezTo>
                    <a:pt x="2453" y="1799"/>
                    <a:pt x="2432" y="1790"/>
                    <a:pt x="2419" y="1775"/>
                  </a:cubicBezTo>
                  <a:cubicBezTo>
                    <a:pt x="2418" y="1773"/>
                    <a:pt x="2416" y="1771"/>
                    <a:pt x="2415" y="1769"/>
                  </a:cubicBezTo>
                  <a:cubicBezTo>
                    <a:pt x="2415" y="1769"/>
                    <a:pt x="2415" y="1769"/>
                    <a:pt x="2415" y="1769"/>
                  </a:cubicBezTo>
                  <a:cubicBezTo>
                    <a:pt x="2415" y="1769"/>
                    <a:pt x="2415" y="1769"/>
                    <a:pt x="2415" y="1769"/>
                  </a:cubicBezTo>
                  <a:cubicBezTo>
                    <a:pt x="2409" y="1758"/>
                    <a:pt x="2402" y="1747"/>
                    <a:pt x="2396" y="1736"/>
                  </a:cubicBezTo>
                  <a:cubicBezTo>
                    <a:pt x="2392" y="1728"/>
                    <a:pt x="2383" y="1716"/>
                    <a:pt x="2381" y="1706"/>
                  </a:cubicBezTo>
                  <a:cubicBezTo>
                    <a:pt x="2381" y="1706"/>
                    <a:pt x="2381" y="1706"/>
                    <a:pt x="2381" y="1706"/>
                  </a:cubicBezTo>
                  <a:cubicBezTo>
                    <a:pt x="2380" y="1705"/>
                    <a:pt x="2380" y="1704"/>
                    <a:pt x="2380" y="1703"/>
                  </a:cubicBezTo>
                  <a:cubicBezTo>
                    <a:pt x="2379" y="1693"/>
                    <a:pt x="2387" y="1688"/>
                    <a:pt x="2396" y="1685"/>
                  </a:cubicBezTo>
                  <a:cubicBezTo>
                    <a:pt x="2396" y="1685"/>
                    <a:pt x="2396" y="1685"/>
                    <a:pt x="2396" y="1685"/>
                  </a:cubicBezTo>
                  <a:cubicBezTo>
                    <a:pt x="2396" y="1685"/>
                    <a:pt x="2397" y="1685"/>
                    <a:pt x="2397" y="1685"/>
                  </a:cubicBezTo>
                  <a:cubicBezTo>
                    <a:pt x="2398" y="1685"/>
                    <a:pt x="2398" y="1685"/>
                    <a:pt x="2399" y="1684"/>
                  </a:cubicBezTo>
                  <a:cubicBezTo>
                    <a:pt x="2403" y="1683"/>
                    <a:pt x="2408" y="1683"/>
                    <a:pt x="2413" y="1683"/>
                  </a:cubicBezTo>
                  <a:cubicBezTo>
                    <a:pt x="2470" y="1683"/>
                    <a:pt x="2470" y="1683"/>
                    <a:pt x="2470" y="1683"/>
                  </a:cubicBezTo>
                  <a:cubicBezTo>
                    <a:pt x="2479" y="1683"/>
                    <a:pt x="2489" y="1683"/>
                    <a:pt x="2498" y="1683"/>
                  </a:cubicBezTo>
                  <a:cubicBezTo>
                    <a:pt x="2498" y="1683"/>
                    <a:pt x="2498" y="1683"/>
                    <a:pt x="2498" y="1683"/>
                  </a:cubicBezTo>
                  <a:cubicBezTo>
                    <a:pt x="2499" y="1683"/>
                    <a:pt x="2499" y="1683"/>
                    <a:pt x="2500" y="1683"/>
                  </a:cubicBezTo>
                  <a:cubicBezTo>
                    <a:pt x="2502" y="1683"/>
                    <a:pt x="2505" y="1683"/>
                    <a:pt x="2507" y="1683"/>
                  </a:cubicBezTo>
                  <a:cubicBezTo>
                    <a:pt x="2508" y="1683"/>
                    <a:pt x="2508" y="1683"/>
                    <a:pt x="2509" y="1683"/>
                  </a:cubicBezTo>
                  <a:cubicBezTo>
                    <a:pt x="2527" y="1685"/>
                    <a:pt x="2546" y="1692"/>
                    <a:pt x="2558" y="1705"/>
                  </a:cubicBezTo>
                  <a:cubicBezTo>
                    <a:pt x="2559" y="1705"/>
                    <a:pt x="2560" y="1706"/>
                    <a:pt x="2561" y="1707"/>
                  </a:cubicBezTo>
                  <a:cubicBezTo>
                    <a:pt x="2561" y="1708"/>
                    <a:pt x="2562" y="1708"/>
                    <a:pt x="2562" y="1709"/>
                  </a:cubicBezTo>
                  <a:cubicBezTo>
                    <a:pt x="2563" y="1710"/>
                    <a:pt x="2563" y="1710"/>
                    <a:pt x="2564" y="1711"/>
                  </a:cubicBezTo>
                  <a:cubicBezTo>
                    <a:pt x="2564" y="1711"/>
                    <a:pt x="2564" y="1711"/>
                    <a:pt x="2564" y="1711"/>
                  </a:cubicBezTo>
                  <a:cubicBezTo>
                    <a:pt x="2566" y="1713"/>
                    <a:pt x="2566" y="1713"/>
                    <a:pt x="2566" y="1713"/>
                  </a:cubicBezTo>
                  <a:cubicBezTo>
                    <a:pt x="2571" y="1721"/>
                    <a:pt x="2576" y="1729"/>
                    <a:pt x="2582" y="1737"/>
                  </a:cubicBezTo>
                  <a:cubicBezTo>
                    <a:pt x="2582" y="1737"/>
                    <a:pt x="2582" y="1737"/>
                    <a:pt x="2582" y="1737"/>
                  </a:cubicBezTo>
                  <a:cubicBezTo>
                    <a:pt x="2589" y="1748"/>
                    <a:pt x="2599" y="1759"/>
                    <a:pt x="2605" y="1772"/>
                  </a:cubicBezTo>
                  <a:cubicBezTo>
                    <a:pt x="2606" y="1773"/>
                    <a:pt x="2606" y="1773"/>
                    <a:pt x="2606" y="1774"/>
                  </a:cubicBezTo>
                  <a:cubicBezTo>
                    <a:pt x="2607" y="1775"/>
                    <a:pt x="2607" y="1775"/>
                    <a:pt x="2607" y="1775"/>
                  </a:cubicBezTo>
                  <a:cubicBezTo>
                    <a:pt x="2609" y="1782"/>
                    <a:pt x="2608" y="1787"/>
                    <a:pt x="2605" y="1791"/>
                  </a:cubicBezTo>
                  <a:close/>
                  <a:moveTo>
                    <a:pt x="2937" y="318"/>
                  </a:moveTo>
                  <a:cubicBezTo>
                    <a:pt x="3034" y="414"/>
                    <a:pt x="3089" y="549"/>
                    <a:pt x="3089" y="685"/>
                  </a:cubicBezTo>
                  <a:cubicBezTo>
                    <a:pt x="3089" y="821"/>
                    <a:pt x="3034" y="955"/>
                    <a:pt x="2937" y="1051"/>
                  </a:cubicBezTo>
                  <a:cubicBezTo>
                    <a:pt x="3050" y="999"/>
                    <a:pt x="3153" y="855"/>
                    <a:pt x="3152" y="685"/>
                  </a:cubicBezTo>
                  <a:cubicBezTo>
                    <a:pt x="3153" y="514"/>
                    <a:pt x="3050" y="371"/>
                    <a:pt x="2937" y="318"/>
                  </a:cubicBezTo>
                  <a:close/>
                  <a:moveTo>
                    <a:pt x="216" y="318"/>
                  </a:moveTo>
                  <a:cubicBezTo>
                    <a:pt x="104" y="371"/>
                    <a:pt x="0" y="514"/>
                    <a:pt x="2" y="685"/>
                  </a:cubicBezTo>
                  <a:cubicBezTo>
                    <a:pt x="0" y="855"/>
                    <a:pt x="104" y="999"/>
                    <a:pt x="216" y="1051"/>
                  </a:cubicBezTo>
                  <a:cubicBezTo>
                    <a:pt x="120" y="955"/>
                    <a:pt x="64" y="821"/>
                    <a:pt x="65" y="685"/>
                  </a:cubicBezTo>
                  <a:cubicBezTo>
                    <a:pt x="64" y="549"/>
                    <a:pt x="120" y="414"/>
                    <a:pt x="216" y="3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pPr defTabSz="685624"/>
              <a:endParaRPr lang="en-US" sz="160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9563690" y="72539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821121" y="2823664"/>
            <a:ext cx="792000" cy="792000"/>
            <a:chOff x="9857173" y="887159"/>
            <a:chExt cx="792000" cy="792000"/>
          </a:xfrm>
        </p:grpSpPr>
        <p:pic>
          <p:nvPicPr>
            <p:cNvPr id="107" name="Picture 106"/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67851" y="984737"/>
              <a:ext cx="370643" cy="596843"/>
            </a:xfrm>
            <a:prstGeom prst="rect">
              <a:avLst/>
            </a:prstGeom>
          </p:spPr>
        </p:pic>
        <p:sp>
          <p:nvSpPr>
            <p:cNvPr id="108" name="Rectangle 107"/>
            <p:cNvSpPr/>
            <p:nvPr/>
          </p:nvSpPr>
          <p:spPr>
            <a:xfrm>
              <a:off x="9857173" y="88715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-23449" y="3426337"/>
            <a:ext cx="792000" cy="792000"/>
            <a:chOff x="9370302" y="2281148"/>
            <a:chExt cx="792000" cy="792000"/>
          </a:xfrm>
        </p:grpSpPr>
        <p:sp>
          <p:nvSpPr>
            <p:cNvPr id="110" name="Freeform 20"/>
            <p:cNvSpPr>
              <a:spLocks noEditPoints="1"/>
            </p:cNvSpPr>
            <p:nvPr/>
          </p:nvSpPr>
          <p:spPr bwMode="black">
            <a:xfrm>
              <a:off x="9432540" y="2445071"/>
              <a:ext cx="667525" cy="464154"/>
            </a:xfrm>
            <a:custGeom>
              <a:avLst/>
              <a:gdLst/>
              <a:ahLst/>
              <a:cxnLst>
                <a:cxn ang="0">
                  <a:pos x="774" y="456"/>
                </a:cxn>
                <a:cxn ang="0">
                  <a:pos x="774" y="36"/>
                </a:cxn>
                <a:cxn ang="0">
                  <a:pos x="737" y="0"/>
                </a:cxn>
                <a:cxn ang="0">
                  <a:pos x="107" y="0"/>
                </a:cxn>
                <a:cxn ang="0">
                  <a:pos x="71" y="36"/>
                </a:cxn>
                <a:cxn ang="0">
                  <a:pos x="71" y="456"/>
                </a:cxn>
                <a:cxn ang="0">
                  <a:pos x="0" y="544"/>
                </a:cxn>
                <a:cxn ang="0">
                  <a:pos x="44" y="588"/>
                </a:cxn>
                <a:cxn ang="0">
                  <a:pos x="800" y="588"/>
                </a:cxn>
                <a:cxn ang="0">
                  <a:pos x="844" y="544"/>
                </a:cxn>
                <a:cxn ang="0">
                  <a:pos x="774" y="456"/>
                </a:cxn>
                <a:cxn ang="0">
                  <a:pos x="481" y="554"/>
                </a:cxn>
                <a:cxn ang="0">
                  <a:pos x="350" y="554"/>
                </a:cxn>
                <a:cxn ang="0">
                  <a:pos x="337" y="547"/>
                </a:cxn>
                <a:cxn ang="0">
                  <a:pos x="352" y="519"/>
                </a:cxn>
                <a:cxn ang="0">
                  <a:pos x="363" y="514"/>
                </a:cxn>
                <a:cxn ang="0">
                  <a:pos x="468" y="514"/>
                </a:cxn>
                <a:cxn ang="0">
                  <a:pos x="478" y="519"/>
                </a:cxn>
                <a:cxn ang="0">
                  <a:pos x="494" y="547"/>
                </a:cxn>
                <a:cxn ang="0">
                  <a:pos x="481" y="554"/>
                </a:cxn>
                <a:cxn ang="0">
                  <a:pos x="748" y="456"/>
                </a:cxn>
                <a:cxn ang="0">
                  <a:pos x="99" y="456"/>
                </a:cxn>
                <a:cxn ang="0">
                  <a:pos x="99" y="42"/>
                </a:cxn>
                <a:cxn ang="0">
                  <a:pos x="117" y="24"/>
                </a:cxn>
                <a:cxn ang="0">
                  <a:pos x="730" y="24"/>
                </a:cxn>
                <a:cxn ang="0">
                  <a:pos x="748" y="42"/>
                </a:cxn>
                <a:cxn ang="0">
                  <a:pos x="748" y="456"/>
                </a:cxn>
              </a:cxnLst>
              <a:rect l="0" t="0" r="r" b="b"/>
              <a:pathLst>
                <a:path w="844" h="588">
                  <a:moveTo>
                    <a:pt x="774" y="456"/>
                  </a:moveTo>
                  <a:cubicBezTo>
                    <a:pt x="774" y="36"/>
                    <a:pt x="774" y="36"/>
                    <a:pt x="774" y="36"/>
                  </a:cubicBezTo>
                  <a:cubicBezTo>
                    <a:pt x="774" y="16"/>
                    <a:pt x="757" y="0"/>
                    <a:pt x="73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71" y="16"/>
                    <a:pt x="71" y="36"/>
                  </a:cubicBezTo>
                  <a:cubicBezTo>
                    <a:pt x="71" y="456"/>
                    <a:pt x="71" y="456"/>
                    <a:pt x="71" y="456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568"/>
                    <a:pt x="20" y="588"/>
                    <a:pt x="44" y="588"/>
                  </a:cubicBezTo>
                  <a:cubicBezTo>
                    <a:pt x="800" y="588"/>
                    <a:pt x="800" y="588"/>
                    <a:pt x="800" y="588"/>
                  </a:cubicBezTo>
                  <a:cubicBezTo>
                    <a:pt x="824" y="588"/>
                    <a:pt x="844" y="568"/>
                    <a:pt x="844" y="544"/>
                  </a:cubicBezTo>
                  <a:lnTo>
                    <a:pt x="774" y="456"/>
                  </a:lnTo>
                  <a:close/>
                  <a:moveTo>
                    <a:pt x="481" y="554"/>
                  </a:moveTo>
                  <a:cubicBezTo>
                    <a:pt x="350" y="554"/>
                    <a:pt x="350" y="554"/>
                    <a:pt x="350" y="554"/>
                  </a:cubicBezTo>
                  <a:cubicBezTo>
                    <a:pt x="343" y="554"/>
                    <a:pt x="337" y="551"/>
                    <a:pt x="337" y="547"/>
                  </a:cubicBezTo>
                  <a:cubicBezTo>
                    <a:pt x="352" y="519"/>
                    <a:pt x="352" y="519"/>
                    <a:pt x="352" y="519"/>
                  </a:cubicBezTo>
                  <a:cubicBezTo>
                    <a:pt x="352" y="516"/>
                    <a:pt x="357" y="514"/>
                    <a:pt x="363" y="514"/>
                  </a:cubicBezTo>
                  <a:cubicBezTo>
                    <a:pt x="468" y="514"/>
                    <a:pt x="468" y="514"/>
                    <a:pt x="468" y="514"/>
                  </a:cubicBezTo>
                  <a:cubicBezTo>
                    <a:pt x="473" y="514"/>
                    <a:pt x="478" y="516"/>
                    <a:pt x="478" y="519"/>
                  </a:cubicBezTo>
                  <a:cubicBezTo>
                    <a:pt x="494" y="547"/>
                    <a:pt x="494" y="547"/>
                    <a:pt x="494" y="547"/>
                  </a:cubicBezTo>
                  <a:cubicBezTo>
                    <a:pt x="494" y="551"/>
                    <a:pt x="488" y="554"/>
                    <a:pt x="481" y="554"/>
                  </a:cubicBezTo>
                  <a:close/>
                  <a:moveTo>
                    <a:pt x="748" y="456"/>
                  </a:moveTo>
                  <a:cubicBezTo>
                    <a:pt x="99" y="456"/>
                    <a:pt x="99" y="456"/>
                    <a:pt x="99" y="45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2"/>
                    <a:pt x="107" y="24"/>
                    <a:pt x="117" y="24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740" y="24"/>
                    <a:pt x="748" y="32"/>
                    <a:pt x="748" y="42"/>
                  </a:cubicBezTo>
                  <a:lnTo>
                    <a:pt x="748" y="456"/>
                  </a:lnTo>
                  <a:close/>
                </a:path>
              </a:pathLst>
            </a:custGeom>
            <a:solidFill>
              <a:srgbClr val="FFFFFF"/>
            </a:solidFill>
            <a:extLst/>
          </p:spPr>
          <p:txBody>
            <a:bodyPr vert="horz" wrap="square" lIns="111925" tIns="55963" rIns="111925" bIns="5596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FFFFFF"/>
                </a:solidFill>
                <a:latin typeface="NotesStyle-Medium" pitchFamily="2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9370302" y="228114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018611" y="351085"/>
            <a:ext cx="792000" cy="792000"/>
            <a:chOff x="9756620" y="429836"/>
            <a:chExt cx="792000" cy="792000"/>
          </a:xfrm>
        </p:grpSpPr>
        <p:sp>
          <p:nvSpPr>
            <p:cNvPr id="116" name="Freeform 14"/>
            <p:cNvSpPr>
              <a:spLocks noEditPoints="1"/>
            </p:cNvSpPr>
            <p:nvPr/>
          </p:nvSpPr>
          <p:spPr bwMode="auto">
            <a:xfrm>
              <a:off x="9837713" y="510929"/>
              <a:ext cx="629814" cy="629814"/>
            </a:xfrm>
            <a:custGeom>
              <a:avLst/>
              <a:gdLst>
                <a:gd name="T0" fmla="*/ 0 w 383"/>
                <a:gd name="T1" fmla="*/ 378 h 405"/>
                <a:gd name="T2" fmla="*/ 0 w 383"/>
                <a:gd name="T3" fmla="*/ 163 h 405"/>
                <a:gd name="T4" fmla="*/ 39 w 383"/>
                <a:gd name="T5" fmla="*/ 163 h 405"/>
                <a:gd name="T6" fmla="*/ 39 w 383"/>
                <a:gd name="T7" fmla="*/ 378 h 405"/>
                <a:gd name="T8" fmla="*/ 0 w 383"/>
                <a:gd name="T9" fmla="*/ 378 h 405"/>
                <a:gd name="T10" fmla="*/ 357 w 383"/>
                <a:gd name="T11" fmla="*/ 158 h 405"/>
                <a:gd name="T12" fmla="*/ 263 w 383"/>
                <a:gd name="T13" fmla="*/ 156 h 405"/>
                <a:gd name="T14" fmla="*/ 286 w 383"/>
                <a:gd name="T15" fmla="*/ 97 h 405"/>
                <a:gd name="T16" fmla="*/ 260 w 383"/>
                <a:gd name="T17" fmla="*/ 0 h 405"/>
                <a:gd name="T18" fmla="*/ 233 w 383"/>
                <a:gd name="T19" fmla="*/ 26 h 405"/>
                <a:gd name="T20" fmla="*/ 131 w 383"/>
                <a:gd name="T21" fmla="*/ 145 h 405"/>
                <a:gd name="T22" fmla="*/ 59 w 383"/>
                <a:gd name="T23" fmla="*/ 185 h 405"/>
                <a:gd name="T24" fmla="*/ 59 w 383"/>
                <a:gd name="T25" fmla="*/ 364 h 405"/>
                <a:gd name="T26" fmla="*/ 162 w 383"/>
                <a:gd name="T27" fmla="*/ 405 h 405"/>
                <a:gd name="T28" fmla="*/ 276 w 383"/>
                <a:gd name="T29" fmla="*/ 403 h 405"/>
                <a:gd name="T30" fmla="*/ 305 w 383"/>
                <a:gd name="T31" fmla="*/ 377 h 405"/>
                <a:gd name="T32" fmla="*/ 291 w 383"/>
                <a:gd name="T33" fmla="*/ 351 h 405"/>
                <a:gd name="T34" fmla="*/ 291 w 383"/>
                <a:gd name="T35" fmla="*/ 351 h 405"/>
                <a:gd name="T36" fmla="*/ 290 w 383"/>
                <a:gd name="T37" fmla="*/ 351 h 405"/>
                <a:gd name="T38" fmla="*/ 286 w 383"/>
                <a:gd name="T39" fmla="*/ 346 h 405"/>
                <a:gd name="T40" fmla="*/ 291 w 383"/>
                <a:gd name="T41" fmla="*/ 340 h 405"/>
                <a:gd name="T42" fmla="*/ 302 w 383"/>
                <a:gd name="T43" fmla="*/ 340 h 405"/>
                <a:gd name="T44" fmla="*/ 331 w 383"/>
                <a:gd name="T45" fmla="*/ 314 h 405"/>
                <a:gd name="T46" fmla="*/ 317 w 383"/>
                <a:gd name="T47" fmla="*/ 288 h 405"/>
                <a:gd name="T48" fmla="*/ 317 w 383"/>
                <a:gd name="T49" fmla="*/ 288 h 405"/>
                <a:gd name="T50" fmla="*/ 316 w 383"/>
                <a:gd name="T51" fmla="*/ 287 h 405"/>
                <a:gd name="T52" fmla="*/ 312 w 383"/>
                <a:gd name="T53" fmla="*/ 282 h 405"/>
                <a:gd name="T54" fmla="*/ 317 w 383"/>
                <a:gd name="T55" fmla="*/ 277 h 405"/>
                <a:gd name="T56" fmla="*/ 328 w 383"/>
                <a:gd name="T57" fmla="*/ 276 h 405"/>
                <a:gd name="T58" fmla="*/ 357 w 383"/>
                <a:gd name="T59" fmla="*/ 250 h 405"/>
                <a:gd name="T60" fmla="*/ 343 w 383"/>
                <a:gd name="T61" fmla="*/ 225 h 405"/>
                <a:gd name="T62" fmla="*/ 343 w 383"/>
                <a:gd name="T63" fmla="*/ 225 h 405"/>
                <a:gd name="T64" fmla="*/ 342 w 383"/>
                <a:gd name="T65" fmla="*/ 224 h 405"/>
                <a:gd name="T66" fmla="*/ 338 w 383"/>
                <a:gd name="T67" fmla="*/ 219 h 405"/>
                <a:gd name="T68" fmla="*/ 343 w 383"/>
                <a:gd name="T69" fmla="*/ 213 h 405"/>
                <a:gd name="T70" fmla="*/ 354 w 383"/>
                <a:gd name="T71" fmla="*/ 213 h 405"/>
                <a:gd name="T72" fmla="*/ 383 w 383"/>
                <a:gd name="T73" fmla="*/ 187 h 405"/>
                <a:gd name="T74" fmla="*/ 357 w 383"/>
                <a:gd name="T75" fmla="*/ 15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3" h="405">
                  <a:moveTo>
                    <a:pt x="0" y="378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9" y="378"/>
                    <a:pt x="39" y="378"/>
                    <a:pt x="39" y="378"/>
                  </a:cubicBezTo>
                  <a:cubicBezTo>
                    <a:pt x="0" y="378"/>
                    <a:pt x="0" y="378"/>
                    <a:pt x="0" y="378"/>
                  </a:cubicBezTo>
                  <a:close/>
                  <a:moveTo>
                    <a:pt x="357" y="158"/>
                  </a:moveTo>
                  <a:cubicBezTo>
                    <a:pt x="357" y="158"/>
                    <a:pt x="309" y="157"/>
                    <a:pt x="263" y="156"/>
                  </a:cubicBezTo>
                  <a:cubicBezTo>
                    <a:pt x="271" y="137"/>
                    <a:pt x="281" y="113"/>
                    <a:pt x="286" y="97"/>
                  </a:cubicBezTo>
                  <a:cubicBezTo>
                    <a:pt x="295" y="65"/>
                    <a:pt x="299" y="1"/>
                    <a:pt x="260" y="0"/>
                  </a:cubicBezTo>
                  <a:cubicBezTo>
                    <a:pt x="245" y="0"/>
                    <a:pt x="233" y="11"/>
                    <a:pt x="233" y="26"/>
                  </a:cubicBezTo>
                  <a:cubicBezTo>
                    <a:pt x="233" y="83"/>
                    <a:pt x="197" y="131"/>
                    <a:pt x="131" y="145"/>
                  </a:cubicBezTo>
                  <a:cubicBezTo>
                    <a:pt x="100" y="152"/>
                    <a:pt x="69" y="169"/>
                    <a:pt x="59" y="185"/>
                  </a:cubicBezTo>
                  <a:cubicBezTo>
                    <a:pt x="59" y="223"/>
                    <a:pt x="59" y="364"/>
                    <a:pt x="59" y="364"/>
                  </a:cubicBezTo>
                  <a:cubicBezTo>
                    <a:pt x="59" y="364"/>
                    <a:pt x="127" y="405"/>
                    <a:pt x="162" y="405"/>
                  </a:cubicBezTo>
                  <a:cubicBezTo>
                    <a:pt x="163" y="405"/>
                    <a:pt x="276" y="403"/>
                    <a:pt x="276" y="403"/>
                  </a:cubicBezTo>
                  <a:cubicBezTo>
                    <a:pt x="291" y="404"/>
                    <a:pt x="304" y="392"/>
                    <a:pt x="305" y="377"/>
                  </a:cubicBezTo>
                  <a:cubicBezTo>
                    <a:pt x="305" y="366"/>
                    <a:pt x="300" y="356"/>
                    <a:pt x="291" y="351"/>
                  </a:cubicBezTo>
                  <a:cubicBezTo>
                    <a:pt x="291" y="351"/>
                    <a:pt x="291" y="351"/>
                    <a:pt x="291" y="351"/>
                  </a:cubicBezTo>
                  <a:cubicBezTo>
                    <a:pt x="290" y="351"/>
                    <a:pt x="290" y="351"/>
                    <a:pt x="290" y="351"/>
                  </a:cubicBezTo>
                  <a:cubicBezTo>
                    <a:pt x="287" y="350"/>
                    <a:pt x="286" y="348"/>
                    <a:pt x="286" y="346"/>
                  </a:cubicBezTo>
                  <a:cubicBezTo>
                    <a:pt x="286" y="342"/>
                    <a:pt x="288" y="340"/>
                    <a:pt x="291" y="340"/>
                  </a:cubicBezTo>
                  <a:cubicBezTo>
                    <a:pt x="302" y="340"/>
                    <a:pt x="302" y="340"/>
                    <a:pt x="302" y="340"/>
                  </a:cubicBezTo>
                  <a:cubicBezTo>
                    <a:pt x="317" y="340"/>
                    <a:pt x="330" y="329"/>
                    <a:pt x="331" y="314"/>
                  </a:cubicBezTo>
                  <a:cubicBezTo>
                    <a:pt x="331" y="303"/>
                    <a:pt x="326" y="293"/>
                    <a:pt x="317" y="288"/>
                  </a:cubicBezTo>
                  <a:cubicBezTo>
                    <a:pt x="317" y="288"/>
                    <a:pt x="317" y="288"/>
                    <a:pt x="317" y="288"/>
                  </a:cubicBezTo>
                  <a:cubicBezTo>
                    <a:pt x="316" y="288"/>
                    <a:pt x="316" y="288"/>
                    <a:pt x="316" y="287"/>
                  </a:cubicBezTo>
                  <a:cubicBezTo>
                    <a:pt x="313" y="287"/>
                    <a:pt x="312" y="285"/>
                    <a:pt x="312" y="282"/>
                  </a:cubicBezTo>
                  <a:cubicBezTo>
                    <a:pt x="312" y="279"/>
                    <a:pt x="314" y="277"/>
                    <a:pt x="317" y="277"/>
                  </a:cubicBezTo>
                  <a:cubicBezTo>
                    <a:pt x="328" y="276"/>
                    <a:pt x="328" y="276"/>
                    <a:pt x="328" y="276"/>
                  </a:cubicBezTo>
                  <a:cubicBezTo>
                    <a:pt x="343" y="277"/>
                    <a:pt x="356" y="265"/>
                    <a:pt x="357" y="250"/>
                  </a:cubicBezTo>
                  <a:cubicBezTo>
                    <a:pt x="357" y="239"/>
                    <a:pt x="352" y="229"/>
                    <a:pt x="343" y="225"/>
                  </a:cubicBezTo>
                  <a:cubicBezTo>
                    <a:pt x="343" y="225"/>
                    <a:pt x="343" y="225"/>
                    <a:pt x="343" y="225"/>
                  </a:cubicBezTo>
                  <a:cubicBezTo>
                    <a:pt x="342" y="224"/>
                    <a:pt x="342" y="224"/>
                    <a:pt x="342" y="224"/>
                  </a:cubicBezTo>
                  <a:cubicBezTo>
                    <a:pt x="339" y="223"/>
                    <a:pt x="338" y="221"/>
                    <a:pt x="338" y="219"/>
                  </a:cubicBezTo>
                  <a:cubicBezTo>
                    <a:pt x="338" y="216"/>
                    <a:pt x="340" y="213"/>
                    <a:pt x="343" y="213"/>
                  </a:cubicBezTo>
                  <a:cubicBezTo>
                    <a:pt x="354" y="213"/>
                    <a:pt x="354" y="213"/>
                    <a:pt x="354" y="213"/>
                  </a:cubicBezTo>
                  <a:cubicBezTo>
                    <a:pt x="369" y="214"/>
                    <a:pt x="382" y="202"/>
                    <a:pt x="383" y="187"/>
                  </a:cubicBezTo>
                  <a:cubicBezTo>
                    <a:pt x="383" y="172"/>
                    <a:pt x="374" y="159"/>
                    <a:pt x="357" y="1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822932"/>
              <a:endParaRPr lang="en-US" sz="1600" spc="-135">
                <a:solidFill>
                  <a:prstClr val="black">
                    <a:lumMod val="50000"/>
                  </a:prstClr>
                </a:solidFill>
                <a:latin typeface="NotesStyle-Medium" pitchFamily="2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9756620" y="4298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68147" y="1026701"/>
            <a:ext cx="792000" cy="792000"/>
            <a:chOff x="10079690" y="596849"/>
            <a:chExt cx="792000" cy="7920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113651" y="721320"/>
              <a:ext cx="724078" cy="543059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10079690" y="59684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073649" y="1720094"/>
            <a:ext cx="792000" cy="792000"/>
            <a:chOff x="9938539" y="1799431"/>
            <a:chExt cx="792000" cy="792000"/>
          </a:xfrm>
        </p:grpSpPr>
        <p:sp>
          <p:nvSpPr>
            <p:cNvPr id="122" name="Freeform 7"/>
            <p:cNvSpPr>
              <a:spLocks/>
            </p:cNvSpPr>
            <p:nvPr/>
          </p:nvSpPr>
          <p:spPr bwMode="auto">
            <a:xfrm>
              <a:off x="10188355" y="1918686"/>
              <a:ext cx="292368" cy="553491"/>
            </a:xfrm>
            <a:custGeom>
              <a:avLst/>
              <a:gdLst>
                <a:gd name="T0" fmla="*/ 548 w 652"/>
                <a:gd name="T1" fmla="*/ 211 h 1234"/>
                <a:gd name="T2" fmla="*/ 652 w 652"/>
                <a:gd name="T3" fmla="*/ 211 h 1234"/>
                <a:gd name="T4" fmla="*/ 652 w 652"/>
                <a:gd name="T5" fmla="*/ 0 h 1234"/>
                <a:gd name="T6" fmla="*/ 426 w 652"/>
                <a:gd name="T7" fmla="*/ 0 h 1234"/>
                <a:gd name="T8" fmla="*/ 178 w 652"/>
                <a:gd name="T9" fmla="*/ 248 h 1234"/>
                <a:gd name="T10" fmla="*/ 178 w 652"/>
                <a:gd name="T11" fmla="*/ 374 h 1234"/>
                <a:gd name="T12" fmla="*/ 0 w 652"/>
                <a:gd name="T13" fmla="*/ 374 h 1234"/>
                <a:gd name="T14" fmla="*/ 0 w 652"/>
                <a:gd name="T15" fmla="*/ 585 h 1234"/>
                <a:gd name="T16" fmla="*/ 178 w 652"/>
                <a:gd name="T17" fmla="*/ 585 h 1234"/>
                <a:gd name="T18" fmla="*/ 178 w 652"/>
                <a:gd name="T19" fmla="*/ 1234 h 1234"/>
                <a:gd name="T20" fmla="*/ 455 w 652"/>
                <a:gd name="T21" fmla="*/ 1234 h 1234"/>
                <a:gd name="T22" fmla="*/ 455 w 652"/>
                <a:gd name="T23" fmla="*/ 585 h 1234"/>
                <a:gd name="T24" fmla="*/ 652 w 652"/>
                <a:gd name="T25" fmla="*/ 585 h 1234"/>
                <a:gd name="T26" fmla="*/ 652 w 652"/>
                <a:gd name="T27" fmla="*/ 374 h 1234"/>
                <a:gd name="T28" fmla="*/ 455 w 652"/>
                <a:gd name="T29" fmla="*/ 374 h 1234"/>
                <a:gd name="T30" fmla="*/ 455 w 652"/>
                <a:gd name="T31" fmla="*/ 304 h 1234"/>
                <a:gd name="T32" fmla="*/ 548 w 652"/>
                <a:gd name="T33" fmla="*/ 211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2" h="1234">
                  <a:moveTo>
                    <a:pt x="548" y="211"/>
                  </a:moveTo>
                  <a:cubicBezTo>
                    <a:pt x="652" y="211"/>
                    <a:pt x="652" y="211"/>
                    <a:pt x="652" y="211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289" y="0"/>
                    <a:pt x="178" y="111"/>
                    <a:pt x="178" y="248"/>
                  </a:cubicBezTo>
                  <a:cubicBezTo>
                    <a:pt x="178" y="374"/>
                    <a:pt x="178" y="374"/>
                    <a:pt x="17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178" y="585"/>
                    <a:pt x="178" y="585"/>
                    <a:pt x="178" y="585"/>
                  </a:cubicBezTo>
                  <a:cubicBezTo>
                    <a:pt x="178" y="1234"/>
                    <a:pt x="178" y="1234"/>
                    <a:pt x="178" y="1234"/>
                  </a:cubicBezTo>
                  <a:cubicBezTo>
                    <a:pt x="455" y="1234"/>
                    <a:pt x="455" y="1234"/>
                    <a:pt x="455" y="1234"/>
                  </a:cubicBezTo>
                  <a:cubicBezTo>
                    <a:pt x="455" y="585"/>
                    <a:pt x="455" y="585"/>
                    <a:pt x="455" y="585"/>
                  </a:cubicBezTo>
                  <a:cubicBezTo>
                    <a:pt x="652" y="585"/>
                    <a:pt x="652" y="585"/>
                    <a:pt x="652" y="585"/>
                  </a:cubicBezTo>
                  <a:cubicBezTo>
                    <a:pt x="652" y="374"/>
                    <a:pt x="652" y="374"/>
                    <a:pt x="652" y="374"/>
                  </a:cubicBezTo>
                  <a:cubicBezTo>
                    <a:pt x="455" y="374"/>
                    <a:pt x="455" y="374"/>
                    <a:pt x="455" y="37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55" y="252"/>
                    <a:pt x="496" y="211"/>
                    <a:pt x="548" y="211"/>
                  </a:cubicBezTo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24342" tIns="62170" rIns="124342" bIns="6217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847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9938539" y="179943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3510540" y="1731541"/>
            <a:ext cx="792000" cy="792000"/>
            <a:chOff x="10332286" y="1435452"/>
            <a:chExt cx="792000" cy="792000"/>
          </a:xfrm>
        </p:grpSpPr>
        <p:sp>
          <p:nvSpPr>
            <p:cNvPr id="125" name="Freeform 124"/>
            <p:cNvSpPr/>
            <p:nvPr/>
          </p:nvSpPr>
          <p:spPr>
            <a:xfrm>
              <a:off x="10565648" y="1546419"/>
              <a:ext cx="325277" cy="570067"/>
            </a:xfrm>
            <a:custGeom>
              <a:avLst/>
              <a:gdLst>
                <a:gd name="connsiteX0" fmla="*/ 109100 w 2091064"/>
                <a:gd name="connsiteY0" fmla="*/ 127865 h 2876104"/>
                <a:gd name="connsiteX1" fmla="*/ 134979 w 2091064"/>
                <a:gd name="connsiteY1" fmla="*/ 1930786 h 2876104"/>
                <a:gd name="connsiteX2" fmla="*/ 1083884 w 2091064"/>
                <a:gd name="connsiteY2" fmla="*/ 2776175 h 2876104"/>
                <a:gd name="connsiteX3" fmla="*/ 1963779 w 2091064"/>
                <a:gd name="connsiteY3" fmla="*/ 2750296 h 2876104"/>
                <a:gd name="connsiteX4" fmla="*/ 1894767 w 2091064"/>
                <a:gd name="connsiteY4" fmla="*/ 1792764 h 2876104"/>
                <a:gd name="connsiteX5" fmla="*/ 1066632 w 2091064"/>
                <a:gd name="connsiteY5" fmla="*/ 1792764 h 2876104"/>
                <a:gd name="connsiteX6" fmla="*/ 1023500 w 2091064"/>
                <a:gd name="connsiteY6" fmla="*/ 1361443 h 2876104"/>
                <a:gd name="connsiteX7" fmla="*/ 1998284 w 2091064"/>
                <a:gd name="connsiteY7" fmla="*/ 1395948 h 2876104"/>
                <a:gd name="connsiteX8" fmla="*/ 1937900 w 2091064"/>
                <a:gd name="connsiteY8" fmla="*/ 524681 h 2876104"/>
                <a:gd name="connsiteX9" fmla="*/ 997620 w 2091064"/>
                <a:gd name="connsiteY9" fmla="*/ 507428 h 2876104"/>
                <a:gd name="connsiteX10" fmla="*/ 1101137 w 2091064"/>
                <a:gd name="connsiteY10" fmla="*/ 188250 h 2876104"/>
                <a:gd name="connsiteX11" fmla="*/ 109100 w 2091064"/>
                <a:gd name="connsiteY11" fmla="*/ 127865 h 2876104"/>
                <a:gd name="connsiteX0" fmla="*/ 119694 w 2075779"/>
                <a:gd name="connsiteY0" fmla="*/ 129411 h 2869023"/>
                <a:gd name="connsiteX1" fmla="*/ 119694 w 2075779"/>
                <a:gd name="connsiteY1" fmla="*/ 1923705 h 2869023"/>
                <a:gd name="connsiteX2" fmla="*/ 1068599 w 2075779"/>
                <a:gd name="connsiteY2" fmla="*/ 2769094 h 2869023"/>
                <a:gd name="connsiteX3" fmla="*/ 1948494 w 2075779"/>
                <a:gd name="connsiteY3" fmla="*/ 2743215 h 2869023"/>
                <a:gd name="connsiteX4" fmla="*/ 1879482 w 2075779"/>
                <a:gd name="connsiteY4" fmla="*/ 1785683 h 2869023"/>
                <a:gd name="connsiteX5" fmla="*/ 1051347 w 2075779"/>
                <a:gd name="connsiteY5" fmla="*/ 1785683 h 2869023"/>
                <a:gd name="connsiteX6" fmla="*/ 1008215 w 2075779"/>
                <a:gd name="connsiteY6" fmla="*/ 1354362 h 2869023"/>
                <a:gd name="connsiteX7" fmla="*/ 1982999 w 2075779"/>
                <a:gd name="connsiteY7" fmla="*/ 1388867 h 2869023"/>
                <a:gd name="connsiteX8" fmla="*/ 1922615 w 2075779"/>
                <a:gd name="connsiteY8" fmla="*/ 517600 h 2869023"/>
                <a:gd name="connsiteX9" fmla="*/ 982335 w 2075779"/>
                <a:gd name="connsiteY9" fmla="*/ 500347 h 2869023"/>
                <a:gd name="connsiteX10" fmla="*/ 1085852 w 2075779"/>
                <a:gd name="connsiteY10" fmla="*/ 181169 h 2869023"/>
                <a:gd name="connsiteX11" fmla="*/ 119694 w 2075779"/>
                <a:gd name="connsiteY11" fmla="*/ 129411 h 2869023"/>
                <a:gd name="connsiteX0" fmla="*/ 69655 w 2025740"/>
                <a:gd name="connsiteY0" fmla="*/ 129411 h 2869023"/>
                <a:gd name="connsiteX1" fmla="*/ 69655 w 2025740"/>
                <a:gd name="connsiteY1" fmla="*/ 1923705 h 2869023"/>
                <a:gd name="connsiteX2" fmla="*/ 1018560 w 2025740"/>
                <a:gd name="connsiteY2" fmla="*/ 2769094 h 2869023"/>
                <a:gd name="connsiteX3" fmla="*/ 1898455 w 2025740"/>
                <a:gd name="connsiteY3" fmla="*/ 2743215 h 2869023"/>
                <a:gd name="connsiteX4" fmla="*/ 1829443 w 2025740"/>
                <a:gd name="connsiteY4" fmla="*/ 1785683 h 2869023"/>
                <a:gd name="connsiteX5" fmla="*/ 1001308 w 2025740"/>
                <a:gd name="connsiteY5" fmla="*/ 1785683 h 2869023"/>
                <a:gd name="connsiteX6" fmla="*/ 958176 w 2025740"/>
                <a:gd name="connsiteY6" fmla="*/ 1354362 h 2869023"/>
                <a:gd name="connsiteX7" fmla="*/ 1932960 w 2025740"/>
                <a:gd name="connsiteY7" fmla="*/ 1388867 h 2869023"/>
                <a:gd name="connsiteX8" fmla="*/ 1872576 w 2025740"/>
                <a:gd name="connsiteY8" fmla="*/ 517600 h 2869023"/>
                <a:gd name="connsiteX9" fmla="*/ 932296 w 2025740"/>
                <a:gd name="connsiteY9" fmla="*/ 500347 h 2869023"/>
                <a:gd name="connsiteX10" fmla="*/ 1035813 w 2025740"/>
                <a:gd name="connsiteY10" fmla="*/ 181169 h 2869023"/>
                <a:gd name="connsiteX11" fmla="*/ 69655 w 2025740"/>
                <a:gd name="connsiteY11" fmla="*/ 129411 h 2869023"/>
                <a:gd name="connsiteX0" fmla="*/ 0 w 1956085"/>
                <a:gd name="connsiteY0" fmla="*/ 129411 h 2869023"/>
                <a:gd name="connsiteX1" fmla="*/ 0 w 1956085"/>
                <a:gd name="connsiteY1" fmla="*/ 1923705 h 2869023"/>
                <a:gd name="connsiteX2" fmla="*/ 948905 w 1956085"/>
                <a:gd name="connsiteY2" fmla="*/ 2769094 h 2869023"/>
                <a:gd name="connsiteX3" fmla="*/ 1828800 w 1956085"/>
                <a:gd name="connsiteY3" fmla="*/ 2743215 h 2869023"/>
                <a:gd name="connsiteX4" fmla="*/ 1759788 w 1956085"/>
                <a:gd name="connsiteY4" fmla="*/ 1785683 h 2869023"/>
                <a:gd name="connsiteX5" fmla="*/ 931653 w 1956085"/>
                <a:gd name="connsiteY5" fmla="*/ 1785683 h 2869023"/>
                <a:gd name="connsiteX6" fmla="*/ 888521 w 1956085"/>
                <a:gd name="connsiteY6" fmla="*/ 1354362 h 2869023"/>
                <a:gd name="connsiteX7" fmla="*/ 1863305 w 1956085"/>
                <a:gd name="connsiteY7" fmla="*/ 1388867 h 2869023"/>
                <a:gd name="connsiteX8" fmla="*/ 1802921 w 1956085"/>
                <a:gd name="connsiteY8" fmla="*/ 517600 h 2869023"/>
                <a:gd name="connsiteX9" fmla="*/ 862641 w 1956085"/>
                <a:gd name="connsiteY9" fmla="*/ 500347 h 2869023"/>
                <a:gd name="connsiteX10" fmla="*/ 966158 w 1956085"/>
                <a:gd name="connsiteY10" fmla="*/ 181169 h 2869023"/>
                <a:gd name="connsiteX11" fmla="*/ 0 w 1956085"/>
                <a:gd name="connsiteY11" fmla="*/ 129411 h 2869023"/>
                <a:gd name="connsiteX0" fmla="*/ 0 w 1956085"/>
                <a:gd name="connsiteY0" fmla="*/ 301930 h 3041542"/>
                <a:gd name="connsiteX1" fmla="*/ 0 w 1956085"/>
                <a:gd name="connsiteY1" fmla="*/ 2096224 h 3041542"/>
                <a:gd name="connsiteX2" fmla="*/ 948905 w 1956085"/>
                <a:gd name="connsiteY2" fmla="*/ 2941613 h 3041542"/>
                <a:gd name="connsiteX3" fmla="*/ 1828800 w 1956085"/>
                <a:gd name="connsiteY3" fmla="*/ 2915734 h 3041542"/>
                <a:gd name="connsiteX4" fmla="*/ 1759788 w 1956085"/>
                <a:gd name="connsiteY4" fmla="*/ 1958202 h 3041542"/>
                <a:gd name="connsiteX5" fmla="*/ 931653 w 1956085"/>
                <a:gd name="connsiteY5" fmla="*/ 1958202 h 3041542"/>
                <a:gd name="connsiteX6" fmla="*/ 888521 w 1956085"/>
                <a:gd name="connsiteY6" fmla="*/ 1526881 h 3041542"/>
                <a:gd name="connsiteX7" fmla="*/ 1863305 w 1956085"/>
                <a:gd name="connsiteY7" fmla="*/ 1561386 h 3041542"/>
                <a:gd name="connsiteX8" fmla="*/ 1802921 w 1956085"/>
                <a:gd name="connsiteY8" fmla="*/ 690119 h 3041542"/>
                <a:gd name="connsiteX9" fmla="*/ 862641 w 1956085"/>
                <a:gd name="connsiteY9" fmla="*/ 672866 h 3041542"/>
                <a:gd name="connsiteX10" fmla="*/ 966158 w 1956085"/>
                <a:gd name="connsiteY10" fmla="*/ 353688 h 3041542"/>
                <a:gd name="connsiteX11" fmla="*/ 0 w 1956085"/>
                <a:gd name="connsiteY11" fmla="*/ 301930 h 3041542"/>
                <a:gd name="connsiteX0" fmla="*/ 0 w 1956085"/>
                <a:gd name="connsiteY0" fmla="*/ 304163 h 3043775"/>
                <a:gd name="connsiteX1" fmla="*/ 0 w 1956085"/>
                <a:gd name="connsiteY1" fmla="*/ 2098457 h 3043775"/>
                <a:gd name="connsiteX2" fmla="*/ 948905 w 1956085"/>
                <a:gd name="connsiteY2" fmla="*/ 2943846 h 3043775"/>
                <a:gd name="connsiteX3" fmla="*/ 1828800 w 1956085"/>
                <a:gd name="connsiteY3" fmla="*/ 2917967 h 3043775"/>
                <a:gd name="connsiteX4" fmla="*/ 1759788 w 1956085"/>
                <a:gd name="connsiteY4" fmla="*/ 1960435 h 3043775"/>
                <a:gd name="connsiteX5" fmla="*/ 931653 w 1956085"/>
                <a:gd name="connsiteY5" fmla="*/ 1960435 h 3043775"/>
                <a:gd name="connsiteX6" fmla="*/ 888521 w 1956085"/>
                <a:gd name="connsiteY6" fmla="*/ 1529114 h 3043775"/>
                <a:gd name="connsiteX7" fmla="*/ 1863305 w 1956085"/>
                <a:gd name="connsiteY7" fmla="*/ 1563619 h 3043775"/>
                <a:gd name="connsiteX8" fmla="*/ 1802921 w 1956085"/>
                <a:gd name="connsiteY8" fmla="*/ 692352 h 3043775"/>
                <a:gd name="connsiteX9" fmla="*/ 862641 w 1956085"/>
                <a:gd name="connsiteY9" fmla="*/ 675099 h 3043775"/>
                <a:gd name="connsiteX10" fmla="*/ 914400 w 1956085"/>
                <a:gd name="connsiteY10" fmla="*/ 347294 h 3043775"/>
                <a:gd name="connsiteX11" fmla="*/ 0 w 1956085"/>
                <a:gd name="connsiteY11" fmla="*/ 304163 h 3043775"/>
                <a:gd name="connsiteX0" fmla="*/ 0 w 1956085"/>
                <a:gd name="connsiteY0" fmla="*/ 316045 h 3055657"/>
                <a:gd name="connsiteX1" fmla="*/ 0 w 1956085"/>
                <a:gd name="connsiteY1" fmla="*/ 2110339 h 3055657"/>
                <a:gd name="connsiteX2" fmla="*/ 948905 w 1956085"/>
                <a:gd name="connsiteY2" fmla="*/ 2955728 h 3055657"/>
                <a:gd name="connsiteX3" fmla="*/ 1828800 w 1956085"/>
                <a:gd name="connsiteY3" fmla="*/ 2929849 h 3055657"/>
                <a:gd name="connsiteX4" fmla="*/ 1759788 w 1956085"/>
                <a:gd name="connsiteY4" fmla="*/ 1972317 h 3055657"/>
                <a:gd name="connsiteX5" fmla="*/ 931653 w 1956085"/>
                <a:gd name="connsiteY5" fmla="*/ 1972317 h 3055657"/>
                <a:gd name="connsiteX6" fmla="*/ 888521 w 1956085"/>
                <a:gd name="connsiteY6" fmla="*/ 1540996 h 3055657"/>
                <a:gd name="connsiteX7" fmla="*/ 1863305 w 1956085"/>
                <a:gd name="connsiteY7" fmla="*/ 1575501 h 3055657"/>
                <a:gd name="connsiteX8" fmla="*/ 1802921 w 1956085"/>
                <a:gd name="connsiteY8" fmla="*/ 704234 h 3055657"/>
                <a:gd name="connsiteX9" fmla="*/ 862641 w 1956085"/>
                <a:gd name="connsiteY9" fmla="*/ 686981 h 3055657"/>
                <a:gd name="connsiteX10" fmla="*/ 914400 w 1956085"/>
                <a:gd name="connsiteY10" fmla="*/ 359176 h 3055657"/>
                <a:gd name="connsiteX11" fmla="*/ 0 w 1956085"/>
                <a:gd name="connsiteY11" fmla="*/ 316045 h 3055657"/>
                <a:gd name="connsiteX0" fmla="*/ 0 w 1956085"/>
                <a:gd name="connsiteY0" fmla="*/ 339566 h 3079178"/>
                <a:gd name="connsiteX1" fmla="*/ 0 w 1956085"/>
                <a:gd name="connsiteY1" fmla="*/ 2133860 h 3079178"/>
                <a:gd name="connsiteX2" fmla="*/ 948905 w 1956085"/>
                <a:gd name="connsiteY2" fmla="*/ 2979249 h 3079178"/>
                <a:gd name="connsiteX3" fmla="*/ 1828800 w 1956085"/>
                <a:gd name="connsiteY3" fmla="*/ 2953370 h 3079178"/>
                <a:gd name="connsiteX4" fmla="*/ 1759788 w 1956085"/>
                <a:gd name="connsiteY4" fmla="*/ 1995838 h 3079178"/>
                <a:gd name="connsiteX5" fmla="*/ 931653 w 1956085"/>
                <a:gd name="connsiteY5" fmla="*/ 1995838 h 3079178"/>
                <a:gd name="connsiteX6" fmla="*/ 888521 w 1956085"/>
                <a:gd name="connsiteY6" fmla="*/ 1564517 h 3079178"/>
                <a:gd name="connsiteX7" fmla="*/ 1863305 w 1956085"/>
                <a:gd name="connsiteY7" fmla="*/ 1599022 h 3079178"/>
                <a:gd name="connsiteX8" fmla="*/ 1802921 w 1956085"/>
                <a:gd name="connsiteY8" fmla="*/ 727755 h 3079178"/>
                <a:gd name="connsiteX9" fmla="*/ 862641 w 1956085"/>
                <a:gd name="connsiteY9" fmla="*/ 710502 h 3079178"/>
                <a:gd name="connsiteX10" fmla="*/ 914400 w 1956085"/>
                <a:gd name="connsiteY10" fmla="*/ 382697 h 3079178"/>
                <a:gd name="connsiteX11" fmla="*/ 0 w 1956085"/>
                <a:gd name="connsiteY11" fmla="*/ 339566 h 3079178"/>
                <a:gd name="connsiteX0" fmla="*/ 0 w 1956085"/>
                <a:gd name="connsiteY0" fmla="*/ 237502 h 2977114"/>
                <a:gd name="connsiteX1" fmla="*/ 0 w 1956085"/>
                <a:gd name="connsiteY1" fmla="*/ 2031796 h 2977114"/>
                <a:gd name="connsiteX2" fmla="*/ 948905 w 1956085"/>
                <a:gd name="connsiteY2" fmla="*/ 2877185 h 2977114"/>
                <a:gd name="connsiteX3" fmla="*/ 1828800 w 1956085"/>
                <a:gd name="connsiteY3" fmla="*/ 2851306 h 2977114"/>
                <a:gd name="connsiteX4" fmla="*/ 1759788 w 1956085"/>
                <a:gd name="connsiteY4" fmla="*/ 1893774 h 2977114"/>
                <a:gd name="connsiteX5" fmla="*/ 931653 w 1956085"/>
                <a:gd name="connsiteY5" fmla="*/ 1893774 h 2977114"/>
                <a:gd name="connsiteX6" fmla="*/ 888521 w 1956085"/>
                <a:gd name="connsiteY6" fmla="*/ 1462453 h 2977114"/>
                <a:gd name="connsiteX7" fmla="*/ 1863305 w 1956085"/>
                <a:gd name="connsiteY7" fmla="*/ 1496958 h 2977114"/>
                <a:gd name="connsiteX8" fmla="*/ 1802921 w 1956085"/>
                <a:gd name="connsiteY8" fmla="*/ 625691 h 2977114"/>
                <a:gd name="connsiteX9" fmla="*/ 862641 w 1956085"/>
                <a:gd name="connsiteY9" fmla="*/ 608438 h 2977114"/>
                <a:gd name="connsiteX10" fmla="*/ 914400 w 1956085"/>
                <a:gd name="connsiteY10" fmla="*/ 280633 h 2977114"/>
                <a:gd name="connsiteX11" fmla="*/ 0 w 1956085"/>
                <a:gd name="connsiteY11" fmla="*/ 237502 h 2977114"/>
                <a:gd name="connsiteX0" fmla="*/ 0 w 1956085"/>
                <a:gd name="connsiteY0" fmla="*/ 301634 h 3041246"/>
                <a:gd name="connsiteX1" fmla="*/ 0 w 1956085"/>
                <a:gd name="connsiteY1" fmla="*/ 2095928 h 3041246"/>
                <a:gd name="connsiteX2" fmla="*/ 948905 w 1956085"/>
                <a:gd name="connsiteY2" fmla="*/ 2941317 h 3041246"/>
                <a:gd name="connsiteX3" fmla="*/ 1828800 w 1956085"/>
                <a:gd name="connsiteY3" fmla="*/ 2915438 h 3041246"/>
                <a:gd name="connsiteX4" fmla="*/ 1759788 w 1956085"/>
                <a:gd name="connsiteY4" fmla="*/ 1957906 h 3041246"/>
                <a:gd name="connsiteX5" fmla="*/ 931653 w 1956085"/>
                <a:gd name="connsiteY5" fmla="*/ 1957906 h 3041246"/>
                <a:gd name="connsiteX6" fmla="*/ 888521 w 1956085"/>
                <a:gd name="connsiteY6" fmla="*/ 1526585 h 3041246"/>
                <a:gd name="connsiteX7" fmla="*/ 1863305 w 1956085"/>
                <a:gd name="connsiteY7" fmla="*/ 1561090 h 3041246"/>
                <a:gd name="connsiteX8" fmla="*/ 1802921 w 1956085"/>
                <a:gd name="connsiteY8" fmla="*/ 689823 h 3041246"/>
                <a:gd name="connsiteX9" fmla="*/ 862641 w 1956085"/>
                <a:gd name="connsiteY9" fmla="*/ 672570 h 3041246"/>
                <a:gd name="connsiteX10" fmla="*/ 914400 w 1956085"/>
                <a:gd name="connsiteY10" fmla="*/ 344765 h 3041246"/>
                <a:gd name="connsiteX11" fmla="*/ 0 w 1956085"/>
                <a:gd name="connsiteY11" fmla="*/ 301634 h 3041246"/>
                <a:gd name="connsiteX0" fmla="*/ 0 w 1956085"/>
                <a:gd name="connsiteY0" fmla="*/ 318188 h 3057800"/>
                <a:gd name="connsiteX1" fmla="*/ 0 w 1956085"/>
                <a:gd name="connsiteY1" fmla="*/ 2112482 h 3057800"/>
                <a:gd name="connsiteX2" fmla="*/ 948905 w 1956085"/>
                <a:gd name="connsiteY2" fmla="*/ 2957871 h 3057800"/>
                <a:gd name="connsiteX3" fmla="*/ 1828800 w 1956085"/>
                <a:gd name="connsiteY3" fmla="*/ 2931992 h 3057800"/>
                <a:gd name="connsiteX4" fmla="*/ 1759788 w 1956085"/>
                <a:gd name="connsiteY4" fmla="*/ 1974460 h 3057800"/>
                <a:gd name="connsiteX5" fmla="*/ 931653 w 1956085"/>
                <a:gd name="connsiteY5" fmla="*/ 1974460 h 3057800"/>
                <a:gd name="connsiteX6" fmla="*/ 888521 w 1956085"/>
                <a:gd name="connsiteY6" fmla="*/ 1543139 h 3057800"/>
                <a:gd name="connsiteX7" fmla="*/ 1863305 w 1956085"/>
                <a:gd name="connsiteY7" fmla="*/ 1577644 h 3057800"/>
                <a:gd name="connsiteX8" fmla="*/ 1802921 w 1956085"/>
                <a:gd name="connsiteY8" fmla="*/ 706377 h 3057800"/>
                <a:gd name="connsiteX9" fmla="*/ 862641 w 1956085"/>
                <a:gd name="connsiteY9" fmla="*/ 689124 h 3057800"/>
                <a:gd name="connsiteX10" fmla="*/ 914400 w 1956085"/>
                <a:gd name="connsiteY10" fmla="*/ 361319 h 3057800"/>
                <a:gd name="connsiteX11" fmla="*/ 0 w 1956085"/>
                <a:gd name="connsiteY11" fmla="*/ 318188 h 3057800"/>
                <a:gd name="connsiteX0" fmla="*/ 0 w 1956085"/>
                <a:gd name="connsiteY0" fmla="*/ 297100 h 3036712"/>
                <a:gd name="connsiteX1" fmla="*/ 0 w 1956085"/>
                <a:gd name="connsiteY1" fmla="*/ 2091394 h 3036712"/>
                <a:gd name="connsiteX2" fmla="*/ 948905 w 1956085"/>
                <a:gd name="connsiteY2" fmla="*/ 2936783 h 3036712"/>
                <a:gd name="connsiteX3" fmla="*/ 1828800 w 1956085"/>
                <a:gd name="connsiteY3" fmla="*/ 2910904 h 3036712"/>
                <a:gd name="connsiteX4" fmla="*/ 1759788 w 1956085"/>
                <a:gd name="connsiteY4" fmla="*/ 1953372 h 3036712"/>
                <a:gd name="connsiteX5" fmla="*/ 931653 w 1956085"/>
                <a:gd name="connsiteY5" fmla="*/ 1953372 h 3036712"/>
                <a:gd name="connsiteX6" fmla="*/ 888521 w 1956085"/>
                <a:gd name="connsiteY6" fmla="*/ 1522051 h 3036712"/>
                <a:gd name="connsiteX7" fmla="*/ 1863305 w 1956085"/>
                <a:gd name="connsiteY7" fmla="*/ 1556556 h 3036712"/>
                <a:gd name="connsiteX8" fmla="*/ 1802921 w 1956085"/>
                <a:gd name="connsiteY8" fmla="*/ 685289 h 3036712"/>
                <a:gd name="connsiteX9" fmla="*/ 862641 w 1956085"/>
                <a:gd name="connsiteY9" fmla="*/ 668036 h 3036712"/>
                <a:gd name="connsiteX10" fmla="*/ 914400 w 1956085"/>
                <a:gd name="connsiteY10" fmla="*/ 340231 h 3036712"/>
                <a:gd name="connsiteX11" fmla="*/ 0 w 1956085"/>
                <a:gd name="connsiteY11" fmla="*/ 297100 h 3036712"/>
                <a:gd name="connsiteX0" fmla="*/ 0 w 1956085"/>
                <a:gd name="connsiteY0" fmla="*/ 274335 h 3013947"/>
                <a:gd name="connsiteX1" fmla="*/ 0 w 1956085"/>
                <a:gd name="connsiteY1" fmla="*/ 2068629 h 3013947"/>
                <a:gd name="connsiteX2" fmla="*/ 948905 w 1956085"/>
                <a:gd name="connsiteY2" fmla="*/ 2914018 h 3013947"/>
                <a:gd name="connsiteX3" fmla="*/ 1828800 w 1956085"/>
                <a:gd name="connsiteY3" fmla="*/ 2888139 h 3013947"/>
                <a:gd name="connsiteX4" fmla="*/ 1759788 w 1956085"/>
                <a:gd name="connsiteY4" fmla="*/ 1930607 h 3013947"/>
                <a:gd name="connsiteX5" fmla="*/ 931653 w 1956085"/>
                <a:gd name="connsiteY5" fmla="*/ 1930607 h 3013947"/>
                <a:gd name="connsiteX6" fmla="*/ 888521 w 1956085"/>
                <a:gd name="connsiteY6" fmla="*/ 1499286 h 3013947"/>
                <a:gd name="connsiteX7" fmla="*/ 1863305 w 1956085"/>
                <a:gd name="connsiteY7" fmla="*/ 1533791 h 3013947"/>
                <a:gd name="connsiteX8" fmla="*/ 1802921 w 1956085"/>
                <a:gd name="connsiteY8" fmla="*/ 662524 h 3013947"/>
                <a:gd name="connsiteX9" fmla="*/ 862641 w 1956085"/>
                <a:gd name="connsiteY9" fmla="*/ 645271 h 3013947"/>
                <a:gd name="connsiteX10" fmla="*/ 914400 w 1956085"/>
                <a:gd name="connsiteY10" fmla="*/ 317466 h 3013947"/>
                <a:gd name="connsiteX11" fmla="*/ 0 w 1956085"/>
                <a:gd name="connsiteY11" fmla="*/ 274335 h 3013947"/>
                <a:gd name="connsiteX0" fmla="*/ 0 w 1956085"/>
                <a:gd name="connsiteY0" fmla="*/ 274335 h 3013947"/>
                <a:gd name="connsiteX1" fmla="*/ 0 w 1956085"/>
                <a:gd name="connsiteY1" fmla="*/ 2068629 h 3013947"/>
                <a:gd name="connsiteX2" fmla="*/ 948905 w 1956085"/>
                <a:gd name="connsiteY2" fmla="*/ 2914018 h 3013947"/>
                <a:gd name="connsiteX3" fmla="*/ 1828800 w 1956085"/>
                <a:gd name="connsiteY3" fmla="*/ 2888139 h 3013947"/>
                <a:gd name="connsiteX4" fmla="*/ 1759788 w 1956085"/>
                <a:gd name="connsiteY4" fmla="*/ 1930607 h 3013947"/>
                <a:gd name="connsiteX5" fmla="*/ 931653 w 1956085"/>
                <a:gd name="connsiteY5" fmla="*/ 1930607 h 3013947"/>
                <a:gd name="connsiteX6" fmla="*/ 888521 w 1956085"/>
                <a:gd name="connsiteY6" fmla="*/ 1499286 h 3013947"/>
                <a:gd name="connsiteX7" fmla="*/ 1863305 w 1956085"/>
                <a:gd name="connsiteY7" fmla="*/ 1533791 h 3013947"/>
                <a:gd name="connsiteX8" fmla="*/ 1802921 w 1956085"/>
                <a:gd name="connsiteY8" fmla="*/ 662524 h 3013947"/>
                <a:gd name="connsiteX9" fmla="*/ 862641 w 1956085"/>
                <a:gd name="connsiteY9" fmla="*/ 645271 h 3013947"/>
                <a:gd name="connsiteX10" fmla="*/ 888521 w 1956085"/>
                <a:gd name="connsiteY10" fmla="*/ 317466 h 3013947"/>
                <a:gd name="connsiteX11" fmla="*/ 0 w 1956085"/>
                <a:gd name="connsiteY11" fmla="*/ 274335 h 3013947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7182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1956085"/>
                <a:gd name="connsiteY0" fmla="*/ 283632 h 3023244"/>
                <a:gd name="connsiteX1" fmla="*/ 0 w 1956085"/>
                <a:gd name="connsiteY1" fmla="*/ 2077926 h 3023244"/>
                <a:gd name="connsiteX2" fmla="*/ 948905 w 1956085"/>
                <a:gd name="connsiteY2" fmla="*/ 2923315 h 3023244"/>
                <a:gd name="connsiteX3" fmla="*/ 1828800 w 1956085"/>
                <a:gd name="connsiteY3" fmla="*/ 2897436 h 3023244"/>
                <a:gd name="connsiteX4" fmla="*/ 1759788 w 1956085"/>
                <a:gd name="connsiteY4" fmla="*/ 1939904 h 3023244"/>
                <a:gd name="connsiteX5" fmla="*/ 931653 w 1956085"/>
                <a:gd name="connsiteY5" fmla="*/ 1939904 h 3023244"/>
                <a:gd name="connsiteX6" fmla="*/ 888521 w 1956085"/>
                <a:gd name="connsiteY6" fmla="*/ 1508583 h 3023244"/>
                <a:gd name="connsiteX7" fmla="*/ 1863305 w 1956085"/>
                <a:gd name="connsiteY7" fmla="*/ 1543088 h 3023244"/>
                <a:gd name="connsiteX8" fmla="*/ 1802921 w 1956085"/>
                <a:gd name="connsiteY8" fmla="*/ 645941 h 3023244"/>
                <a:gd name="connsiteX9" fmla="*/ 862641 w 1956085"/>
                <a:gd name="connsiteY9" fmla="*/ 654568 h 3023244"/>
                <a:gd name="connsiteX10" fmla="*/ 888521 w 1956085"/>
                <a:gd name="connsiteY10" fmla="*/ 326763 h 3023244"/>
                <a:gd name="connsiteX11" fmla="*/ 0 w 1956085"/>
                <a:gd name="connsiteY11" fmla="*/ 283632 h 3023244"/>
                <a:gd name="connsiteX0" fmla="*/ 0 w 2208753"/>
                <a:gd name="connsiteY0" fmla="*/ 283632 h 3023244"/>
                <a:gd name="connsiteX1" fmla="*/ 0 w 2208753"/>
                <a:gd name="connsiteY1" fmla="*/ 2077926 h 3023244"/>
                <a:gd name="connsiteX2" fmla="*/ 948905 w 2208753"/>
                <a:gd name="connsiteY2" fmla="*/ 2923315 h 3023244"/>
                <a:gd name="connsiteX3" fmla="*/ 1828800 w 2208753"/>
                <a:gd name="connsiteY3" fmla="*/ 2897436 h 3023244"/>
                <a:gd name="connsiteX4" fmla="*/ 1759788 w 2208753"/>
                <a:gd name="connsiteY4" fmla="*/ 1939904 h 3023244"/>
                <a:gd name="connsiteX5" fmla="*/ 931653 w 2208753"/>
                <a:gd name="connsiteY5" fmla="*/ 1939904 h 3023244"/>
                <a:gd name="connsiteX6" fmla="*/ 888521 w 2208753"/>
                <a:gd name="connsiteY6" fmla="*/ 1508583 h 3023244"/>
                <a:gd name="connsiteX7" fmla="*/ 1863305 w 2208753"/>
                <a:gd name="connsiteY7" fmla="*/ 1543088 h 3023244"/>
                <a:gd name="connsiteX8" fmla="*/ 1802921 w 2208753"/>
                <a:gd name="connsiteY8" fmla="*/ 645941 h 3023244"/>
                <a:gd name="connsiteX9" fmla="*/ 862641 w 2208753"/>
                <a:gd name="connsiteY9" fmla="*/ 654568 h 3023244"/>
                <a:gd name="connsiteX10" fmla="*/ 888521 w 2208753"/>
                <a:gd name="connsiteY10" fmla="*/ 326763 h 3023244"/>
                <a:gd name="connsiteX11" fmla="*/ 0 w 2208753"/>
                <a:gd name="connsiteY11" fmla="*/ 283632 h 3023244"/>
                <a:gd name="connsiteX0" fmla="*/ 0 w 2230864"/>
                <a:gd name="connsiteY0" fmla="*/ 283632 h 3023244"/>
                <a:gd name="connsiteX1" fmla="*/ 0 w 2230864"/>
                <a:gd name="connsiteY1" fmla="*/ 2077926 h 3023244"/>
                <a:gd name="connsiteX2" fmla="*/ 948905 w 2230864"/>
                <a:gd name="connsiteY2" fmla="*/ 2923315 h 3023244"/>
                <a:gd name="connsiteX3" fmla="*/ 1828800 w 2230864"/>
                <a:gd name="connsiteY3" fmla="*/ 2897436 h 3023244"/>
                <a:gd name="connsiteX4" fmla="*/ 1759788 w 2230864"/>
                <a:gd name="connsiteY4" fmla="*/ 1939904 h 3023244"/>
                <a:gd name="connsiteX5" fmla="*/ 931653 w 2230864"/>
                <a:gd name="connsiteY5" fmla="*/ 1939904 h 3023244"/>
                <a:gd name="connsiteX6" fmla="*/ 888521 w 2230864"/>
                <a:gd name="connsiteY6" fmla="*/ 1508583 h 3023244"/>
                <a:gd name="connsiteX7" fmla="*/ 1863305 w 2230864"/>
                <a:gd name="connsiteY7" fmla="*/ 1543088 h 3023244"/>
                <a:gd name="connsiteX8" fmla="*/ 1802921 w 2230864"/>
                <a:gd name="connsiteY8" fmla="*/ 645941 h 3023244"/>
                <a:gd name="connsiteX9" fmla="*/ 862641 w 2230864"/>
                <a:gd name="connsiteY9" fmla="*/ 654568 h 3023244"/>
                <a:gd name="connsiteX10" fmla="*/ 888521 w 2230864"/>
                <a:gd name="connsiteY10" fmla="*/ 326763 h 3023244"/>
                <a:gd name="connsiteX11" fmla="*/ 0 w 2230864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08583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931653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3244"/>
                <a:gd name="connsiteX1" fmla="*/ 0 w 2188058"/>
                <a:gd name="connsiteY1" fmla="*/ 2077926 h 3023244"/>
                <a:gd name="connsiteX2" fmla="*/ 948905 w 2188058"/>
                <a:gd name="connsiteY2" fmla="*/ 2923315 h 3023244"/>
                <a:gd name="connsiteX3" fmla="*/ 1828800 w 2188058"/>
                <a:gd name="connsiteY3" fmla="*/ 2897436 h 3023244"/>
                <a:gd name="connsiteX4" fmla="*/ 1759788 w 2188058"/>
                <a:gd name="connsiteY4" fmla="*/ 1939904 h 3023244"/>
                <a:gd name="connsiteX5" fmla="*/ 871268 w 2188058"/>
                <a:gd name="connsiteY5" fmla="*/ 1939904 h 3023244"/>
                <a:gd name="connsiteX6" fmla="*/ 888521 w 2188058"/>
                <a:gd name="connsiteY6" fmla="*/ 1534462 h 3023244"/>
                <a:gd name="connsiteX7" fmla="*/ 1863305 w 2188058"/>
                <a:gd name="connsiteY7" fmla="*/ 1543088 h 3023244"/>
                <a:gd name="connsiteX8" fmla="*/ 1802921 w 2188058"/>
                <a:gd name="connsiteY8" fmla="*/ 645941 h 3023244"/>
                <a:gd name="connsiteX9" fmla="*/ 862641 w 2188058"/>
                <a:gd name="connsiteY9" fmla="*/ 654568 h 3023244"/>
                <a:gd name="connsiteX10" fmla="*/ 888521 w 2188058"/>
                <a:gd name="connsiteY10" fmla="*/ 326763 h 3023244"/>
                <a:gd name="connsiteX11" fmla="*/ 0 w 2188058"/>
                <a:gd name="connsiteY11" fmla="*/ 283632 h 3023244"/>
                <a:gd name="connsiteX0" fmla="*/ 0 w 2188058"/>
                <a:gd name="connsiteY0" fmla="*/ 283632 h 3021702"/>
                <a:gd name="connsiteX1" fmla="*/ 0 w 2188058"/>
                <a:gd name="connsiteY1" fmla="*/ 2077926 h 3021702"/>
                <a:gd name="connsiteX2" fmla="*/ 948905 w 2188058"/>
                <a:gd name="connsiteY2" fmla="*/ 2923315 h 3021702"/>
                <a:gd name="connsiteX3" fmla="*/ 1828800 w 2188058"/>
                <a:gd name="connsiteY3" fmla="*/ 2897436 h 3021702"/>
                <a:gd name="connsiteX4" fmla="*/ 1751162 w 2188058"/>
                <a:gd name="connsiteY4" fmla="*/ 1965783 h 3021702"/>
                <a:gd name="connsiteX5" fmla="*/ 871268 w 2188058"/>
                <a:gd name="connsiteY5" fmla="*/ 1939904 h 3021702"/>
                <a:gd name="connsiteX6" fmla="*/ 888521 w 2188058"/>
                <a:gd name="connsiteY6" fmla="*/ 1534462 h 3021702"/>
                <a:gd name="connsiteX7" fmla="*/ 1863305 w 2188058"/>
                <a:gd name="connsiteY7" fmla="*/ 1543088 h 3021702"/>
                <a:gd name="connsiteX8" fmla="*/ 1802921 w 2188058"/>
                <a:gd name="connsiteY8" fmla="*/ 645941 h 3021702"/>
                <a:gd name="connsiteX9" fmla="*/ 862641 w 2188058"/>
                <a:gd name="connsiteY9" fmla="*/ 654568 h 3021702"/>
                <a:gd name="connsiteX10" fmla="*/ 888521 w 2188058"/>
                <a:gd name="connsiteY10" fmla="*/ 326763 h 3021702"/>
                <a:gd name="connsiteX11" fmla="*/ 0 w 2188058"/>
                <a:gd name="connsiteY11" fmla="*/ 283632 h 3021702"/>
                <a:gd name="connsiteX0" fmla="*/ 0 w 2188058"/>
                <a:gd name="connsiteY0" fmla="*/ 283632 h 3021702"/>
                <a:gd name="connsiteX1" fmla="*/ 0 w 2188058"/>
                <a:gd name="connsiteY1" fmla="*/ 2077926 h 3021702"/>
                <a:gd name="connsiteX2" fmla="*/ 948905 w 2188058"/>
                <a:gd name="connsiteY2" fmla="*/ 2923315 h 3021702"/>
                <a:gd name="connsiteX3" fmla="*/ 1828800 w 2188058"/>
                <a:gd name="connsiteY3" fmla="*/ 2897436 h 3021702"/>
                <a:gd name="connsiteX4" fmla="*/ 1751162 w 2188058"/>
                <a:gd name="connsiteY4" fmla="*/ 1965783 h 3021702"/>
                <a:gd name="connsiteX5" fmla="*/ 871268 w 2188058"/>
                <a:gd name="connsiteY5" fmla="*/ 1939904 h 3021702"/>
                <a:gd name="connsiteX6" fmla="*/ 888521 w 2188058"/>
                <a:gd name="connsiteY6" fmla="*/ 1534462 h 3021702"/>
                <a:gd name="connsiteX7" fmla="*/ 1863305 w 2188058"/>
                <a:gd name="connsiteY7" fmla="*/ 1543088 h 3021702"/>
                <a:gd name="connsiteX8" fmla="*/ 1802921 w 2188058"/>
                <a:gd name="connsiteY8" fmla="*/ 645941 h 3021702"/>
                <a:gd name="connsiteX9" fmla="*/ 862641 w 2188058"/>
                <a:gd name="connsiteY9" fmla="*/ 654568 h 3021702"/>
                <a:gd name="connsiteX10" fmla="*/ 888521 w 2188058"/>
                <a:gd name="connsiteY10" fmla="*/ 326763 h 3021702"/>
                <a:gd name="connsiteX11" fmla="*/ 0 w 2188058"/>
                <a:gd name="connsiteY11" fmla="*/ 283632 h 3021702"/>
                <a:gd name="connsiteX0" fmla="*/ 0 w 2188058"/>
                <a:gd name="connsiteY0" fmla="*/ 283632 h 3022729"/>
                <a:gd name="connsiteX1" fmla="*/ 0 w 2188058"/>
                <a:gd name="connsiteY1" fmla="*/ 2077926 h 3022729"/>
                <a:gd name="connsiteX2" fmla="*/ 948905 w 2188058"/>
                <a:gd name="connsiteY2" fmla="*/ 2923315 h 3022729"/>
                <a:gd name="connsiteX3" fmla="*/ 1828800 w 2188058"/>
                <a:gd name="connsiteY3" fmla="*/ 2897436 h 3022729"/>
                <a:gd name="connsiteX4" fmla="*/ 1742536 w 2188058"/>
                <a:gd name="connsiteY4" fmla="*/ 1948530 h 3022729"/>
                <a:gd name="connsiteX5" fmla="*/ 871268 w 2188058"/>
                <a:gd name="connsiteY5" fmla="*/ 1939904 h 3022729"/>
                <a:gd name="connsiteX6" fmla="*/ 888521 w 2188058"/>
                <a:gd name="connsiteY6" fmla="*/ 1534462 h 3022729"/>
                <a:gd name="connsiteX7" fmla="*/ 1863305 w 2188058"/>
                <a:gd name="connsiteY7" fmla="*/ 1543088 h 3022729"/>
                <a:gd name="connsiteX8" fmla="*/ 1802921 w 2188058"/>
                <a:gd name="connsiteY8" fmla="*/ 645941 h 3022729"/>
                <a:gd name="connsiteX9" fmla="*/ 862641 w 2188058"/>
                <a:gd name="connsiteY9" fmla="*/ 654568 h 3022729"/>
                <a:gd name="connsiteX10" fmla="*/ 888521 w 2188058"/>
                <a:gd name="connsiteY10" fmla="*/ 326763 h 3022729"/>
                <a:gd name="connsiteX11" fmla="*/ 0 w 2188058"/>
                <a:gd name="connsiteY11" fmla="*/ 283632 h 3022729"/>
                <a:gd name="connsiteX0" fmla="*/ 0 w 2188058"/>
                <a:gd name="connsiteY0" fmla="*/ 283632 h 3022729"/>
                <a:gd name="connsiteX1" fmla="*/ 0 w 2188058"/>
                <a:gd name="connsiteY1" fmla="*/ 2077926 h 3022729"/>
                <a:gd name="connsiteX2" fmla="*/ 948905 w 2188058"/>
                <a:gd name="connsiteY2" fmla="*/ 2923315 h 3022729"/>
                <a:gd name="connsiteX3" fmla="*/ 1828800 w 2188058"/>
                <a:gd name="connsiteY3" fmla="*/ 2897436 h 3022729"/>
                <a:gd name="connsiteX4" fmla="*/ 1742536 w 2188058"/>
                <a:gd name="connsiteY4" fmla="*/ 1948530 h 3022729"/>
                <a:gd name="connsiteX5" fmla="*/ 871268 w 2188058"/>
                <a:gd name="connsiteY5" fmla="*/ 1939904 h 3022729"/>
                <a:gd name="connsiteX6" fmla="*/ 888521 w 2188058"/>
                <a:gd name="connsiteY6" fmla="*/ 1534462 h 3022729"/>
                <a:gd name="connsiteX7" fmla="*/ 1863305 w 2188058"/>
                <a:gd name="connsiteY7" fmla="*/ 1543088 h 3022729"/>
                <a:gd name="connsiteX8" fmla="*/ 1802921 w 2188058"/>
                <a:gd name="connsiteY8" fmla="*/ 645941 h 3022729"/>
                <a:gd name="connsiteX9" fmla="*/ 862641 w 2188058"/>
                <a:gd name="connsiteY9" fmla="*/ 654568 h 3022729"/>
                <a:gd name="connsiteX10" fmla="*/ 888521 w 2188058"/>
                <a:gd name="connsiteY10" fmla="*/ 326763 h 3022729"/>
                <a:gd name="connsiteX11" fmla="*/ 0 w 2188058"/>
                <a:gd name="connsiteY11" fmla="*/ 283632 h 3022729"/>
                <a:gd name="connsiteX0" fmla="*/ 0 w 2242587"/>
                <a:gd name="connsiteY0" fmla="*/ 283632 h 3022729"/>
                <a:gd name="connsiteX1" fmla="*/ 0 w 2242587"/>
                <a:gd name="connsiteY1" fmla="*/ 2077926 h 3022729"/>
                <a:gd name="connsiteX2" fmla="*/ 948905 w 2242587"/>
                <a:gd name="connsiteY2" fmla="*/ 2923315 h 3022729"/>
                <a:gd name="connsiteX3" fmla="*/ 1828800 w 2242587"/>
                <a:gd name="connsiteY3" fmla="*/ 2897436 h 3022729"/>
                <a:gd name="connsiteX4" fmla="*/ 1742536 w 2242587"/>
                <a:gd name="connsiteY4" fmla="*/ 1948530 h 3022729"/>
                <a:gd name="connsiteX5" fmla="*/ 871268 w 2242587"/>
                <a:gd name="connsiteY5" fmla="*/ 1939904 h 3022729"/>
                <a:gd name="connsiteX6" fmla="*/ 888521 w 2242587"/>
                <a:gd name="connsiteY6" fmla="*/ 1534462 h 3022729"/>
                <a:gd name="connsiteX7" fmla="*/ 1863305 w 2242587"/>
                <a:gd name="connsiteY7" fmla="*/ 1543088 h 3022729"/>
                <a:gd name="connsiteX8" fmla="*/ 1802921 w 2242587"/>
                <a:gd name="connsiteY8" fmla="*/ 645941 h 3022729"/>
                <a:gd name="connsiteX9" fmla="*/ 862641 w 2242587"/>
                <a:gd name="connsiteY9" fmla="*/ 654568 h 3022729"/>
                <a:gd name="connsiteX10" fmla="*/ 888521 w 2242587"/>
                <a:gd name="connsiteY10" fmla="*/ 326763 h 3022729"/>
                <a:gd name="connsiteX11" fmla="*/ 0 w 2242587"/>
                <a:gd name="connsiteY11" fmla="*/ 283632 h 3022729"/>
                <a:gd name="connsiteX0" fmla="*/ 0 w 2220241"/>
                <a:gd name="connsiteY0" fmla="*/ 283632 h 3022729"/>
                <a:gd name="connsiteX1" fmla="*/ 0 w 2220241"/>
                <a:gd name="connsiteY1" fmla="*/ 2077926 h 3022729"/>
                <a:gd name="connsiteX2" fmla="*/ 948905 w 2220241"/>
                <a:gd name="connsiteY2" fmla="*/ 2923315 h 3022729"/>
                <a:gd name="connsiteX3" fmla="*/ 1828800 w 2220241"/>
                <a:gd name="connsiteY3" fmla="*/ 2897436 h 3022729"/>
                <a:gd name="connsiteX4" fmla="*/ 1742536 w 2220241"/>
                <a:gd name="connsiteY4" fmla="*/ 1948530 h 3022729"/>
                <a:gd name="connsiteX5" fmla="*/ 871268 w 2220241"/>
                <a:gd name="connsiteY5" fmla="*/ 1939904 h 3022729"/>
                <a:gd name="connsiteX6" fmla="*/ 888521 w 2220241"/>
                <a:gd name="connsiteY6" fmla="*/ 1534462 h 3022729"/>
                <a:gd name="connsiteX7" fmla="*/ 1863305 w 2220241"/>
                <a:gd name="connsiteY7" fmla="*/ 1543088 h 3022729"/>
                <a:gd name="connsiteX8" fmla="*/ 1802921 w 2220241"/>
                <a:gd name="connsiteY8" fmla="*/ 645941 h 3022729"/>
                <a:gd name="connsiteX9" fmla="*/ 862641 w 2220241"/>
                <a:gd name="connsiteY9" fmla="*/ 654568 h 3022729"/>
                <a:gd name="connsiteX10" fmla="*/ 888521 w 2220241"/>
                <a:gd name="connsiteY10" fmla="*/ 326763 h 3022729"/>
                <a:gd name="connsiteX11" fmla="*/ 0 w 2220241"/>
                <a:gd name="connsiteY11" fmla="*/ 283632 h 3022729"/>
                <a:gd name="connsiteX0" fmla="*/ 0 w 2222830"/>
                <a:gd name="connsiteY0" fmla="*/ 283632 h 3001767"/>
                <a:gd name="connsiteX1" fmla="*/ 0 w 2222830"/>
                <a:gd name="connsiteY1" fmla="*/ 2077926 h 3001767"/>
                <a:gd name="connsiteX2" fmla="*/ 948905 w 2222830"/>
                <a:gd name="connsiteY2" fmla="*/ 2923315 h 3001767"/>
                <a:gd name="connsiteX3" fmla="*/ 1837426 w 2222830"/>
                <a:gd name="connsiteY3" fmla="*/ 2854304 h 3001767"/>
                <a:gd name="connsiteX4" fmla="*/ 1742536 w 2222830"/>
                <a:gd name="connsiteY4" fmla="*/ 1948530 h 3001767"/>
                <a:gd name="connsiteX5" fmla="*/ 871268 w 2222830"/>
                <a:gd name="connsiteY5" fmla="*/ 1939904 h 3001767"/>
                <a:gd name="connsiteX6" fmla="*/ 888521 w 2222830"/>
                <a:gd name="connsiteY6" fmla="*/ 1534462 h 3001767"/>
                <a:gd name="connsiteX7" fmla="*/ 1863305 w 2222830"/>
                <a:gd name="connsiteY7" fmla="*/ 1543088 h 3001767"/>
                <a:gd name="connsiteX8" fmla="*/ 1802921 w 2222830"/>
                <a:gd name="connsiteY8" fmla="*/ 645941 h 3001767"/>
                <a:gd name="connsiteX9" fmla="*/ 862641 w 2222830"/>
                <a:gd name="connsiteY9" fmla="*/ 654568 h 3001767"/>
                <a:gd name="connsiteX10" fmla="*/ 888521 w 2222830"/>
                <a:gd name="connsiteY10" fmla="*/ 326763 h 3001767"/>
                <a:gd name="connsiteX11" fmla="*/ 0 w 2222830"/>
                <a:gd name="connsiteY11" fmla="*/ 283632 h 3001767"/>
                <a:gd name="connsiteX0" fmla="*/ 0 w 2222830"/>
                <a:gd name="connsiteY0" fmla="*/ 283632 h 2981420"/>
                <a:gd name="connsiteX1" fmla="*/ 0 w 2222830"/>
                <a:gd name="connsiteY1" fmla="*/ 2077926 h 2981420"/>
                <a:gd name="connsiteX2" fmla="*/ 948905 w 2222830"/>
                <a:gd name="connsiteY2" fmla="*/ 2888810 h 2981420"/>
                <a:gd name="connsiteX3" fmla="*/ 1837426 w 2222830"/>
                <a:gd name="connsiteY3" fmla="*/ 2854304 h 2981420"/>
                <a:gd name="connsiteX4" fmla="*/ 1742536 w 2222830"/>
                <a:gd name="connsiteY4" fmla="*/ 1948530 h 2981420"/>
                <a:gd name="connsiteX5" fmla="*/ 871268 w 2222830"/>
                <a:gd name="connsiteY5" fmla="*/ 1939904 h 2981420"/>
                <a:gd name="connsiteX6" fmla="*/ 888521 w 2222830"/>
                <a:gd name="connsiteY6" fmla="*/ 1534462 h 2981420"/>
                <a:gd name="connsiteX7" fmla="*/ 1863305 w 2222830"/>
                <a:gd name="connsiteY7" fmla="*/ 1543088 h 2981420"/>
                <a:gd name="connsiteX8" fmla="*/ 1802921 w 2222830"/>
                <a:gd name="connsiteY8" fmla="*/ 645941 h 2981420"/>
                <a:gd name="connsiteX9" fmla="*/ 862641 w 2222830"/>
                <a:gd name="connsiteY9" fmla="*/ 654568 h 2981420"/>
                <a:gd name="connsiteX10" fmla="*/ 888521 w 2222830"/>
                <a:gd name="connsiteY10" fmla="*/ 326763 h 2981420"/>
                <a:gd name="connsiteX11" fmla="*/ 0 w 2222830"/>
                <a:gd name="connsiteY11" fmla="*/ 283632 h 2981420"/>
                <a:gd name="connsiteX0" fmla="*/ 0 w 2222830"/>
                <a:gd name="connsiteY0" fmla="*/ 283632 h 2927862"/>
                <a:gd name="connsiteX1" fmla="*/ 0 w 2222830"/>
                <a:gd name="connsiteY1" fmla="*/ 2077926 h 2927862"/>
                <a:gd name="connsiteX2" fmla="*/ 948905 w 2222830"/>
                <a:gd name="connsiteY2" fmla="*/ 2888810 h 2927862"/>
                <a:gd name="connsiteX3" fmla="*/ 1837426 w 2222830"/>
                <a:gd name="connsiteY3" fmla="*/ 2854304 h 2927862"/>
                <a:gd name="connsiteX4" fmla="*/ 1742536 w 2222830"/>
                <a:gd name="connsiteY4" fmla="*/ 1948530 h 2927862"/>
                <a:gd name="connsiteX5" fmla="*/ 871268 w 2222830"/>
                <a:gd name="connsiteY5" fmla="*/ 1939904 h 2927862"/>
                <a:gd name="connsiteX6" fmla="*/ 888521 w 2222830"/>
                <a:gd name="connsiteY6" fmla="*/ 1534462 h 2927862"/>
                <a:gd name="connsiteX7" fmla="*/ 1863305 w 2222830"/>
                <a:gd name="connsiteY7" fmla="*/ 1543088 h 2927862"/>
                <a:gd name="connsiteX8" fmla="*/ 1802921 w 2222830"/>
                <a:gd name="connsiteY8" fmla="*/ 645941 h 2927862"/>
                <a:gd name="connsiteX9" fmla="*/ 862641 w 2222830"/>
                <a:gd name="connsiteY9" fmla="*/ 654568 h 2927862"/>
                <a:gd name="connsiteX10" fmla="*/ 888521 w 2222830"/>
                <a:gd name="connsiteY10" fmla="*/ 326763 h 2927862"/>
                <a:gd name="connsiteX11" fmla="*/ 0 w 2222830"/>
                <a:gd name="connsiteY11" fmla="*/ 283632 h 2927862"/>
                <a:gd name="connsiteX0" fmla="*/ 0 w 2222830"/>
                <a:gd name="connsiteY0" fmla="*/ 283632 h 2888810"/>
                <a:gd name="connsiteX1" fmla="*/ 0 w 2222830"/>
                <a:gd name="connsiteY1" fmla="*/ 2077926 h 2888810"/>
                <a:gd name="connsiteX2" fmla="*/ 948905 w 2222830"/>
                <a:gd name="connsiteY2" fmla="*/ 2888810 h 2888810"/>
                <a:gd name="connsiteX3" fmla="*/ 1837426 w 2222830"/>
                <a:gd name="connsiteY3" fmla="*/ 2854304 h 2888810"/>
                <a:gd name="connsiteX4" fmla="*/ 1742536 w 2222830"/>
                <a:gd name="connsiteY4" fmla="*/ 1948530 h 2888810"/>
                <a:gd name="connsiteX5" fmla="*/ 871268 w 2222830"/>
                <a:gd name="connsiteY5" fmla="*/ 1939904 h 2888810"/>
                <a:gd name="connsiteX6" fmla="*/ 888521 w 2222830"/>
                <a:gd name="connsiteY6" fmla="*/ 1534462 h 2888810"/>
                <a:gd name="connsiteX7" fmla="*/ 1863305 w 2222830"/>
                <a:gd name="connsiteY7" fmla="*/ 1543088 h 2888810"/>
                <a:gd name="connsiteX8" fmla="*/ 1802921 w 2222830"/>
                <a:gd name="connsiteY8" fmla="*/ 645941 h 2888810"/>
                <a:gd name="connsiteX9" fmla="*/ 862641 w 2222830"/>
                <a:gd name="connsiteY9" fmla="*/ 654568 h 2888810"/>
                <a:gd name="connsiteX10" fmla="*/ 888521 w 2222830"/>
                <a:gd name="connsiteY10" fmla="*/ 326763 h 2888810"/>
                <a:gd name="connsiteX11" fmla="*/ 0 w 2222830"/>
                <a:gd name="connsiteY11" fmla="*/ 283632 h 2888810"/>
                <a:gd name="connsiteX0" fmla="*/ 0 w 2222830"/>
                <a:gd name="connsiteY0" fmla="*/ 283632 h 2862931"/>
                <a:gd name="connsiteX1" fmla="*/ 0 w 2222830"/>
                <a:gd name="connsiteY1" fmla="*/ 2077926 h 2862931"/>
                <a:gd name="connsiteX2" fmla="*/ 957532 w 2222830"/>
                <a:gd name="connsiteY2" fmla="*/ 2862931 h 2862931"/>
                <a:gd name="connsiteX3" fmla="*/ 1837426 w 2222830"/>
                <a:gd name="connsiteY3" fmla="*/ 2854304 h 2862931"/>
                <a:gd name="connsiteX4" fmla="*/ 1742536 w 2222830"/>
                <a:gd name="connsiteY4" fmla="*/ 1948530 h 2862931"/>
                <a:gd name="connsiteX5" fmla="*/ 871268 w 2222830"/>
                <a:gd name="connsiteY5" fmla="*/ 1939904 h 2862931"/>
                <a:gd name="connsiteX6" fmla="*/ 888521 w 2222830"/>
                <a:gd name="connsiteY6" fmla="*/ 1534462 h 2862931"/>
                <a:gd name="connsiteX7" fmla="*/ 1863305 w 2222830"/>
                <a:gd name="connsiteY7" fmla="*/ 1543088 h 2862931"/>
                <a:gd name="connsiteX8" fmla="*/ 1802921 w 2222830"/>
                <a:gd name="connsiteY8" fmla="*/ 645941 h 2862931"/>
                <a:gd name="connsiteX9" fmla="*/ 862641 w 2222830"/>
                <a:gd name="connsiteY9" fmla="*/ 654568 h 2862931"/>
                <a:gd name="connsiteX10" fmla="*/ 888521 w 2222830"/>
                <a:gd name="connsiteY10" fmla="*/ 326763 h 2862931"/>
                <a:gd name="connsiteX11" fmla="*/ 0 w 2222830"/>
                <a:gd name="connsiteY11" fmla="*/ 283632 h 2862931"/>
                <a:gd name="connsiteX0" fmla="*/ 0 w 2222830"/>
                <a:gd name="connsiteY0" fmla="*/ 283632 h 2862931"/>
                <a:gd name="connsiteX1" fmla="*/ 0 w 2222830"/>
                <a:gd name="connsiteY1" fmla="*/ 2077926 h 2862931"/>
                <a:gd name="connsiteX2" fmla="*/ 957532 w 2222830"/>
                <a:gd name="connsiteY2" fmla="*/ 2862931 h 2862931"/>
                <a:gd name="connsiteX3" fmla="*/ 1837426 w 2222830"/>
                <a:gd name="connsiteY3" fmla="*/ 2854304 h 2862931"/>
                <a:gd name="connsiteX4" fmla="*/ 1742536 w 2222830"/>
                <a:gd name="connsiteY4" fmla="*/ 1948530 h 2862931"/>
                <a:gd name="connsiteX5" fmla="*/ 871268 w 2222830"/>
                <a:gd name="connsiteY5" fmla="*/ 1939904 h 2862931"/>
                <a:gd name="connsiteX6" fmla="*/ 888521 w 2222830"/>
                <a:gd name="connsiteY6" fmla="*/ 1534462 h 2862931"/>
                <a:gd name="connsiteX7" fmla="*/ 1863305 w 2222830"/>
                <a:gd name="connsiteY7" fmla="*/ 1543088 h 2862931"/>
                <a:gd name="connsiteX8" fmla="*/ 1802921 w 2222830"/>
                <a:gd name="connsiteY8" fmla="*/ 645941 h 2862931"/>
                <a:gd name="connsiteX9" fmla="*/ 862641 w 2222830"/>
                <a:gd name="connsiteY9" fmla="*/ 654568 h 2862931"/>
                <a:gd name="connsiteX10" fmla="*/ 888521 w 2222830"/>
                <a:gd name="connsiteY10" fmla="*/ 326763 h 2862931"/>
                <a:gd name="connsiteX11" fmla="*/ 0 w 2222830"/>
                <a:gd name="connsiteY11" fmla="*/ 283632 h 28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22830" h="2862931">
                  <a:moveTo>
                    <a:pt x="0" y="283632"/>
                  </a:moveTo>
                  <a:cubicBezTo>
                    <a:pt x="2876" y="2195821"/>
                    <a:pt x="5751" y="145609"/>
                    <a:pt x="0" y="2077926"/>
                  </a:cubicBezTo>
                  <a:cubicBezTo>
                    <a:pt x="158151" y="2517873"/>
                    <a:pt x="366623" y="2828425"/>
                    <a:pt x="957532" y="2862931"/>
                  </a:cubicBezTo>
                  <a:cubicBezTo>
                    <a:pt x="2135038" y="2828425"/>
                    <a:pt x="756248" y="2835613"/>
                    <a:pt x="1837426" y="2854304"/>
                  </a:cubicBezTo>
                  <a:cubicBezTo>
                    <a:pt x="1883434" y="2821236"/>
                    <a:pt x="2738887" y="2349659"/>
                    <a:pt x="1742536" y="1948530"/>
                  </a:cubicBezTo>
                  <a:cubicBezTo>
                    <a:pt x="685800" y="1935591"/>
                    <a:pt x="1948132" y="1955719"/>
                    <a:pt x="871268" y="1939904"/>
                  </a:cubicBezTo>
                  <a:cubicBezTo>
                    <a:pt x="881332" y="1484142"/>
                    <a:pt x="871269" y="2100930"/>
                    <a:pt x="888521" y="1534462"/>
                  </a:cubicBezTo>
                  <a:cubicBezTo>
                    <a:pt x="2122098" y="1520085"/>
                    <a:pt x="925901" y="1522960"/>
                    <a:pt x="1863305" y="1543088"/>
                  </a:cubicBezTo>
                  <a:cubicBezTo>
                    <a:pt x="1938068" y="1494204"/>
                    <a:pt x="2590800" y="1035568"/>
                    <a:pt x="1802921" y="645941"/>
                  </a:cubicBezTo>
                  <a:cubicBezTo>
                    <a:pt x="738996" y="653130"/>
                    <a:pt x="1959634" y="641628"/>
                    <a:pt x="862641" y="654568"/>
                  </a:cubicBezTo>
                  <a:cubicBezTo>
                    <a:pt x="895710" y="193054"/>
                    <a:pt x="868392" y="854413"/>
                    <a:pt x="888521" y="326763"/>
                  </a:cubicBezTo>
                  <a:cubicBezTo>
                    <a:pt x="865519" y="101038"/>
                    <a:pt x="385314" y="-256955"/>
                    <a:pt x="0" y="28363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0332286" y="14354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2952912" y="1717096"/>
            <a:ext cx="792000" cy="792000"/>
            <a:chOff x="10292624" y="1492352"/>
            <a:chExt cx="792000" cy="792000"/>
          </a:xfrm>
        </p:grpSpPr>
        <p:sp>
          <p:nvSpPr>
            <p:cNvPr id="128" name="Rectangle 17"/>
            <p:cNvSpPr/>
            <p:nvPr/>
          </p:nvSpPr>
          <p:spPr>
            <a:xfrm>
              <a:off x="10486490" y="1610028"/>
              <a:ext cx="404268" cy="556649"/>
            </a:xfrm>
            <a:custGeom>
              <a:avLst/>
              <a:gdLst>
                <a:gd name="connsiteX0" fmla="*/ 0 w 3858602"/>
                <a:gd name="connsiteY0" fmla="*/ 0 h 5299869"/>
                <a:gd name="connsiteX1" fmla="*/ 3858602 w 3858602"/>
                <a:gd name="connsiteY1" fmla="*/ 0 h 5299869"/>
                <a:gd name="connsiteX2" fmla="*/ 3858602 w 3858602"/>
                <a:gd name="connsiteY2" fmla="*/ 5299869 h 5299869"/>
                <a:gd name="connsiteX3" fmla="*/ 0 w 3858602"/>
                <a:gd name="connsiteY3" fmla="*/ 5299869 h 5299869"/>
                <a:gd name="connsiteX4" fmla="*/ 0 w 3858602"/>
                <a:gd name="connsiteY4" fmla="*/ 0 h 5299869"/>
                <a:gd name="connsiteX0" fmla="*/ 1124768 w 3858602"/>
                <a:gd name="connsiteY0" fmla="*/ 168295 h 5299869"/>
                <a:gd name="connsiteX1" fmla="*/ 3858602 w 3858602"/>
                <a:gd name="connsiteY1" fmla="*/ 0 h 5299869"/>
                <a:gd name="connsiteX2" fmla="*/ 3858602 w 3858602"/>
                <a:gd name="connsiteY2" fmla="*/ 5299869 h 5299869"/>
                <a:gd name="connsiteX3" fmla="*/ 0 w 3858602"/>
                <a:gd name="connsiteY3" fmla="*/ 5299869 h 5299869"/>
                <a:gd name="connsiteX4" fmla="*/ 1124768 w 3858602"/>
                <a:gd name="connsiteY4" fmla="*/ 168295 h 5299869"/>
                <a:gd name="connsiteX0" fmla="*/ 1124768 w 3858602"/>
                <a:gd name="connsiteY0" fmla="*/ 168295 h 5299869"/>
                <a:gd name="connsiteX1" fmla="*/ 1823962 w 3858602"/>
                <a:gd name="connsiteY1" fmla="*/ 141176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2377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237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5182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5182 w 3858602"/>
                <a:gd name="connsiteY1" fmla="*/ 160810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3858602 w 3858602"/>
                <a:gd name="connsiteY2" fmla="*/ 0 h 5299869"/>
                <a:gd name="connsiteX3" fmla="*/ 3858602 w 3858602"/>
                <a:gd name="connsiteY3" fmla="*/ 5299869 h 5299869"/>
                <a:gd name="connsiteX4" fmla="*/ 0 w 3858602"/>
                <a:gd name="connsiteY4" fmla="*/ 5299869 h 5299869"/>
                <a:gd name="connsiteX5" fmla="*/ 1124768 w 3858602"/>
                <a:gd name="connsiteY5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1124768 w 3858602"/>
                <a:gd name="connsiteY6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37611 w 3858602"/>
                <a:gd name="connsiteY6" fmla="*/ 1543630 h 5299869"/>
                <a:gd name="connsiteX7" fmla="*/ 1124768 w 3858602"/>
                <a:gd name="connsiteY7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20782 w 3858602"/>
                <a:gd name="connsiteY6" fmla="*/ 1543630 h 5299869"/>
                <a:gd name="connsiteX7" fmla="*/ 1124768 w 3858602"/>
                <a:gd name="connsiteY7" fmla="*/ 168295 h 5299869"/>
                <a:gd name="connsiteX0" fmla="*/ 1124768 w 3858602"/>
                <a:gd name="connsiteY0" fmla="*/ 168295 h 5299869"/>
                <a:gd name="connsiteX1" fmla="*/ 1837987 w 3858602"/>
                <a:gd name="connsiteY1" fmla="*/ 169225 h 5299869"/>
                <a:gd name="connsiteX2" fmla="*/ 1638838 w 3858602"/>
                <a:gd name="connsiteY2" fmla="*/ 1560459 h 5299869"/>
                <a:gd name="connsiteX3" fmla="*/ 3858602 w 3858602"/>
                <a:gd name="connsiteY3" fmla="*/ 0 h 5299869"/>
                <a:gd name="connsiteX4" fmla="*/ 3858602 w 3858602"/>
                <a:gd name="connsiteY4" fmla="*/ 5299869 h 5299869"/>
                <a:gd name="connsiteX5" fmla="*/ 0 w 3858602"/>
                <a:gd name="connsiteY5" fmla="*/ 5299869 h 5299869"/>
                <a:gd name="connsiteX6" fmla="*/ 906757 w 3858602"/>
                <a:gd name="connsiteY6" fmla="*/ 1535215 h 5299869"/>
                <a:gd name="connsiteX7" fmla="*/ 1124768 w 3858602"/>
                <a:gd name="connsiteY7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28207 w 4062041"/>
                <a:gd name="connsiteY0" fmla="*/ 168295 h 5299869"/>
                <a:gd name="connsiteX1" fmla="*/ 2041426 w 4062041"/>
                <a:gd name="connsiteY1" fmla="*/ 169225 h 5299869"/>
                <a:gd name="connsiteX2" fmla="*/ 1842277 w 4062041"/>
                <a:gd name="connsiteY2" fmla="*/ 1560459 h 5299869"/>
                <a:gd name="connsiteX3" fmla="*/ 4062041 w 4062041"/>
                <a:gd name="connsiteY3" fmla="*/ 0 h 5299869"/>
                <a:gd name="connsiteX4" fmla="*/ 4062041 w 4062041"/>
                <a:gd name="connsiteY4" fmla="*/ 5299869 h 5299869"/>
                <a:gd name="connsiteX5" fmla="*/ 203439 w 4062041"/>
                <a:gd name="connsiteY5" fmla="*/ 5299869 h 5299869"/>
                <a:gd name="connsiteX6" fmla="*/ 414579 w 4062041"/>
                <a:gd name="connsiteY6" fmla="*/ 1574484 h 5299869"/>
                <a:gd name="connsiteX7" fmla="*/ 1110196 w 4062041"/>
                <a:gd name="connsiteY7" fmla="*/ 1535215 h 5299869"/>
                <a:gd name="connsiteX8" fmla="*/ 1328207 w 4062041"/>
                <a:gd name="connsiteY8" fmla="*/ 168295 h 5299869"/>
                <a:gd name="connsiteX0" fmla="*/ 1368448 w 4102282"/>
                <a:gd name="connsiteY0" fmla="*/ 168295 h 5299869"/>
                <a:gd name="connsiteX1" fmla="*/ 2081667 w 4102282"/>
                <a:gd name="connsiteY1" fmla="*/ 169225 h 5299869"/>
                <a:gd name="connsiteX2" fmla="*/ 1882518 w 4102282"/>
                <a:gd name="connsiteY2" fmla="*/ 1560459 h 5299869"/>
                <a:gd name="connsiteX3" fmla="*/ 4102282 w 4102282"/>
                <a:gd name="connsiteY3" fmla="*/ 0 h 5299869"/>
                <a:gd name="connsiteX4" fmla="*/ 4102282 w 4102282"/>
                <a:gd name="connsiteY4" fmla="*/ 5299869 h 5299869"/>
                <a:gd name="connsiteX5" fmla="*/ 243680 w 4102282"/>
                <a:gd name="connsiteY5" fmla="*/ 5299869 h 5299869"/>
                <a:gd name="connsiteX6" fmla="*/ 426772 w 4102282"/>
                <a:gd name="connsiteY6" fmla="*/ 2107416 h 5299869"/>
                <a:gd name="connsiteX7" fmla="*/ 454820 w 4102282"/>
                <a:gd name="connsiteY7" fmla="*/ 1574484 h 5299869"/>
                <a:gd name="connsiteX8" fmla="*/ 1150437 w 4102282"/>
                <a:gd name="connsiteY8" fmla="*/ 1535215 h 5299869"/>
                <a:gd name="connsiteX9" fmla="*/ 1368448 w 4102282"/>
                <a:gd name="connsiteY9" fmla="*/ 168295 h 5299869"/>
                <a:gd name="connsiteX0" fmla="*/ 1368448 w 4102282"/>
                <a:gd name="connsiteY0" fmla="*/ 168295 h 5299869"/>
                <a:gd name="connsiteX1" fmla="*/ 2081667 w 4102282"/>
                <a:gd name="connsiteY1" fmla="*/ 169225 h 5299869"/>
                <a:gd name="connsiteX2" fmla="*/ 1882518 w 4102282"/>
                <a:gd name="connsiteY2" fmla="*/ 1560459 h 5299869"/>
                <a:gd name="connsiteX3" fmla="*/ 4102282 w 4102282"/>
                <a:gd name="connsiteY3" fmla="*/ 0 h 5299869"/>
                <a:gd name="connsiteX4" fmla="*/ 4102282 w 4102282"/>
                <a:gd name="connsiteY4" fmla="*/ 5299869 h 5299869"/>
                <a:gd name="connsiteX5" fmla="*/ 243680 w 4102282"/>
                <a:gd name="connsiteY5" fmla="*/ 5299869 h 5299869"/>
                <a:gd name="connsiteX6" fmla="*/ 426772 w 4102282"/>
                <a:gd name="connsiteY6" fmla="*/ 2107416 h 5299869"/>
                <a:gd name="connsiteX7" fmla="*/ 454820 w 4102282"/>
                <a:gd name="connsiteY7" fmla="*/ 1574484 h 5299869"/>
                <a:gd name="connsiteX8" fmla="*/ 1150437 w 4102282"/>
                <a:gd name="connsiteY8" fmla="*/ 1535215 h 5299869"/>
                <a:gd name="connsiteX9" fmla="*/ 1368448 w 4102282"/>
                <a:gd name="connsiteY9" fmla="*/ 168295 h 5299869"/>
                <a:gd name="connsiteX0" fmla="*/ 1362997 w 4096831"/>
                <a:gd name="connsiteY0" fmla="*/ 168295 h 5299869"/>
                <a:gd name="connsiteX1" fmla="*/ 2076216 w 4096831"/>
                <a:gd name="connsiteY1" fmla="*/ 169225 h 5299869"/>
                <a:gd name="connsiteX2" fmla="*/ 1877067 w 4096831"/>
                <a:gd name="connsiteY2" fmla="*/ 1560459 h 5299869"/>
                <a:gd name="connsiteX3" fmla="*/ 4096831 w 4096831"/>
                <a:gd name="connsiteY3" fmla="*/ 0 h 5299869"/>
                <a:gd name="connsiteX4" fmla="*/ 4096831 w 4096831"/>
                <a:gd name="connsiteY4" fmla="*/ 5299869 h 5299869"/>
                <a:gd name="connsiteX5" fmla="*/ 238229 w 4096831"/>
                <a:gd name="connsiteY5" fmla="*/ 5299869 h 5299869"/>
                <a:gd name="connsiteX6" fmla="*/ 449370 w 4096831"/>
                <a:gd name="connsiteY6" fmla="*/ 2107416 h 5299869"/>
                <a:gd name="connsiteX7" fmla="*/ 449369 w 4096831"/>
                <a:gd name="connsiteY7" fmla="*/ 1574484 h 5299869"/>
                <a:gd name="connsiteX8" fmla="*/ 1144986 w 4096831"/>
                <a:gd name="connsiteY8" fmla="*/ 1535215 h 5299869"/>
                <a:gd name="connsiteX9" fmla="*/ 1362997 w 4096831"/>
                <a:gd name="connsiteY9" fmla="*/ 168295 h 5299869"/>
                <a:gd name="connsiteX0" fmla="*/ 1362997 w 4096831"/>
                <a:gd name="connsiteY0" fmla="*/ 168295 h 5299869"/>
                <a:gd name="connsiteX1" fmla="*/ 2076216 w 4096831"/>
                <a:gd name="connsiteY1" fmla="*/ 169225 h 5299869"/>
                <a:gd name="connsiteX2" fmla="*/ 1877067 w 4096831"/>
                <a:gd name="connsiteY2" fmla="*/ 1560459 h 5299869"/>
                <a:gd name="connsiteX3" fmla="*/ 4096831 w 4096831"/>
                <a:gd name="connsiteY3" fmla="*/ 0 h 5299869"/>
                <a:gd name="connsiteX4" fmla="*/ 4096831 w 4096831"/>
                <a:gd name="connsiteY4" fmla="*/ 5299869 h 5299869"/>
                <a:gd name="connsiteX5" fmla="*/ 238229 w 4096831"/>
                <a:gd name="connsiteY5" fmla="*/ 5299869 h 5299869"/>
                <a:gd name="connsiteX6" fmla="*/ 449370 w 4096831"/>
                <a:gd name="connsiteY6" fmla="*/ 2107416 h 5299869"/>
                <a:gd name="connsiteX7" fmla="*/ 449369 w 4096831"/>
                <a:gd name="connsiteY7" fmla="*/ 1574484 h 5299869"/>
                <a:gd name="connsiteX8" fmla="*/ 1144986 w 4096831"/>
                <a:gd name="connsiteY8" fmla="*/ 1535215 h 5299869"/>
                <a:gd name="connsiteX9" fmla="*/ 1362997 w 4096831"/>
                <a:gd name="connsiteY9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69124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69124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7405 w 4011239"/>
                <a:gd name="connsiteY0" fmla="*/ 168295 h 5299869"/>
                <a:gd name="connsiteX1" fmla="*/ 1990624 w 4011239"/>
                <a:gd name="connsiteY1" fmla="*/ 169225 h 5299869"/>
                <a:gd name="connsiteX2" fmla="*/ 1791475 w 4011239"/>
                <a:gd name="connsiteY2" fmla="*/ 1560459 h 5299869"/>
                <a:gd name="connsiteX3" fmla="*/ 4011239 w 4011239"/>
                <a:gd name="connsiteY3" fmla="*/ 0 h 5299869"/>
                <a:gd name="connsiteX4" fmla="*/ 4011239 w 4011239"/>
                <a:gd name="connsiteY4" fmla="*/ 5299869 h 5299869"/>
                <a:gd name="connsiteX5" fmla="*/ 152637 w 4011239"/>
                <a:gd name="connsiteY5" fmla="*/ 5299869 h 5299869"/>
                <a:gd name="connsiteX6" fmla="*/ 1006102 w 4011239"/>
                <a:gd name="connsiteY6" fmla="*/ 2110221 h 5299869"/>
                <a:gd name="connsiteX7" fmla="*/ 363778 w 4011239"/>
                <a:gd name="connsiteY7" fmla="*/ 2107416 h 5299869"/>
                <a:gd name="connsiteX8" fmla="*/ 363777 w 4011239"/>
                <a:gd name="connsiteY8" fmla="*/ 1574484 h 5299869"/>
                <a:gd name="connsiteX9" fmla="*/ 1059394 w 4011239"/>
                <a:gd name="connsiteY9" fmla="*/ 1535215 h 5299869"/>
                <a:gd name="connsiteX10" fmla="*/ 1277405 w 4011239"/>
                <a:gd name="connsiteY10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276920 w 4010754"/>
                <a:gd name="connsiteY0" fmla="*/ 168295 h 5299869"/>
                <a:gd name="connsiteX1" fmla="*/ 1990139 w 4010754"/>
                <a:gd name="connsiteY1" fmla="*/ 169225 h 5299869"/>
                <a:gd name="connsiteX2" fmla="*/ 1790990 w 4010754"/>
                <a:gd name="connsiteY2" fmla="*/ 1560459 h 5299869"/>
                <a:gd name="connsiteX3" fmla="*/ 4010754 w 4010754"/>
                <a:gd name="connsiteY3" fmla="*/ 0 h 5299869"/>
                <a:gd name="connsiteX4" fmla="*/ 4010754 w 4010754"/>
                <a:gd name="connsiteY4" fmla="*/ 5299869 h 5299869"/>
                <a:gd name="connsiteX5" fmla="*/ 152152 w 4010754"/>
                <a:gd name="connsiteY5" fmla="*/ 5299869 h 5299869"/>
                <a:gd name="connsiteX6" fmla="*/ 870981 w 4010754"/>
                <a:gd name="connsiteY6" fmla="*/ 3086329 h 5299869"/>
                <a:gd name="connsiteX7" fmla="*/ 1005617 w 4010754"/>
                <a:gd name="connsiteY7" fmla="*/ 2110221 h 5299869"/>
                <a:gd name="connsiteX8" fmla="*/ 363293 w 4010754"/>
                <a:gd name="connsiteY8" fmla="*/ 2107416 h 5299869"/>
                <a:gd name="connsiteX9" fmla="*/ 363292 w 4010754"/>
                <a:gd name="connsiteY9" fmla="*/ 1574484 h 5299869"/>
                <a:gd name="connsiteX10" fmla="*/ 1058909 w 4010754"/>
                <a:gd name="connsiteY10" fmla="*/ 1535215 h 5299869"/>
                <a:gd name="connsiteX11" fmla="*/ 1276920 w 4010754"/>
                <a:gd name="connsiteY11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7573 w 4131407"/>
                <a:gd name="connsiteY0" fmla="*/ 168295 h 5299869"/>
                <a:gd name="connsiteX1" fmla="*/ 2110792 w 4131407"/>
                <a:gd name="connsiteY1" fmla="*/ 169225 h 5299869"/>
                <a:gd name="connsiteX2" fmla="*/ 1911643 w 4131407"/>
                <a:gd name="connsiteY2" fmla="*/ 1560459 h 5299869"/>
                <a:gd name="connsiteX3" fmla="*/ 4131407 w 4131407"/>
                <a:gd name="connsiteY3" fmla="*/ 0 h 5299869"/>
                <a:gd name="connsiteX4" fmla="*/ 4131407 w 4131407"/>
                <a:gd name="connsiteY4" fmla="*/ 5299869 h 5299869"/>
                <a:gd name="connsiteX5" fmla="*/ 272805 w 4131407"/>
                <a:gd name="connsiteY5" fmla="*/ 5299869 h 5299869"/>
                <a:gd name="connsiteX6" fmla="*/ 265162 w 4131407"/>
                <a:gd name="connsiteY6" fmla="*/ 3153647 h 5299869"/>
                <a:gd name="connsiteX7" fmla="*/ 991634 w 4131407"/>
                <a:gd name="connsiteY7" fmla="*/ 3086329 h 5299869"/>
                <a:gd name="connsiteX8" fmla="*/ 1126270 w 4131407"/>
                <a:gd name="connsiteY8" fmla="*/ 2110221 h 5299869"/>
                <a:gd name="connsiteX9" fmla="*/ 483946 w 4131407"/>
                <a:gd name="connsiteY9" fmla="*/ 2107416 h 5299869"/>
                <a:gd name="connsiteX10" fmla="*/ 483945 w 4131407"/>
                <a:gd name="connsiteY10" fmla="*/ 1574484 h 5299869"/>
                <a:gd name="connsiteX11" fmla="*/ 1179562 w 4131407"/>
                <a:gd name="connsiteY11" fmla="*/ 1535215 h 5299869"/>
                <a:gd name="connsiteX12" fmla="*/ 1397573 w 4131407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395806 w 4129640"/>
                <a:gd name="connsiteY0" fmla="*/ 168295 h 5299869"/>
                <a:gd name="connsiteX1" fmla="*/ 2109025 w 4129640"/>
                <a:gd name="connsiteY1" fmla="*/ 169225 h 5299869"/>
                <a:gd name="connsiteX2" fmla="*/ 1909876 w 4129640"/>
                <a:gd name="connsiteY2" fmla="*/ 1560459 h 5299869"/>
                <a:gd name="connsiteX3" fmla="*/ 4129640 w 4129640"/>
                <a:gd name="connsiteY3" fmla="*/ 0 h 5299869"/>
                <a:gd name="connsiteX4" fmla="*/ 4129640 w 4129640"/>
                <a:gd name="connsiteY4" fmla="*/ 5299869 h 5299869"/>
                <a:gd name="connsiteX5" fmla="*/ 271038 w 4129640"/>
                <a:gd name="connsiteY5" fmla="*/ 5299869 h 5299869"/>
                <a:gd name="connsiteX6" fmla="*/ 269005 w 4129640"/>
                <a:gd name="connsiteY6" fmla="*/ 3131208 h 5299869"/>
                <a:gd name="connsiteX7" fmla="*/ 989867 w 4129640"/>
                <a:gd name="connsiteY7" fmla="*/ 3086329 h 5299869"/>
                <a:gd name="connsiteX8" fmla="*/ 1124503 w 4129640"/>
                <a:gd name="connsiteY8" fmla="*/ 2110221 h 5299869"/>
                <a:gd name="connsiteX9" fmla="*/ 482179 w 4129640"/>
                <a:gd name="connsiteY9" fmla="*/ 2107416 h 5299869"/>
                <a:gd name="connsiteX10" fmla="*/ 482178 w 4129640"/>
                <a:gd name="connsiteY10" fmla="*/ 1574484 h 5299869"/>
                <a:gd name="connsiteX11" fmla="*/ 1177795 w 4129640"/>
                <a:gd name="connsiteY11" fmla="*/ 1535215 h 5299869"/>
                <a:gd name="connsiteX12" fmla="*/ 1395806 w 4129640"/>
                <a:gd name="connsiteY12" fmla="*/ 168295 h 5299869"/>
                <a:gd name="connsiteX0" fmla="*/ 1424409 w 4158243"/>
                <a:gd name="connsiteY0" fmla="*/ 168295 h 5299869"/>
                <a:gd name="connsiteX1" fmla="*/ 2137628 w 4158243"/>
                <a:gd name="connsiteY1" fmla="*/ 169225 h 5299869"/>
                <a:gd name="connsiteX2" fmla="*/ 1938479 w 4158243"/>
                <a:gd name="connsiteY2" fmla="*/ 1560459 h 5299869"/>
                <a:gd name="connsiteX3" fmla="*/ 4158243 w 4158243"/>
                <a:gd name="connsiteY3" fmla="*/ 0 h 5299869"/>
                <a:gd name="connsiteX4" fmla="*/ 4158243 w 4158243"/>
                <a:gd name="connsiteY4" fmla="*/ 5299869 h 5299869"/>
                <a:gd name="connsiteX5" fmla="*/ 299641 w 4158243"/>
                <a:gd name="connsiteY5" fmla="*/ 5299869 h 5299869"/>
                <a:gd name="connsiteX6" fmla="*/ 289193 w 4158243"/>
                <a:gd name="connsiteY6" fmla="*/ 3723043 h 5299869"/>
                <a:gd name="connsiteX7" fmla="*/ 297608 w 4158243"/>
                <a:gd name="connsiteY7" fmla="*/ 3131208 h 5299869"/>
                <a:gd name="connsiteX8" fmla="*/ 1018470 w 4158243"/>
                <a:gd name="connsiteY8" fmla="*/ 3086329 h 5299869"/>
                <a:gd name="connsiteX9" fmla="*/ 1153106 w 4158243"/>
                <a:gd name="connsiteY9" fmla="*/ 2110221 h 5299869"/>
                <a:gd name="connsiteX10" fmla="*/ 510782 w 4158243"/>
                <a:gd name="connsiteY10" fmla="*/ 2107416 h 5299869"/>
                <a:gd name="connsiteX11" fmla="*/ 510781 w 4158243"/>
                <a:gd name="connsiteY11" fmla="*/ 1574484 h 5299869"/>
                <a:gd name="connsiteX12" fmla="*/ 1206398 w 4158243"/>
                <a:gd name="connsiteY12" fmla="*/ 1535215 h 5299869"/>
                <a:gd name="connsiteX13" fmla="*/ 1424409 w 4158243"/>
                <a:gd name="connsiteY13" fmla="*/ 168295 h 5299869"/>
                <a:gd name="connsiteX0" fmla="*/ 1424409 w 4158243"/>
                <a:gd name="connsiteY0" fmla="*/ 168295 h 5299869"/>
                <a:gd name="connsiteX1" fmla="*/ 2137628 w 4158243"/>
                <a:gd name="connsiteY1" fmla="*/ 169225 h 5299869"/>
                <a:gd name="connsiteX2" fmla="*/ 1938479 w 4158243"/>
                <a:gd name="connsiteY2" fmla="*/ 1560459 h 5299869"/>
                <a:gd name="connsiteX3" fmla="*/ 4158243 w 4158243"/>
                <a:gd name="connsiteY3" fmla="*/ 0 h 5299869"/>
                <a:gd name="connsiteX4" fmla="*/ 4158243 w 4158243"/>
                <a:gd name="connsiteY4" fmla="*/ 5299869 h 5299869"/>
                <a:gd name="connsiteX5" fmla="*/ 299641 w 4158243"/>
                <a:gd name="connsiteY5" fmla="*/ 5299869 h 5299869"/>
                <a:gd name="connsiteX6" fmla="*/ 289193 w 4158243"/>
                <a:gd name="connsiteY6" fmla="*/ 3723043 h 5299869"/>
                <a:gd name="connsiteX7" fmla="*/ 297608 w 4158243"/>
                <a:gd name="connsiteY7" fmla="*/ 3131208 h 5299869"/>
                <a:gd name="connsiteX8" fmla="*/ 1018470 w 4158243"/>
                <a:gd name="connsiteY8" fmla="*/ 3086329 h 5299869"/>
                <a:gd name="connsiteX9" fmla="*/ 1153106 w 4158243"/>
                <a:gd name="connsiteY9" fmla="*/ 2110221 h 5299869"/>
                <a:gd name="connsiteX10" fmla="*/ 510782 w 4158243"/>
                <a:gd name="connsiteY10" fmla="*/ 2107416 h 5299869"/>
                <a:gd name="connsiteX11" fmla="*/ 510781 w 4158243"/>
                <a:gd name="connsiteY11" fmla="*/ 1574484 h 5299869"/>
                <a:gd name="connsiteX12" fmla="*/ 1206398 w 4158243"/>
                <a:gd name="connsiteY12" fmla="*/ 1535215 h 5299869"/>
                <a:gd name="connsiteX13" fmla="*/ 1424409 w 4158243"/>
                <a:gd name="connsiteY13" fmla="*/ 168295 h 5299869"/>
                <a:gd name="connsiteX0" fmla="*/ 1311757 w 4045591"/>
                <a:gd name="connsiteY0" fmla="*/ 168295 h 5299869"/>
                <a:gd name="connsiteX1" fmla="*/ 2024976 w 4045591"/>
                <a:gd name="connsiteY1" fmla="*/ 169225 h 5299869"/>
                <a:gd name="connsiteX2" fmla="*/ 1825827 w 4045591"/>
                <a:gd name="connsiteY2" fmla="*/ 1560459 h 5299869"/>
                <a:gd name="connsiteX3" fmla="*/ 4045591 w 4045591"/>
                <a:gd name="connsiteY3" fmla="*/ 0 h 5299869"/>
                <a:gd name="connsiteX4" fmla="*/ 4045591 w 4045591"/>
                <a:gd name="connsiteY4" fmla="*/ 5299869 h 5299869"/>
                <a:gd name="connsiteX5" fmla="*/ 186989 w 4045591"/>
                <a:gd name="connsiteY5" fmla="*/ 5299869 h 5299869"/>
                <a:gd name="connsiteX6" fmla="*/ 793622 w 4045591"/>
                <a:gd name="connsiteY6" fmla="*/ 3779141 h 5299869"/>
                <a:gd name="connsiteX7" fmla="*/ 176541 w 4045591"/>
                <a:gd name="connsiteY7" fmla="*/ 3723043 h 5299869"/>
                <a:gd name="connsiteX8" fmla="*/ 184956 w 4045591"/>
                <a:gd name="connsiteY8" fmla="*/ 3131208 h 5299869"/>
                <a:gd name="connsiteX9" fmla="*/ 905818 w 4045591"/>
                <a:gd name="connsiteY9" fmla="*/ 3086329 h 5299869"/>
                <a:gd name="connsiteX10" fmla="*/ 1040454 w 4045591"/>
                <a:gd name="connsiteY10" fmla="*/ 2110221 h 5299869"/>
                <a:gd name="connsiteX11" fmla="*/ 398130 w 4045591"/>
                <a:gd name="connsiteY11" fmla="*/ 2107416 h 5299869"/>
                <a:gd name="connsiteX12" fmla="*/ 398129 w 4045591"/>
                <a:gd name="connsiteY12" fmla="*/ 1574484 h 5299869"/>
                <a:gd name="connsiteX13" fmla="*/ 1093746 w 4045591"/>
                <a:gd name="connsiteY13" fmla="*/ 1535215 h 5299869"/>
                <a:gd name="connsiteX14" fmla="*/ 1311757 w 4045591"/>
                <a:gd name="connsiteY14" fmla="*/ 168295 h 5299869"/>
                <a:gd name="connsiteX0" fmla="*/ 1311757 w 4045591"/>
                <a:gd name="connsiteY0" fmla="*/ 168295 h 5299869"/>
                <a:gd name="connsiteX1" fmla="*/ 2024976 w 4045591"/>
                <a:gd name="connsiteY1" fmla="*/ 169225 h 5299869"/>
                <a:gd name="connsiteX2" fmla="*/ 1825827 w 4045591"/>
                <a:gd name="connsiteY2" fmla="*/ 1560459 h 5299869"/>
                <a:gd name="connsiteX3" fmla="*/ 4045591 w 4045591"/>
                <a:gd name="connsiteY3" fmla="*/ 0 h 5299869"/>
                <a:gd name="connsiteX4" fmla="*/ 4045591 w 4045591"/>
                <a:gd name="connsiteY4" fmla="*/ 5299869 h 5299869"/>
                <a:gd name="connsiteX5" fmla="*/ 186989 w 4045591"/>
                <a:gd name="connsiteY5" fmla="*/ 5299869 h 5299869"/>
                <a:gd name="connsiteX6" fmla="*/ 793622 w 4045591"/>
                <a:gd name="connsiteY6" fmla="*/ 3779141 h 5299869"/>
                <a:gd name="connsiteX7" fmla="*/ 176541 w 4045591"/>
                <a:gd name="connsiteY7" fmla="*/ 3723043 h 5299869"/>
                <a:gd name="connsiteX8" fmla="*/ 184956 w 4045591"/>
                <a:gd name="connsiteY8" fmla="*/ 3131208 h 5299869"/>
                <a:gd name="connsiteX9" fmla="*/ 905818 w 4045591"/>
                <a:gd name="connsiteY9" fmla="*/ 3086329 h 5299869"/>
                <a:gd name="connsiteX10" fmla="*/ 1040454 w 4045591"/>
                <a:gd name="connsiteY10" fmla="*/ 2110221 h 5299869"/>
                <a:gd name="connsiteX11" fmla="*/ 398130 w 4045591"/>
                <a:gd name="connsiteY11" fmla="*/ 2107416 h 5299869"/>
                <a:gd name="connsiteX12" fmla="*/ 398129 w 4045591"/>
                <a:gd name="connsiteY12" fmla="*/ 1574484 h 5299869"/>
                <a:gd name="connsiteX13" fmla="*/ 1093746 w 4045591"/>
                <a:gd name="connsiteY13" fmla="*/ 1535215 h 5299869"/>
                <a:gd name="connsiteX14" fmla="*/ 1311757 w 4045591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311146 w 4044980"/>
                <a:gd name="connsiteY0" fmla="*/ 168295 h 5299869"/>
                <a:gd name="connsiteX1" fmla="*/ 2024365 w 4044980"/>
                <a:gd name="connsiteY1" fmla="*/ 169225 h 5299869"/>
                <a:gd name="connsiteX2" fmla="*/ 1825216 w 4044980"/>
                <a:gd name="connsiteY2" fmla="*/ 1560459 h 5299869"/>
                <a:gd name="connsiteX3" fmla="*/ 4044980 w 4044980"/>
                <a:gd name="connsiteY3" fmla="*/ 0 h 5299869"/>
                <a:gd name="connsiteX4" fmla="*/ 4044980 w 4044980"/>
                <a:gd name="connsiteY4" fmla="*/ 5299869 h 5299869"/>
                <a:gd name="connsiteX5" fmla="*/ 186378 w 4044980"/>
                <a:gd name="connsiteY5" fmla="*/ 5299869 h 5299869"/>
                <a:gd name="connsiteX6" fmla="*/ 798621 w 4044980"/>
                <a:gd name="connsiteY6" fmla="*/ 3737068 h 5299869"/>
                <a:gd name="connsiteX7" fmla="*/ 175930 w 4044980"/>
                <a:gd name="connsiteY7" fmla="*/ 3723043 h 5299869"/>
                <a:gd name="connsiteX8" fmla="*/ 184345 w 4044980"/>
                <a:gd name="connsiteY8" fmla="*/ 3131208 h 5299869"/>
                <a:gd name="connsiteX9" fmla="*/ 905207 w 4044980"/>
                <a:gd name="connsiteY9" fmla="*/ 3086329 h 5299869"/>
                <a:gd name="connsiteX10" fmla="*/ 1039843 w 4044980"/>
                <a:gd name="connsiteY10" fmla="*/ 2110221 h 5299869"/>
                <a:gd name="connsiteX11" fmla="*/ 397519 w 4044980"/>
                <a:gd name="connsiteY11" fmla="*/ 2107416 h 5299869"/>
                <a:gd name="connsiteX12" fmla="*/ 397518 w 4044980"/>
                <a:gd name="connsiteY12" fmla="*/ 1574484 h 5299869"/>
                <a:gd name="connsiteX13" fmla="*/ 1093135 w 4044980"/>
                <a:gd name="connsiteY13" fmla="*/ 1535215 h 5299869"/>
                <a:gd name="connsiteX14" fmla="*/ 1311146 w 404498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131575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481672 w 3869050"/>
                <a:gd name="connsiteY5" fmla="*/ 5097916 h 5299869"/>
                <a:gd name="connsiteX6" fmla="*/ 622691 w 3869050"/>
                <a:gd name="connsiteY6" fmla="*/ 3737068 h 5299869"/>
                <a:gd name="connsiteX7" fmla="*/ 0 w 3869050"/>
                <a:gd name="connsiteY7" fmla="*/ 3723043 h 5299869"/>
                <a:gd name="connsiteX8" fmla="*/ 8415 w 3869050"/>
                <a:gd name="connsiteY8" fmla="*/ 3131208 h 5299869"/>
                <a:gd name="connsiteX9" fmla="*/ 729277 w 3869050"/>
                <a:gd name="connsiteY9" fmla="*/ 3086329 h 5299869"/>
                <a:gd name="connsiteX10" fmla="*/ 863913 w 3869050"/>
                <a:gd name="connsiteY10" fmla="*/ 2110221 h 5299869"/>
                <a:gd name="connsiteX11" fmla="*/ 221589 w 3869050"/>
                <a:gd name="connsiteY11" fmla="*/ 2107416 h 5299869"/>
                <a:gd name="connsiteX12" fmla="*/ 221588 w 3869050"/>
                <a:gd name="connsiteY12" fmla="*/ 1574484 h 5299869"/>
                <a:gd name="connsiteX13" fmla="*/ 917205 w 3869050"/>
                <a:gd name="connsiteY13" fmla="*/ 1535215 h 5299869"/>
                <a:gd name="connsiteX14" fmla="*/ 1135216 w 3869050"/>
                <a:gd name="connsiteY14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953669 w 3869050"/>
                <a:gd name="connsiteY5" fmla="*/ 5122692 h 5299869"/>
                <a:gd name="connsiteX6" fmla="*/ 481672 w 3869050"/>
                <a:gd name="connsiteY6" fmla="*/ 5097916 h 5299869"/>
                <a:gd name="connsiteX7" fmla="*/ 622691 w 3869050"/>
                <a:gd name="connsiteY7" fmla="*/ 3737068 h 5299869"/>
                <a:gd name="connsiteX8" fmla="*/ 0 w 3869050"/>
                <a:gd name="connsiteY8" fmla="*/ 3723043 h 5299869"/>
                <a:gd name="connsiteX9" fmla="*/ 8415 w 3869050"/>
                <a:gd name="connsiteY9" fmla="*/ 3131208 h 5299869"/>
                <a:gd name="connsiteX10" fmla="*/ 729277 w 3869050"/>
                <a:gd name="connsiteY10" fmla="*/ 3086329 h 5299869"/>
                <a:gd name="connsiteX11" fmla="*/ 863913 w 3869050"/>
                <a:gd name="connsiteY11" fmla="*/ 2110221 h 5299869"/>
                <a:gd name="connsiteX12" fmla="*/ 221589 w 3869050"/>
                <a:gd name="connsiteY12" fmla="*/ 2107416 h 5299869"/>
                <a:gd name="connsiteX13" fmla="*/ 221588 w 3869050"/>
                <a:gd name="connsiteY13" fmla="*/ 1574484 h 5299869"/>
                <a:gd name="connsiteX14" fmla="*/ 917205 w 3869050"/>
                <a:gd name="connsiteY14" fmla="*/ 1535215 h 5299869"/>
                <a:gd name="connsiteX15" fmla="*/ 1135216 w 3869050"/>
                <a:gd name="connsiteY15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53794 w 3869050"/>
                <a:gd name="connsiteY5" fmla="*/ 3770727 h 5299869"/>
                <a:gd name="connsiteX6" fmla="*/ 953669 w 3869050"/>
                <a:gd name="connsiteY6" fmla="*/ 512269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53794 w 3869050"/>
                <a:gd name="connsiteY5" fmla="*/ 3770727 h 5299869"/>
                <a:gd name="connsiteX6" fmla="*/ 973304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36965 w 3869050"/>
                <a:gd name="connsiteY5" fmla="*/ 3739873 h 5299869"/>
                <a:gd name="connsiteX6" fmla="*/ 973304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299869"/>
                <a:gd name="connsiteX1" fmla="*/ 1848435 w 3869050"/>
                <a:gd name="connsiteY1" fmla="*/ 169225 h 5299869"/>
                <a:gd name="connsiteX2" fmla="*/ 1649286 w 3869050"/>
                <a:gd name="connsiteY2" fmla="*/ 1560459 h 5299869"/>
                <a:gd name="connsiteX3" fmla="*/ 3869050 w 3869050"/>
                <a:gd name="connsiteY3" fmla="*/ 0 h 5299869"/>
                <a:gd name="connsiteX4" fmla="*/ 3869050 w 3869050"/>
                <a:gd name="connsiteY4" fmla="*/ 5299869 h 5299869"/>
                <a:gd name="connsiteX5" fmla="*/ 1236965 w 3869050"/>
                <a:gd name="connsiteY5" fmla="*/ 3739873 h 5299869"/>
                <a:gd name="connsiteX6" fmla="*/ 990133 w 3869050"/>
                <a:gd name="connsiteY6" fmla="*/ 5117082 h 5299869"/>
                <a:gd name="connsiteX7" fmla="*/ 481672 w 3869050"/>
                <a:gd name="connsiteY7" fmla="*/ 5097916 h 5299869"/>
                <a:gd name="connsiteX8" fmla="*/ 622691 w 3869050"/>
                <a:gd name="connsiteY8" fmla="*/ 3737068 h 5299869"/>
                <a:gd name="connsiteX9" fmla="*/ 0 w 3869050"/>
                <a:gd name="connsiteY9" fmla="*/ 3723043 h 5299869"/>
                <a:gd name="connsiteX10" fmla="*/ 8415 w 3869050"/>
                <a:gd name="connsiteY10" fmla="*/ 3131208 h 5299869"/>
                <a:gd name="connsiteX11" fmla="*/ 729277 w 3869050"/>
                <a:gd name="connsiteY11" fmla="*/ 3086329 h 5299869"/>
                <a:gd name="connsiteX12" fmla="*/ 863913 w 3869050"/>
                <a:gd name="connsiteY12" fmla="*/ 2110221 h 5299869"/>
                <a:gd name="connsiteX13" fmla="*/ 221589 w 3869050"/>
                <a:gd name="connsiteY13" fmla="*/ 2107416 h 5299869"/>
                <a:gd name="connsiteX14" fmla="*/ 221588 w 3869050"/>
                <a:gd name="connsiteY14" fmla="*/ 1574484 h 5299869"/>
                <a:gd name="connsiteX15" fmla="*/ 917205 w 3869050"/>
                <a:gd name="connsiteY15" fmla="*/ 1535215 h 5299869"/>
                <a:gd name="connsiteX16" fmla="*/ 1135216 w 3869050"/>
                <a:gd name="connsiteY16" fmla="*/ 168295 h 5299869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437907"/>
                <a:gd name="connsiteX1" fmla="*/ 1848435 w 3869050"/>
                <a:gd name="connsiteY1" fmla="*/ 169225 h 5437907"/>
                <a:gd name="connsiteX2" fmla="*/ 1649286 w 3869050"/>
                <a:gd name="connsiteY2" fmla="*/ 1560459 h 5437907"/>
                <a:gd name="connsiteX3" fmla="*/ 3869050 w 3869050"/>
                <a:gd name="connsiteY3" fmla="*/ 0 h 5437907"/>
                <a:gd name="connsiteX4" fmla="*/ 3869050 w 3869050"/>
                <a:gd name="connsiteY4" fmla="*/ 5299869 h 5437907"/>
                <a:gd name="connsiteX5" fmla="*/ 1938192 w 3869050"/>
                <a:gd name="connsiteY5" fmla="*/ 3770727 h 5437907"/>
                <a:gd name="connsiteX6" fmla="*/ 1236965 w 3869050"/>
                <a:gd name="connsiteY6" fmla="*/ 3739873 h 5437907"/>
                <a:gd name="connsiteX7" fmla="*/ 990133 w 3869050"/>
                <a:gd name="connsiteY7" fmla="*/ 5117082 h 5437907"/>
                <a:gd name="connsiteX8" fmla="*/ 481672 w 3869050"/>
                <a:gd name="connsiteY8" fmla="*/ 5097916 h 5437907"/>
                <a:gd name="connsiteX9" fmla="*/ 622691 w 3869050"/>
                <a:gd name="connsiteY9" fmla="*/ 3737068 h 5437907"/>
                <a:gd name="connsiteX10" fmla="*/ 0 w 3869050"/>
                <a:gd name="connsiteY10" fmla="*/ 3723043 h 5437907"/>
                <a:gd name="connsiteX11" fmla="*/ 8415 w 3869050"/>
                <a:gd name="connsiteY11" fmla="*/ 3131208 h 5437907"/>
                <a:gd name="connsiteX12" fmla="*/ 729277 w 3869050"/>
                <a:gd name="connsiteY12" fmla="*/ 3086329 h 5437907"/>
                <a:gd name="connsiteX13" fmla="*/ 863913 w 3869050"/>
                <a:gd name="connsiteY13" fmla="*/ 2110221 h 5437907"/>
                <a:gd name="connsiteX14" fmla="*/ 221589 w 3869050"/>
                <a:gd name="connsiteY14" fmla="*/ 2107416 h 5437907"/>
                <a:gd name="connsiteX15" fmla="*/ 221588 w 3869050"/>
                <a:gd name="connsiteY15" fmla="*/ 1574484 h 5437907"/>
                <a:gd name="connsiteX16" fmla="*/ 917205 w 3869050"/>
                <a:gd name="connsiteY16" fmla="*/ 1535215 h 5437907"/>
                <a:gd name="connsiteX17" fmla="*/ 1135216 w 3869050"/>
                <a:gd name="connsiteY17" fmla="*/ 168295 h 5437907"/>
                <a:gd name="connsiteX0" fmla="*/ 1135216 w 3869050"/>
                <a:gd name="connsiteY0" fmla="*/ 168295 h 5612016"/>
                <a:gd name="connsiteX1" fmla="*/ 1848435 w 3869050"/>
                <a:gd name="connsiteY1" fmla="*/ 169225 h 5612016"/>
                <a:gd name="connsiteX2" fmla="*/ 1649286 w 3869050"/>
                <a:gd name="connsiteY2" fmla="*/ 1560459 h 5612016"/>
                <a:gd name="connsiteX3" fmla="*/ 3869050 w 3869050"/>
                <a:gd name="connsiteY3" fmla="*/ 0 h 5612016"/>
                <a:gd name="connsiteX4" fmla="*/ 3869050 w 3869050"/>
                <a:gd name="connsiteY4" fmla="*/ 5299869 h 5612016"/>
                <a:gd name="connsiteX5" fmla="*/ 1904533 w 3869050"/>
                <a:gd name="connsiteY5" fmla="*/ 5114278 h 5612016"/>
                <a:gd name="connsiteX6" fmla="*/ 1938192 w 3869050"/>
                <a:gd name="connsiteY6" fmla="*/ 3770727 h 5612016"/>
                <a:gd name="connsiteX7" fmla="*/ 1236965 w 3869050"/>
                <a:gd name="connsiteY7" fmla="*/ 3739873 h 5612016"/>
                <a:gd name="connsiteX8" fmla="*/ 990133 w 3869050"/>
                <a:gd name="connsiteY8" fmla="*/ 5117082 h 5612016"/>
                <a:gd name="connsiteX9" fmla="*/ 481672 w 3869050"/>
                <a:gd name="connsiteY9" fmla="*/ 5097916 h 5612016"/>
                <a:gd name="connsiteX10" fmla="*/ 622691 w 3869050"/>
                <a:gd name="connsiteY10" fmla="*/ 3737068 h 5612016"/>
                <a:gd name="connsiteX11" fmla="*/ 0 w 3869050"/>
                <a:gd name="connsiteY11" fmla="*/ 3723043 h 5612016"/>
                <a:gd name="connsiteX12" fmla="*/ 8415 w 3869050"/>
                <a:gd name="connsiteY12" fmla="*/ 3131208 h 5612016"/>
                <a:gd name="connsiteX13" fmla="*/ 729277 w 3869050"/>
                <a:gd name="connsiteY13" fmla="*/ 3086329 h 5612016"/>
                <a:gd name="connsiteX14" fmla="*/ 863913 w 3869050"/>
                <a:gd name="connsiteY14" fmla="*/ 2110221 h 5612016"/>
                <a:gd name="connsiteX15" fmla="*/ 221589 w 3869050"/>
                <a:gd name="connsiteY15" fmla="*/ 2107416 h 5612016"/>
                <a:gd name="connsiteX16" fmla="*/ 221588 w 3869050"/>
                <a:gd name="connsiteY16" fmla="*/ 1574484 h 5612016"/>
                <a:gd name="connsiteX17" fmla="*/ 917205 w 3869050"/>
                <a:gd name="connsiteY17" fmla="*/ 1535215 h 5612016"/>
                <a:gd name="connsiteX18" fmla="*/ 1135216 w 3869050"/>
                <a:gd name="connsiteY18" fmla="*/ 168295 h 5612016"/>
                <a:gd name="connsiteX0" fmla="*/ 1135216 w 3869050"/>
                <a:gd name="connsiteY0" fmla="*/ 168295 h 5612016"/>
                <a:gd name="connsiteX1" fmla="*/ 1848435 w 3869050"/>
                <a:gd name="connsiteY1" fmla="*/ 169225 h 5612016"/>
                <a:gd name="connsiteX2" fmla="*/ 1649286 w 3869050"/>
                <a:gd name="connsiteY2" fmla="*/ 1560459 h 5612016"/>
                <a:gd name="connsiteX3" fmla="*/ 3869050 w 3869050"/>
                <a:gd name="connsiteY3" fmla="*/ 0 h 5612016"/>
                <a:gd name="connsiteX4" fmla="*/ 3869050 w 3869050"/>
                <a:gd name="connsiteY4" fmla="*/ 5299869 h 5612016"/>
                <a:gd name="connsiteX5" fmla="*/ 1904533 w 3869050"/>
                <a:gd name="connsiteY5" fmla="*/ 5114278 h 5612016"/>
                <a:gd name="connsiteX6" fmla="*/ 1938192 w 3869050"/>
                <a:gd name="connsiteY6" fmla="*/ 3770727 h 5612016"/>
                <a:gd name="connsiteX7" fmla="*/ 1236965 w 3869050"/>
                <a:gd name="connsiteY7" fmla="*/ 3739873 h 5612016"/>
                <a:gd name="connsiteX8" fmla="*/ 990133 w 3869050"/>
                <a:gd name="connsiteY8" fmla="*/ 5117082 h 5612016"/>
                <a:gd name="connsiteX9" fmla="*/ 481672 w 3869050"/>
                <a:gd name="connsiteY9" fmla="*/ 5097916 h 5612016"/>
                <a:gd name="connsiteX10" fmla="*/ 622691 w 3869050"/>
                <a:gd name="connsiteY10" fmla="*/ 3737068 h 5612016"/>
                <a:gd name="connsiteX11" fmla="*/ 0 w 3869050"/>
                <a:gd name="connsiteY11" fmla="*/ 3723043 h 5612016"/>
                <a:gd name="connsiteX12" fmla="*/ 8415 w 3869050"/>
                <a:gd name="connsiteY12" fmla="*/ 3131208 h 5612016"/>
                <a:gd name="connsiteX13" fmla="*/ 729277 w 3869050"/>
                <a:gd name="connsiteY13" fmla="*/ 3086329 h 5612016"/>
                <a:gd name="connsiteX14" fmla="*/ 863913 w 3869050"/>
                <a:gd name="connsiteY14" fmla="*/ 2110221 h 5612016"/>
                <a:gd name="connsiteX15" fmla="*/ 221589 w 3869050"/>
                <a:gd name="connsiteY15" fmla="*/ 2107416 h 5612016"/>
                <a:gd name="connsiteX16" fmla="*/ 221588 w 3869050"/>
                <a:gd name="connsiteY16" fmla="*/ 1574484 h 5612016"/>
                <a:gd name="connsiteX17" fmla="*/ 917205 w 3869050"/>
                <a:gd name="connsiteY17" fmla="*/ 1535215 h 5612016"/>
                <a:gd name="connsiteX18" fmla="*/ 1135216 w 3869050"/>
                <a:gd name="connsiteY18" fmla="*/ 168295 h 5612016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09830"/>
                <a:gd name="connsiteX1" fmla="*/ 1848435 w 3869050"/>
                <a:gd name="connsiteY1" fmla="*/ 169225 h 5609830"/>
                <a:gd name="connsiteX2" fmla="*/ 1649286 w 3869050"/>
                <a:gd name="connsiteY2" fmla="*/ 1560459 h 5609830"/>
                <a:gd name="connsiteX3" fmla="*/ 3869050 w 3869050"/>
                <a:gd name="connsiteY3" fmla="*/ 0 h 5609830"/>
                <a:gd name="connsiteX4" fmla="*/ 3869050 w 3869050"/>
                <a:gd name="connsiteY4" fmla="*/ 5299869 h 5609830"/>
                <a:gd name="connsiteX5" fmla="*/ 1862459 w 3869050"/>
                <a:gd name="connsiteY5" fmla="*/ 5105864 h 5609830"/>
                <a:gd name="connsiteX6" fmla="*/ 1938192 w 3869050"/>
                <a:gd name="connsiteY6" fmla="*/ 3770727 h 5609830"/>
                <a:gd name="connsiteX7" fmla="*/ 1236965 w 3869050"/>
                <a:gd name="connsiteY7" fmla="*/ 3739873 h 5609830"/>
                <a:gd name="connsiteX8" fmla="*/ 990133 w 3869050"/>
                <a:gd name="connsiteY8" fmla="*/ 5117082 h 5609830"/>
                <a:gd name="connsiteX9" fmla="*/ 481672 w 3869050"/>
                <a:gd name="connsiteY9" fmla="*/ 5097916 h 5609830"/>
                <a:gd name="connsiteX10" fmla="*/ 622691 w 3869050"/>
                <a:gd name="connsiteY10" fmla="*/ 3737068 h 5609830"/>
                <a:gd name="connsiteX11" fmla="*/ 0 w 3869050"/>
                <a:gd name="connsiteY11" fmla="*/ 3723043 h 5609830"/>
                <a:gd name="connsiteX12" fmla="*/ 8415 w 3869050"/>
                <a:gd name="connsiteY12" fmla="*/ 3131208 h 5609830"/>
                <a:gd name="connsiteX13" fmla="*/ 729277 w 3869050"/>
                <a:gd name="connsiteY13" fmla="*/ 3086329 h 5609830"/>
                <a:gd name="connsiteX14" fmla="*/ 863913 w 3869050"/>
                <a:gd name="connsiteY14" fmla="*/ 2110221 h 5609830"/>
                <a:gd name="connsiteX15" fmla="*/ 221589 w 3869050"/>
                <a:gd name="connsiteY15" fmla="*/ 2107416 h 5609830"/>
                <a:gd name="connsiteX16" fmla="*/ 221588 w 3869050"/>
                <a:gd name="connsiteY16" fmla="*/ 1574484 h 5609830"/>
                <a:gd name="connsiteX17" fmla="*/ 917205 w 3869050"/>
                <a:gd name="connsiteY17" fmla="*/ 1535215 h 5609830"/>
                <a:gd name="connsiteX18" fmla="*/ 1135216 w 3869050"/>
                <a:gd name="connsiteY18" fmla="*/ 168295 h 5609830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665286"/>
                <a:gd name="connsiteX1" fmla="*/ 1848435 w 3869050"/>
                <a:gd name="connsiteY1" fmla="*/ 169225 h 5665286"/>
                <a:gd name="connsiteX2" fmla="*/ 1649286 w 3869050"/>
                <a:gd name="connsiteY2" fmla="*/ 1560459 h 5665286"/>
                <a:gd name="connsiteX3" fmla="*/ 3869050 w 3869050"/>
                <a:gd name="connsiteY3" fmla="*/ 0 h 5665286"/>
                <a:gd name="connsiteX4" fmla="*/ 3869050 w 3869050"/>
                <a:gd name="connsiteY4" fmla="*/ 5299869 h 5665286"/>
                <a:gd name="connsiteX5" fmla="*/ 2401002 w 3869050"/>
                <a:gd name="connsiteY5" fmla="*/ 5117081 h 5665286"/>
                <a:gd name="connsiteX6" fmla="*/ 1862459 w 3869050"/>
                <a:gd name="connsiteY6" fmla="*/ 5105864 h 5665286"/>
                <a:gd name="connsiteX7" fmla="*/ 1938192 w 3869050"/>
                <a:gd name="connsiteY7" fmla="*/ 3770727 h 5665286"/>
                <a:gd name="connsiteX8" fmla="*/ 1236965 w 3869050"/>
                <a:gd name="connsiteY8" fmla="*/ 3739873 h 5665286"/>
                <a:gd name="connsiteX9" fmla="*/ 990133 w 3869050"/>
                <a:gd name="connsiteY9" fmla="*/ 5117082 h 5665286"/>
                <a:gd name="connsiteX10" fmla="*/ 481672 w 3869050"/>
                <a:gd name="connsiteY10" fmla="*/ 5097916 h 5665286"/>
                <a:gd name="connsiteX11" fmla="*/ 622691 w 3869050"/>
                <a:gd name="connsiteY11" fmla="*/ 3737068 h 5665286"/>
                <a:gd name="connsiteX12" fmla="*/ 0 w 3869050"/>
                <a:gd name="connsiteY12" fmla="*/ 3723043 h 5665286"/>
                <a:gd name="connsiteX13" fmla="*/ 8415 w 3869050"/>
                <a:gd name="connsiteY13" fmla="*/ 3131208 h 5665286"/>
                <a:gd name="connsiteX14" fmla="*/ 729277 w 3869050"/>
                <a:gd name="connsiteY14" fmla="*/ 3086329 h 5665286"/>
                <a:gd name="connsiteX15" fmla="*/ 863913 w 3869050"/>
                <a:gd name="connsiteY15" fmla="*/ 2110221 h 5665286"/>
                <a:gd name="connsiteX16" fmla="*/ 221589 w 3869050"/>
                <a:gd name="connsiteY16" fmla="*/ 2107416 h 5665286"/>
                <a:gd name="connsiteX17" fmla="*/ 221588 w 3869050"/>
                <a:gd name="connsiteY17" fmla="*/ 1574484 h 5665286"/>
                <a:gd name="connsiteX18" fmla="*/ 917205 w 3869050"/>
                <a:gd name="connsiteY18" fmla="*/ 1535215 h 5665286"/>
                <a:gd name="connsiteX19" fmla="*/ 1135216 w 3869050"/>
                <a:gd name="connsiteY19" fmla="*/ 168295 h 5665286"/>
                <a:gd name="connsiteX0" fmla="*/ 1135216 w 3869050"/>
                <a:gd name="connsiteY0" fmla="*/ 168295 h 5118693"/>
                <a:gd name="connsiteX1" fmla="*/ 1848435 w 3869050"/>
                <a:gd name="connsiteY1" fmla="*/ 169225 h 5118693"/>
                <a:gd name="connsiteX2" fmla="*/ 1649286 w 3869050"/>
                <a:gd name="connsiteY2" fmla="*/ 1560459 h 5118693"/>
                <a:gd name="connsiteX3" fmla="*/ 3869050 w 3869050"/>
                <a:gd name="connsiteY3" fmla="*/ 0 h 5118693"/>
                <a:gd name="connsiteX4" fmla="*/ 2660134 w 3869050"/>
                <a:gd name="connsiteY4" fmla="*/ 3790828 h 5118693"/>
                <a:gd name="connsiteX5" fmla="*/ 2401002 w 3869050"/>
                <a:gd name="connsiteY5" fmla="*/ 5117081 h 5118693"/>
                <a:gd name="connsiteX6" fmla="*/ 1862459 w 3869050"/>
                <a:gd name="connsiteY6" fmla="*/ 5105864 h 5118693"/>
                <a:gd name="connsiteX7" fmla="*/ 1938192 w 3869050"/>
                <a:gd name="connsiteY7" fmla="*/ 3770727 h 5118693"/>
                <a:gd name="connsiteX8" fmla="*/ 1236965 w 3869050"/>
                <a:gd name="connsiteY8" fmla="*/ 3739873 h 5118693"/>
                <a:gd name="connsiteX9" fmla="*/ 990133 w 3869050"/>
                <a:gd name="connsiteY9" fmla="*/ 5117082 h 5118693"/>
                <a:gd name="connsiteX10" fmla="*/ 481672 w 3869050"/>
                <a:gd name="connsiteY10" fmla="*/ 5097916 h 5118693"/>
                <a:gd name="connsiteX11" fmla="*/ 622691 w 3869050"/>
                <a:gd name="connsiteY11" fmla="*/ 3737068 h 5118693"/>
                <a:gd name="connsiteX12" fmla="*/ 0 w 3869050"/>
                <a:gd name="connsiteY12" fmla="*/ 3723043 h 5118693"/>
                <a:gd name="connsiteX13" fmla="*/ 8415 w 3869050"/>
                <a:gd name="connsiteY13" fmla="*/ 3131208 h 5118693"/>
                <a:gd name="connsiteX14" fmla="*/ 729277 w 3869050"/>
                <a:gd name="connsiteY14" fmla="*/ 3086329 h 5118693"/>
                <a:gd name="connsiteX15" fmla="*/ 863913 w 3869050"/>
                <a:gd name="connsiteY15" fmla="*/ 2110221 h 5118693"/>
                <a:gd name="connsiteX16" fmla="*/ 221589 w 3869050"/>
                <a:gd name="connsiteY16" fmla="*/ 2107416 h 5118693"/>
                <a:gd name="connsiteX17" fmla="*/ 221588 w 3869050"/>
                <a:gd name="connsiteY17" fmla="*/ 1574484 h 5118693"/>
                <a:gd name="connsiteX18" fmla="*/ 917205 w 3869050"/>
                <a:gd name="connsiteY18" fmla="*/ 1535215 h 5118693"/>
                <a:gd name="connsiteX19" fmla="*/ 1135216 w 3869050"/>
                <a:gd name="connsiteY19" fmla="*/ 168295 h 5118693"/>
                <a:gd name="connsiteX0" fmla="*/ 1135216 w 3869050"/>
                <a:gd name="connsiteY0" fmla="*/ 168295 h 5124529"/>
                <a:gd name="connsiteX1" fmla="*/ 1848435 w 3869050"/>
                <a:gd name="connsiteY1" fmla="*/ 169225 h 5124529"/>
                <a:gd name="connsiteX2" fmla="*/ 1649286 w 3869050"/>
                <a:gd name="connsiteY2" fmla="*/ 1560459 h 5124529"/>
                <a:gd name="connsiteX3" fmla="*/ 3869050 w 3869050"/>
                <a:gd name="connsiteY3" fmla="*/ 0 h 5124529"/>
                <a:gd name="connsiteX4" fmla="*/ 2660134 w 3869050"/>
                <a:gd name="connsiteY4" fmla="*/ 3790828 h 5124529"/>
                <a:gd name="connsiteX5" fmla="*/ 2401002 w 3869050"/>
                <a:gd name="connsiteY5" fmla="*/ 5117081 h 5124529"/>
                <a:gd name="connsiteX6" fmla="*/ 1862459 w 3869050"/>
                <a:gd name="connsiteY6" fmla="*/ 5105864 h 5124529"/>
                <a:gd name="connsiteX7" fmla="*/ 1938192 w 3869050"/>
                <a:gd name="connsiteY7" fmla="*/ 3770727 h 5124529"/>
                <a:gd name="connsiteX8" fmla="*/ 1236965 w 3869050"/>
                <a:gd name="connsiteY8" fmla="*/ 3739873 h 5124529"/>
                <a:gd name="connsiteX9" fmla="*/ 990133 w 3869050"/>
                <a:gd name="connsiteY9" fmla="*/ 5117082 h 5124529"/>
                <a:gd name="connsiteX10" fmla="*/ 481672 w 3869050"/>
                <a:gd name="connsiteY10" fmla="*/ 5097916 h 5124529"/>
                <a:gd name="connsiteX11" fmla="*/ 622691 w 3869050"/>
                <a:gd name="connsiteY11" fmla="*/ 3737068 h 5124529"/>
                <a:gd name="connsiteX12" fmla="*/ 0 w 3869050"/>
                <a:gd name="connsiteY12" fmla="*/ 3723043 h 5124529"/>
                <a:gd name="connsiteX13" fmla="*/ 8415 w 3869050"/>
                <a:gd name="connsiteY13" fmla="*/ 3131208 h 5124529"/>
                <a:gd name="connsiteX14" fmla="*/ 729277 w 3869050"/>
                <a:gd name="connsiteY14" fmla="*/ 3086329 h 5124529"/>
                <a:gd name="connsiteX15" fmla="*/ 863913 w 3869050"/>
                <a:gd name="connsiteY15" fmla="*/ 2110221 h 5124529"/>
                <a:gd name="connsiteX16" fmla="*/ 221589 w 3869050"/>
                <a:gd name="connsiteY16" fmla="*/ 2107416 h 5124529"/>
                <a:gd name="connsiteX17" fmla="*/ 221588 w 3869050"/>
                <a:gd name="connsiteY17" fmla="*/ 1574484 h 5124529"/>
                <a:gd name="connsiteX18" fmla="*/ 917205 w 3869050"/>
                <a:gd name="connsiteY18" fmla="*/ 1535215 h 5124529"/>
                <a:gd name="connsiteX19" fmla="*/ 1135216 w 3869050"/>
                <a:gd name="connsiteY19" fmla="*/ 168295 h 5124529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38192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2660134 w 3869050"/>
                <a:gd name="connsiteY4" fmla="*/ 3790828 h 5117082"/>
                <a:gd name="connsiteX5" fmla="*/ 2401002 w 3869050"/>
                <a:gd name="connsiteY5" fmla="*/ 5117081 h 5117082"/>
                <a:gd name="connsiteX6" fmla="*/ 1862459 w 3869050"/>
                <a:gd name="connsiteY6" fmla="*/ 5105864 h 5117082"/>
                <a:gd name="connsiteX7" fmla="*/ 1963436 w 3869050"/>
                <a:gd name="connsiteY7" fmla="*/ 3770727 h 5117082"/>
                <a:gd name="connsiteX8" fmla="*/ 1236965 w 3869050"/>
                <a:gd name="connsiteY8" fmla="*/ 3739873 h 5117082"/>
                <a:gd name="connsiteX9" fmla="*/ 990133 w 3869050"/>
                <a:gd name="connsiteY9" fmla="*/ 5117082 h 5117082"/>
                <a:gd name="connsiteX10" fmla="*/ 481672 w 3869050"/>
                <a:gd name="connsiteY10" fmla="*/ 5097916 h 5117082"/>
                <a:gd name="connsiteX11" fmla="*/ 622691 w 3869050"/>
                <a:gd name="connsiteY11" fmla="*/ 3737068 h 5117082"/>
                <a:gd name="connsiteX12" fmla="*/ 0 w 3869050"/>
                <a:gd name="connsiteY12" fmla="*/ 3723043 h 5117082"/>
                <a:gd name="connsiteX13" fmla="*/ 8415 w 3869050"/>
                <a:gd name="connsiteY13" fmla="*/ 3131208 h 5117082"/>
                <a:gd name="connsiteX14" fmla="*/ 729277 w 3869050"/>
                <a:gd name="connsiteY14" fmla="*/ 3086329 h 5117082"/>
                <a:gd name="connsiteX15" fmla="*/ 863913 w 3869050"/>
                <a:gd name="connsiteY15" fmla="*/ 2110221 h 5117082"/>
                <a:gd name="connsiteX16" fmla="*/ 221589 w 3869050"/>
                <a:gd name="connsiteY16" fmla="*/ 2107416 h 5117082"/>
                <a:gd name="connsiteX17" fmla="*/ 221588 w 3869050"/>
                <a:gd name="connsiteY17" fmla="*/ 1574484 h 5117082"/>
                <a:gd name="connsiteX18" fmla="*/ 917205 w 3869050"/>
                <a:gd name="connsiteY18" fmla="*/ 1535215 h 5117082"/>
                <a:gd name="connsiteX19" fmla="*/ 1135216 w 3869050"/>
                <a:gd name="connsiteY19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0134 w 3869050"/>
                <a:gd name="connsiteY5" fmla="*/ 3790828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8549 w 3869050"/>
                <a:gd name="connsiteY5" fmla="*/ 3737535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869050"/>
                <a:gd name="connsiteY0" fmla="*/ 168295 h 5117082"/>
                <a:gd name="connsiteX1" fmla="*/ 1848435 w 3869050"/>
                <a:gd name="connsiteY1" fmla="*/ 169225 h 5117082"/>
                <a:gd name="connsiteX2" fmla="*/ 1649286 w 3869050"/>
                <a:gd name="connsiteY2" fmla="*/ 1560459 h 5117082"/>
                <a:gd name="connsiteX3" fmla="*/ 3869050 w 3869050"/>
                <a:gd name="connsiteY3" fmla="*/ 0 h 5117082"/>
                <a:gd name="connsiteX4" fmla="*/ 3343451 w 3869050"/>
                <a:gd name="connsiteY4" fmla="*/ 3737068 h 5117082"/>
                <a:gd name="connsiteX5" fmla="*/ 2668549 w 3869050"/>
                <a:gd name="connsiteY5" fmla="*/ 3757169 h 5117082"/>
                <a:gd name="connsiteX6" fmla="*/ 2401002 w 3869050"/>
                <a:gd name="connsiteY6" fmla="*/ 5117081 h 5117082"/>
                <a:gd name="connsiteX7" fmla="*/ 1862459 w 3869050"/>
                <a:gd name="connsiteY7" fmla="*/ 5105864 h 5117082"/>
                <a:gd name="connsiteX8" fmla="*/ 1963436 w 3869050"/>
                <a:gd name="connsiteY8" fmla="*/ 3770727 h 5117082"/>
                <a:gd name="connsiteX9" fmla="*/ 1236965 w 3869050"/>
                <a:gd name="connsiteY9" fmla="*/ 3739873 h 5117082"/>
                <a:gd name="connsiteX10" fmla="*/ 990133 w 3869050"/>
                <a:gd name="connsiteY10" fmla="*/ 5117082 h 5117082"/>
                <a:gd name="connsiteX11" fmla="*/ 481672 w 3869050"/>
                <a:gd name="connsiteY11" fmla="*/ 5097916 h 5117082"/>
                <a:gd name="connsiteX12" fmla="*/ 622691 w 3869050"/>
                <a:gd name="connsiteY12" fmla="*/ 3737068 h 5117082"/>
                <a:gd name="connsiteX13" fmla="*/ 0 w 3869050"/>
                <a:gd name="connsiteY13" fmla="*/ 3723043 h 5117082"/>
                <a:gd name="connsiteX14" fmla="*/ 8415 w 3869050"/>
                <a:gd name="connsiteY14" fmla="*/ 3131208 h 5117082"/>
                <a:gd name="connsiteX15" fmla="*/ 729277 w 3869050"/>
                <a:gd name="connsiteY15" fmla="*/ 3086329 h 5117082"/>
                <a:gd name="connsiteX16" fmla="*/ 863913 w 3869050"/>
                <a:gd name="connsiteY16" fmla="*/ 2110221 h 5117082"/>
                <a:gd name="connsiteX17" fmla="*/ 221589 w 3869050"/>
                <a:gd name="connsiteY17" fmla="*/ 2107416 h 5117082"/>
                <a:gd name="connsiteX18" fmla="*/ 221588 w 3869050"/>
                <a:gd name="connsiteY18" fmla="*/ 1574484 h 5117082"/>
                <a:gd name="connsiteX19" fmla="*/ 917205 w 3869050"/>
                <a:gd name="connsiteY19" fmla="*/ 1535215 h 5117082"/>
                <a:gd name="connsiteX20" fmla="*/ 1135216 w 3869050"/>
                <a:gd name="connsiteY20" fmla="*/ 168295 h 5117082"/>
                <a:gd name="connsiteX0" fmla="*/ 1135216 w 3949790"/>
                <a:gd name="connsiteY0" fmla="*/ 168295 h 5117082"/>
                <a:gd name="connsiteX1" fmla="*/ 1848435 w 3949790"/>
                <a:gd name="connsiteY1" fmla="*/ 169225 h 5117082"/>
                <a:gd name="connsiteX2" fmla="*/ 1649286 w 3949790"/>
                <a:gd name="connsiteY2" fmla="*/ 1560459 h 5117082"/>
                <a:gd name="connsiteX3" fmla="*/ 3869050 w 3949790"/>
                <a:gd name="connsiteY3" fmla="*/ 0 h 5117082"/>
                <a:gd name="connsiteX4" fmla="*/ 3424793 w 3949790"/>
                <a:gd name="connsiteY4" fmla="*/ 3111573 h 5117082"/>
                <a:gd name="connsiteX5" fmla="*/ 3343451 w 3949790"/>
                <a:gd name="connsiteY5" fmla="*/ 3737068 h 5117082"/>
                <a:gd name="connsiteX6" fmla="*/ 2668549 w 3949790"/>
                <a:gd name="connsiteY6" fmla="*/ 3757169 h 5117082"/>
                <a:gd name="connsiteX7" fmla="*/ 2401002 w 3949790"/>
                <a:gd name="connsiteY7" fmla="*/ 5117081 h 5117082"/>
                <a:gd name="connsiteX8" fmla="*/ 1862459 w 3949790"/>
                <a:gd name="connsiteY8" fmla="*/ 5105864 h 5117082"/>
                <a:gd name="connsiteX9" fmla="*/ 1963436 w 3949790"/>
                <a:gd name="connsiteY9" fmla="*/ 3770727 h 5117082"/>
                <a:gd name="connsiteX10" fmla="*/ 1236965 w 3949790"/>
                <a:gd name="connsiteY10" fmla="*/ 3739873 h 5117082"/>
                <a:gd name="connsiteX11" fmla="*/ 990133 w 3949790"/>
                <a:gd name="connsiteY11" fmla="*/ 5117082 h 5117082"/>
                <a:gd name="connsiteX12" fmla="*/ 481672 w 3949790"/>
                <a:gd name="connsiteY12" fmla="*/ 5097916 h 5117082"/>
                <a:gd name="connsiteX13" fmla="*/ 622691 w 3949790"/>
                <a:gd name="connsiteY13" fmla="*/ 3737068 h 5117082"/>
                <a:gd name="connsiteX14" fmla="*/ 0 w 3949790"/>
                <a:gd name="connsiteY14" fmla="*/ 3723043 h 5117082"/>
                <a:gd name="connsiteX15" fmla="*/ 8415 w 3949790"/>
                <a:gd name="connsiteY15" fmla="*/ 3131208 h 5117082"/>
                <a:gd name="connsiteX16" fmla="*/ 729277 w 3949790"/>
                <a:gd name="connsiteY16" fmla="*/ 3086329 h 5117082"/>
                <a:gd name="connsiteX17" fmla="*/ 863913 w 3949790"/>
                <a:gd name="connsiteY17" fmla="*/ 2110221 h 5117082"/>
                <a:gd name="connsiteX18" fmla="*/ 221589 w 3949790"/>
                <a:gd name="connsiteY18" fmla="*/ 2107416 h 5117082"/>
                <a:gd name="connsiteX19" fmla="*/ 221588 w 3949790"/>
                <a:gd name="connsiteY19" fmla="*/ 1574484 h 5117082"/>
                <a:gd name="connsiteX20" fmla="*/ 917205 w 3949790"/>
                <a:gd name="connsiteY20" fmla="*/ 1535215 h 5117082"/>
                <a:gd name="connsiteX21" fmla="*/ 1135216 w 3949790"/>
                <a:gd name="connsiteY21" fmla="*/ 168295 h 5117082"/>
                <a:gd name="connsiteX0" fmla="*/ 1135216 w 3949790"/>
                <a:gd name="connsiteY0" fmla="*/ 168295 h 5117082"/>
                <a:gd name="connsiteX1" fmla="*/ 1848435 w 3949790"/>
                <a:gd name="connsiteY1" fmla="*/ 169225 h 5117082"/>
                <a:gd name="connsiteX2" fmla="*/ 1649286 w 3949790"/>
                <a:gd name="connsiteY2" fmla="*/ 1560459 h 5117082"/>
                <a:gd name="connsiteX3" fmla="*/ 3869050 w 3949790"/>
                <a:gd name="connsiteY3" fmla="*/ 0 h 5117082"/>
                <a:gd name="connsiteX4" fmla="*/ 3424793 w 3949790"/>
                <a:gd name="connsiteY4" fmla="*/ 3111573 h 5117082"/>
                <a:gd name="connsiteX5" fmla="*/ 3343451 w 3949790"/>
                <a:gd name="connsiteY5" fmla="*/ 3737068 h 5117082"/>
                <a:gd name="connsiteX6" fmla="*/ 2668549 w 3949790"/>
                <a:gd name="connsiteY6" fmla="*/ 3757169 h 5117082"/>
                <a:gd name="connsiteX7" fmla="*/ 2401002 w 3949790"/>
                <a:gd name="connsiteY7" fmla="*/ 5117081 h 5117082"/>
                <a:gd name="connsiteX8" fmla="*/ 1862459 w 3949790"/>
                <a:gd name="connsiteY8" fmla="*/ 5105864 h 5117082"/>
                <a:gd name="connsiteX9" fmla="*/ 1963436 w 3949790"/>
                <a:gd name="connsiteY9" fmla="*/ 3770727 h 5117082"/>
                <a:gd name="connsiteX10" fmla="*/ 1236965 w 3949790"/>
                <a:gd name="connsiteY10" fmla="*/ 3739873 h 5117082"/>
                <a:gd name="connsiteX11" fmla="*/ 990133 w 3949790"/>
                <a:gd name="connsiteY11" fmla="*/ 5117082 h 5117082"/>
                <a:gd name="connsiteX12" fmla="*/ 481672 w 3949790"/>
                <a:gd name="connsiteY12" fmla="*/ 5097916 h 5117082"/>
                <a:gd name="connsiteX13" fmla="*/ 622691 w 3949790"/>
                <a:gd name="connsiteY13" fmla="*/ 3737068 h 5117082"/>
                <a:gd name="connsiteX14" fmla="*/ 0 w 3949790"/>
                <a:gd name="connsiteY14" fmla="*/ 3723043 h 5117082"/>
                <a:gd name="connsiteX15" fmla="*/ 8415 w 3949790"/>
                <a:gd name="connsiteY15" fmla="*/ 3131208 h 5117082"/>
                <a:gd name="connsiteX16" fmla="*/ 729277 w 3949790"/>
                <a:gd name="connsiteY16" fmla="*/ 3086329 h 5117082"/>
                <a:gd name="connsiteX17" fmla="*/ 863913 w 3949790"/>
                <a:gd name="connsiteY17" fmla="*/ 2110221 h 5117082"/>
                <a:gd name="connsiteX18" fmla="*/ 221589 w 3949790"/>
                <a:gd name="connsiteY18" fmla="*/ 2107416 h 5117082"/>
                <a:gd name="connsiteX19" fmla="*/ 221588 w 3949790"/>
                <a:gd name="connsiteY19" fmla="*/ 1574484 h 5117082"/>
                <a:gd name="connsiteX20" fmla="*/ 917205 w 3949790"/>
                <a:gd name="connsiteY20" fmla="*/ 1535215 h 5117082"/>
                <a:gd name="connsiteX21" fmla="*/ 1135216 w 3949790"/>
                <a:gd name="connsiteY21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14340"/>
                <a:gd name="connsiteY0" fmla="*/ 168295 h 5117082"/>
                <a:gd name="connsiteX1" fmla="*/ 1848435 w 3914340"/>
                <a:gd name="connsiteY1" fmla="*/ 169225 h 5117082"/>
                <a:gd name="connsiteX2" fmla="*/ 1649286 w 3914340"/>
                <a:gd name="connsiteY2" fmla="*/ 1560459 h 5117082"/>
                <a:gd name="connsiteX3" fmla="*/ 3869050 w 3914340"/>
                <a:gd name="connsiteY3" fmla="*/ 0 h 5117082"/>
                <a:gd name="connsiteX4" fmla="*/ 2796494 w 3914340"/>
                <a:gd name="connsiteY4" fmla="*/ 3063890 h 5117082"/>
                <a:gd name="connsiteX5" fmla="*/ 3424793 w 3914340"/>
                <a:gd name="connsiteY5" fmla="*/ 3111573 h 5117082"/>
                <a:gd name="connsiteX6" fmla="*/ 3343451 w 3914340"/>
                <a:gd name="connsiteY6" fmla="*/ 3737068 h 5117082"/>
                <a:gd name="connsiteX7" fmla="*/ 2668549 w 3914340"/>
                <a:gd name="connsiteY7" fmla="*/ 3757169 h 5117082"/>
                <a:gd name="connsiteX8" fmla="*/ 2401002 w 3914340"/>
                <a:gd name="connsiteY8" fmla="*/ 5117081 h 5117082"/>
                <a:gd name="connsiteX9" fmla="*/ 1862459 w 3914340"/>
                <a:gd name="connsiteY9" fmla="*/ 5105864 h 5117082"/>
                <a:gd name="connsiteX10" fmla="*/ 1963436 w 3914340"/>
                <a:gd name="connsiteY10" fmla="*/ 3770727 h 5117082"/>
                <a:gd name="connsiteX11" fmla="*/ 1236965 w 3914340"/>
                <a:gd name="connsiteY11" fmla="*/ 3739873 h 5117082"/>
                <a:gd name="connsiteX12" fmla="*/ 990133 w 3914340"/>
                <a:gd name="connsiteY12" fmla="*/ 5117082 h 5117082"/>
                <a:gd name="connsiteX13" fmla="*/ 481672 w 3914340"/>
                <a:gd name="connsiteY13" fmla="*/ 5097916 h 5117082"/>
                <a:gd name="connsiteX14" fmla="*/ 622691 w 3914340"/>
                <a:gd name="connsiteY14" fmla="*/ 3737068 h 5117082"/>
                <a:gd name="connsiteX15" fmla="*/ 0 w 3914340"/>
                <a:gd name="connsiteY15" fmla="*/ 3723043 h 5117082"/>
                <a:gd name="connsiteX16" fmla="*/ 8415 w 3914340"/>
                <a:gd name="connsiteY16" fmla="*/ 3131208 h 5117082"/>
                <a:gd name="connsiteX17" fmla="*/ 729277 w 3914340"/>
                <a:gd name="connsiteY17" fmla="*/ 3086329 h 5117082"/>
                <a:gd name="connsiteX18" fmla="*/ 863913 w 3914340"/>
                <a:gd name="connsiteY18" fmla="*/ 2110221 h 5117082"/>
                <a:gd name="connsiteX19" fmla="*/ 221589 w 3914340"/>
                <a:gd name="connsiteY19" fmla="*/ 2107416 h 5117082"/>
                <a:gd name="connsiteX20" fmla="*/ 221588 w 3914340"/>
                <a:gd name="connsiteY20" fmla="*/ 1574484 h 5117082"/>
                <a:gd name="connsiteX21" fmla="*/ 917205 w 3914340"/>
                <a:gd name="connsiteY21" fmla="*/ 1535215 h 5117082"/>
                <a:gd name="connsiteX22" fmla="*/ 1135216 w 3914340"/>
                <a:gd name="connsiteY22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06873"/>
                <a:gd name="connsiteY0" fmla="*/ 168295 h 5117082"/>
                <a:gd name="connsiteX1" fmla="*/ 1848435 w 3906873"/>
                <a:gd name="connsiteY1" fmla="*/ 169225 h 5117082"/>
                <a:gd name="connsiteX2" fmla="*/ 1649286 w 3906873"/>
                <a:gd name="connsiteY2" fmla="*/ 1560459 h 5117082"/>
                <a:gd name="connsiteX3" fmla="*/ 3869050 w 3906873"/>
                <a:gd name="connsiteY3" fmla="*/ 0 h 5117082"/>
                <a:gd name="connsiteX4" fmla="*/ 2928324 w 3906873"/>
                <a:gd name="connsiteY4" fmla="*/ 2129856 h 5117082"/>
                <a:gd name="connsiteX5" fmla="*/ 2796494 w 3906873"/>
                <a:gd name="connsiteY5" fmla="*/ 3063890 h 5117082"/>
                <a:gd name="connsiteX6" fmla="*/ 3424793 w 3906873"/>
                <a:gd name="connsiteY6" fmla="*/ 3111573 h 5117082"/>
                <a:gd name="connsiteX7" fmla="*/ 3343451 w 3906873"/>
                <a:gd name="connsiteY7" fmla="*/ 3737068 h 5117082"/>
                <a:gd name="connsiteX8" fmla="*/ 2668549 w 3906873"/>
                <a:gd name="connsiteY8" fmla="*/ 3757169 h 5117082"/>
                <a:gd name="connsiteX9" fmla="*/ 2401002 w 3906873"/>
                <a:gd name="connsiteY9" fmla="*/ 5117081 h 5117082"/>
                <a:gd name="connsiteX10" fmla="*/ 1862459 w 3906873"/>
                <a:gd name="connsiteY10" fmla="*/ 5105864 h 5117082"/>
                <a:gd name="connsiteX11" fmla="*/ 1963436 w 3906873"/>
                <a:gd name="connsiteY11" fmla="*/ 3770727 h 5117082"/>
                <a:gd name="connsiteX12" fmla="*/ 1236965 w 3906873"/>
                <a:gd name="connsiteY12" fmla="*/ 3739873 h 5117082"/>
                <a:gd name="connsiteX13" fmla="*/ 990133 w 3906873"/>
                <a:gd name="connsiteY13" fmla="*/ 5117082 h 5117082"/>
                <a:gd name="connsiteX14" fmla="*/ 481672 w 3906873"/>
                <a:gd name="connsiteY14" fmla="*/ 5097916 h 5117082"/>
                <a:gd name="connsiteX15" fmla="*/ 622691 w 3906873"/>
                <a:gd name="connsiteY15" fmla="*/ 3737068 h 5117082"/>
                <a:gd name="connsiteX16" fmla="*/ 0 w 3906873"/>
                <a:gd name="connsiteY16" fmla="*/ 3723043 h 5117082"/>
                <a:gd name="connsiteX17" fmla="*/ 8415 w 3906873"/>
                <a:gd name="connsiteY17" fmla="*/ 3131208 h 5117082"/>
                <a:gd name="connsiteX18" fmla="*/ 729277 w 3906873"/>
                <a:gd name="connsiteY18" fmla="*/ 3086329 h 5117082"/>
                <a:gd name="connsiteX19" fmla="*/ 863913 w 3906873"/>
                <a:gd name="connsiteY19" fmla="*/ 2110221 h 5117082"/>
                <a:gd name="connsiteX20" fmla="*/ 221589 w 3906873"/>
                <a:gd name="connsiteY20" fmla="*/ 2107416 h 5117082"/>
                <a:gd name="connsiteX21" fmla="*/ 221588 w 3906873"/>
                <a:gd name="connsiteY21" fmla="*/ 1574484 h 5117082"/>
                <a:gd name="connsiteX22" fmla="*/ 917205 w 3906873"/>
                <a:gd name="connsiteY22" fmla="*/ 1535215 h 5117082"/>
                <a:gd name="connsiteX23" fmla="*/ 1135216 w 3906873"/>
                <a:gd name="connsiteY23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47639"/>
                <a:gd name="connsiteY0" fmla="*/ 168295 h 5117082"/>
                <a:gd name="connsiteX1" fmla="*/ 1848435 w 3947639"/>
                <a:gd name="connsiteY1" fmla="*/ 169225 h 5117082"/>
                <a:gd name="connsiteX2" fmla="*/ 1649286 w 3947639"/>
                <a:gd name="connsiteY2" fmla="*/ 1560459 h 5117082"/>
                <a:gd name="connsiteX3" fmla="*/ 3869050 w 3947639"/>
                <a:gd name="connsiteY3" fmla="*/ 0 h 5117082"/>
                <a:gd name="connsiteX4" fmla="*/ 3553820 w 3947639"/>
                <a:gd name="connsiteY4" fmla="*/ 2141075 h 5117082"/>
                <a:gd name="connsiteX5" fmla="*/ 2928324 w 3947639"/>
                <a:gd name="connsiteY5" fmla="*/ 2129856 h 5117082"/>
                <a:gd name="connsiteX6" fmla="*/ 2796494 w 3947639"/>
                <a:gd name="connsiteY6" fmla="*/ 3063890 h 5117082"/>
                <a:gd name="connsiteX7" fmla="*/ 3424793 w 3947639"/>
                <a:gd name="connsiteY7" fmla="*/ 3111573 h 5117082"/>
                <a:gd name="connsiteX8" fmla="*/ 3343451 w 3947639"/>
                <a:gd name="connsiteY8" fmla="*/ 3737068 h 5117082"/>
                <a:gd name="connsiteX9" fmla="*/ 2668549 w 3947639"/>
                <a:gd name="connsiteY9" fmla="*/ 3757169 h 5117082"/>
                <a:gd name="connsiteX10" fmla="*/ 2401002 w 3947639"/>
                <a:gd name="connsiteY10" fmla="*/ 5117081 h 5117082"/>
                <a:gd name="connsiteX11" fmla="*/ 1862459 w 3947639"/>
                <a:gd name="connsiteY11" fmla="*/ 5105864 h 5117082"/>
                <a:gd name="connsiteX12" fmla="*/ 1963436 w 3947639"/>
                <a:gd name="connsiteY12" fmla="*/ 3770727 h 5117082"/>
                <a:gd name="connsiteX13" fmla="*/ 1236965 w 3947639"/>
                <a:gd name="connsiteY13" fmla="*/ 3739873 h 5117082"/>
                <a:gd name="connsiteX14" fmla="*/ 990133 w 3947639"/>
                <a:gd name="connsiteY14" fmla="*/ 5117082 h 5117082"/>
                <a:gd name="connsiteX15" fmla="*/ 481672 w 3947639"/>
                <a:gd name="connsiteY15" fmla="*/ 5097916 h 5117082"/>
                <a:gd name="connsiteX16" fmla="*/ 622691 w 3947639"/>
                <a:gd name="connsiteY16" fmla="*/ 3737068 h 5117082"/>
                <a:gd name="connsiteX17" fmla="*/ 0 w 3947639"/>
                <a:gd name="connsiteY17" fmla="*/ 3723043 h 5117082"/>
                <a:gd name="connsiteX18" fmla="*/ 8415 w 3947639"/>
                <a:gd name="connsiteY18" fmla="*/ 3131208 h 5117082"/>
                <a:gd name="connsiteX19" fmla="*/ 729277 w 3947639"/>
                <a:gd name="connsiteY19" fmla="*/ 3086329 h 5117082"/>
                <a:gd name="connsiteX20" fmla="*/ 863913 w 3947639"/>
                <a:gd name="connsiteY20" fmla="*/ 2110221 h 5117082"/>
                <a:gd name="connsiteX21" fmla="*/ 221589 w 3947639"/>
                <a:gd name="connsiteY21" fmla="*/ 2107416 h 5117082"/>
                <a:gd name="connsiteX22" fmla="*/ 221588 w 3947639"/>
                <a:gd name="connsiteY22" fmla="*/ 1574484 h 5117082"/>
                <a:gd name="connsiteX23" fmla="*/ 917205 w 3947639"/>
                <a:gd name="connsiteY23" fmla="*/ 1535215 h 5117082"/>
                <a:gd name="connsiteX24" fmla="*/ 1135216 w 3947639"/>
                <a:gd name="connsiteY24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78965"/>
                <a:gd name="connsiteY0" fmla="*/ 168295 h 5117082"/>
                <a:gd name="connsiteX1" fmla="*/ 1848435 w 3978965"/>
                <a:gd name="connsiteY1" fmla="*/ 169225 h 5117082"/>
                <a:gd name="connsiteX2" fmla="*/ 1649286 w 3978965"/>
                <a:gd name="connsiteY2" fmla="*/ 1560459 h 5117082"/>
                <a:gd name="connsiteX3" fmla="*/ 3869050 w 3978965"/>
                <a:gd name="connsiteY3" fmla="*/ 0 h 5117082"/>
                <a:gd name="connsiteX4" fmla="*/ 3615528 w 3978965"/>
                <a:gd name="connsiteY4" fmla="*/ 1591313 h 5117082"/>
                <a:gd name="connsiteX5" fmla="*/ 3553820 w 3978965"/>
                <a:gd name="connsiteY5" fmla="*/ 2141075 h 5117082"/>
                <a:gd name="connsiteX6" fmla="*/ 2928324 w 3978965"/>
                <a:gd name="connsiteY6" fmla="*/ 2129856 h 5117082"/>
                <a:gd name="connsiteX7" fmla="*/ 2796494 w 3978965"/>
                <a:gd name="connsiteY7" fmla="*/ 3063890 h 5117082"/>
                <a:gd name="connsiteX8" fmla="*/ 3424793 w 3978965"/>
                <a:gd name="connsiteY8" fmla="*/ 3111573 h 5117082"/>
                <a:gd name="connsiteX9" fmla="*/ 3343451 w 3978965"/>
                <a:gd name="connsiteY9" fmla="*/ 3737068 h 5117082"/>
                <a:gd name="connsiteX10" fmla="*/ 2668549 w 3978965"/>
                <a:gd name="connsiteY10" fmla="*/ 3757169 h 5117082"/>
                <a:gd name="connsiteX11" fmla="*/ 2401002 w 3978965"/>
                <a:gd name="connsiteY11" fmla="*/ 5117081 h 5117082"/>
                <a:gd name="connsiteX12" fmla="*/ 1862459 w 3978965"/>
                <a:gd name="connsiteY12" fmla="*/ 5105864 h 5117082"/>
                <a:gd name="connsiteX13" fmla="*/ 1963436 w 3978965"/>
                <a:gd name="connsiteY13" fmla="*/ 3770727 h 5117082"/>
                <a:gd name="connsiteX14" fmla="*/ 1236965 w 3978965"/>
                <a:gd name="connsiteY14" fmla="*/ 3739873 h 5117082"/>
                <a:gd name="connsiteX15" fmla="*/ 990133 w 3978965"/>
                <a:gd name="connsiteY15" fmla="*/ 5117082 h 5117082"/>
                <a:gd name="connsiteX16" fmla="*/ 481672 w 3978965"/>
                <a:gd name="connsiteY16" fmla="*/ 5097916 h 5117082"/>
                <a:gd name="connsiteX17" fmla="*/ 622691 w 3978965"/>
                <a:gd name="connsiteY17" fmla="*/ 3737068 h 5117082"/>
                <a:gd name="connsiteX18" fmla="*/ 0 w 3978965"/>
                <a:gd name="connsiteY18" fmla="*/ 3723043 h 5117082"/>
                <a:gd name="connsiteX19" fmla="*/ 8415 w 3978965"/>
                <a:gd name="connsiteY19" fmla="*/ 3131208 h 5117082"/>
                <a:gd name="connsiteX20" fmla="*/ 729277 w 3978965"/>
                <a:gd name="connsiteY20" fmla="*/ 3086329 h 5117082"/>
                <a:gd name="connsiteX21" fmla="*/ 863913 w 3978965"/>
                <a:gd name="connsiteY21" fmla="*/ 2110221 h 5117082"/>
                <a:gd name="connsiteX22" fmla="*/ 221589 w 3978965"/>
                <a:gd name="connsiteY22" fmla="*/ 2107416 h 5117082"/>
                <a:gd name="connsiteX23" fmla="*/ 221588 w 3978965"/>
                <a:gd name="connsiteY23" fmla="*/ 1574484 h 5117082"/>
                <a:gd name="connsiteX24" fmla="*/ 917205 w 3978965"/>
                <a:gd name="connsiteY24" fmla="*/ 1535215 h 5117082"/>
                <a:gd name="connsiteX25" fmla="*/ 1135216 w 3978965"/>
                <a:gd name="connsiteY25" fmla="*/ 168295 h 5117082"/>
                <a:gd name="connsiteX0" fmla="*/ 1135216 w 3980159"/>
                <a:gd name="connsiteY0" fmla="*/ 168295 h 5117082"/>
                <a:gd name="connsiteX1" fmla="*/ 1848435 w 3980159"/>
                <a:gd name="connsiteY1" fmla="*/ 169225 h 5117082"/>
                <a:gd name="connsiteX2" fmla="*/ 1649286 w 3980159"/>
                <a:gd name="connsiteY2" fmla="*/ 1560459 h 5117082"/>
                <a:gd name="connsiteX3" fmla="*/ 3869050 w 3980159"/>
                <a:gd name="connsiteY3" fmla="*/ 0 h 5117082"/>
                <a:gd name="connsiteX4" fmla="*/ 3623943 w 3980159"/>
                <a:gd name="connsiteY4" fmla="*/ 1560459 h 5117082"/>
                <a:gd name="connsiteX5" fmla="*/ 3553820 w 3980159"/>
                <a:gd name="connsiteY5" fmla="*/ 2141075 h 5117082"/>
                <a:gd name="connsiteX6" fmla="*/ 2928324 w 3980159"/>
                <a:gd name="connsiteY6" fmla="*/ 2129856 h 5117082"/>
                <a:gd name="connsiteX7" fmla="*/ 2796494 w 3980159"/>
                <a:gd name="connsiteY7" fmla="*/ 3063890 h 5117082"/>
                <a:gd name="connsiteX8" fmla="*/ 3424793 w 3980159"/>
                <a:gd name="connsiteY8" fmla="*/ 3111573 h 5117082"/>
                <a:gd name="connsiteX9" fmla="*/ 3343451 w 3980159"/>
                <a:gd name="connsiteY9" fmla="*/ 3737068 h 5117082"/>
                <a:gd name="connsiteX10" fmla="*/ 2668549 w 3980159"/>
                <a:gd name="connsiteY10" fmla="*/ 3757169 h 5117082"/>
                <a:gd name="connsiteX11" fmla="*/ 2401002 w 3980159"/>
                <a:gd name="connsiteY11" fmla="*/ 5117081 h 5117082"/>
                <a:gd name="connsiteX12" fmla="*/ 1862459 w 3980159"/>
                <a:gd name="connsiteY12" fmla="*/ 5105864 h 5117082"/>
                <a:gd name="connsiteX13" fmla="*/ 1963436 w 3980159"/>
                <a:gd name="connsiteY13" fmla="*/ 3770727 h 5117082"/>
                <a:gd name="connsiteX14" fmla="*/ 1236965 w 3980159"/>
                <a:gd name="connsiteY14" fmla="*/ 3739873 h 5117082"/>
                <a:gd name="connsiteX15" fmla="*/ 990133 w 3980159"/>
                <a:gd name="connsiteY15" fmla="*/ 5117082 h 5117082"/>
                <a:gd name="connsiteX16" fmla="*/ 481672 w 3980159"/>
                <a:gd name="connsiteY16" fmla="*/ 5097916 h 5117082"/>
                <a:gd name="connsiteX17" fmla="*/ 622691 w 3980159"/>
                <a:gd name="connsiteY17" fmla="*/ 3737068 h 5117082"/>
                <a:gd name="connsiteX18" fmla="*/ 0 w 3980159"/>
                <a:gd name="connsiteY18" fmla="*/ 3723043 h 5117082"/>
                <a:gd name="connsiteX19" fmla="*/ 8415 w 3980159"/>
                <a:gd name="connsiteY19" fmla="*/ 3131208 h 5117082"/>
                <a:gd name="connsiteX20" fmla="*/ 729277 w 3980159"/>
                <a:gd name="connsiteY20" fmla="*/ 3086329 h 5117082"/>
                <a:gd name="connsiteX21" fmla="*/ 863913 w 3980159"/>
                <a:gd name="connsiteY21" fmla="*/ 2110221 h 5117082"/>
                <a:gd name="connsiteX22" fmla="*/ 221589 w 3980159"/>
                <a:gd name="connsiteY22" fmla="*/ 2107416 h 5117082"/>
                <a:gd name="connsiteX23" fmla="*/ 221588 w 3980159"/>
                <a:gd name="connsiteY23" fmla="*/ 1574484 h 5117082"/>
                <a:gd name="connsiteX24" fmla="*/ 917205 w 3980159"/>
                <a:gd name="connsiteY24" fmla="*/ 1535215 h 5117082"/>
                <a:gd name="connsiteX25" fmla="*/ 1135216 w 3980159"/>
                <a:gd name="connsiteY25" fmla="*/ 168295 h 5117082"/>
                <a:gd name="connsiteX0" fmla="*/ 1135216 w 3930905"/>
                <a:gd name="connsiteY0" fmla="*/ 168295 h 5117082"/>
                <a:gd name="connsiteX1" fmla="*/ 1848435 w 3930905"/>
                <a:gd name="connsiteY1" fmla="*/ 169225 h 5117082"/>
                <a:gd name="connsiteX2" fmla="*/ 1649286 w 3930905"/>
                <a:gd name="connsiteY2" fmla="*/ 1560459 h 5117082"/>
                <a:gd name="connsiteX3" fmla="*/ 3869050 w 3930905"/>
                <a:gd name="connsiteY3" fmla="*/ 0 h 5117082"/>
                <a:gd name="connsiteX4" fmla="*/ 3623943 w 3930905"/>
                <a:gd name="connsiteY4" fmla="*/ 1560459 h 5117082"/>
                <a:gd name="connsiteX5" fmla="*/ 3553820 w 3930905"/>
                <a:gd name="connsiteY5" fmla="*/ 2141075 h 5117082"/>
                <a:gd name="connsiteX6" fmla="*/ 2928324 w 3930905"/>
                <a:gd name="connsiteY6" fmla="*/ 2129856 h 5117082"/>
                <a:gd name="connsiteX7" fmla="*/ 2796494 w 3930905"/>
                <a:gd name="connsiteY7" fmla="*/ 3063890 h 5117082"/>
                <a:gd name="connsiteX8" fmla="*/ 3424793 w 3930905"/>
                <a:gd name="connsiteY8" fmla="*/ 3111573 h 5117082"/>
                <a:gd name="connsiteX9" fmla="*/ 3343451 w 3930905"/>
                <a:gd name="connsiteY9" fmla="*/ 3737068 h 5117082"/>
                <a:gd name="connsiteX10" fmla="*/ 2668549 w 3930905"/>
                <a:gd name="connsiteY10" fmla="*/ 3757169 h 5117082"/>
                <a:gd name="connsiteX11" fmla="*/ 2401002 w 3930905"/>
                <a:gd name="connsiteY11" fmla="*/ 5117081 h 5117082"/>
                <a:gd name="connsiteX12" fmla="*/ 1862459 w 3930905"/>
                <a:gd name="connsiteY12" fmla="*/ 5105864 h 5117082"/>
                <a:gd name="connsiteX13" fmla="*/ 1963436 w 3930905"/>
                <a:gd name="connsiteY13" fmla="*/ 3770727 h 5117082"/>
                <a:gd name="connsiteX14" fmla="*/ 1236965 w 3930905"/>
                <a:gd name="connsiteY14" fmla="*/ 3739873 h 5117082"/>
                <a:gd name="connsiteX15" fmla="*/ 990133 w 3930905"/>
                <a:gd name="connsiteY15" fmla="*/ 5117082 h 5117082"/>
                <a:gd name="connsiteX16" fmla="*/ 481672 w 3930905"/>
                <a:gd name="connsiteY16" fmla="*/ 5097916 h 5117082"/>
                <a:gd name="connsiteX17" fmla="*/ 622691 w 3930905"/>
                <a:gd name="connsiteY17" fmla="*/ 3737068 h 5117082"/>
                <a:gd name="connsiteX18" fmla="*/ 0 w 3930905"/>
                <a:gd name="connsiteY18" fmla="*/ 3723043 h 5117082"/>
                <a:gd name="connsiteX19" fmla="*/ 8415 w 3930905"/>
                <a:gd name="connsiteY19" fmla="*/ 3131208 h 5117082"/>
                <a:gd name="connsiteX20" fmla="*/ 729277 w 3930905"/>
                <a:gd name="connsiteY20" fmla="*/ 3086329 h 5117082"/>
                <a:gd name="connsiteX21" fmla="*/ 863913 w 3930905"/>
                <a:gd name="connsiteY21" fmla="*/ 2110221 h 5117082"/>
                <a:gd name="connsiteX22" fmla="*/ 221589 w 3930905"/>
                <a:gd name="connsiteY22" fmla="*/ 2107416 h 5117082"/>
                <a:gd name="connsiteX23" fmla="*/ 221588 w 3930905"/>
                <a:gd name="connsiteY23" fmla="*/ 1574484 h 5117082"/>
                <a:gd name="connsiteX24" fmla="*/ 917205 w 3930905"/>
                <a:gd name="connsiteY24" fmla="*/ 1535215 h 5117082"/>
                <a:gd name="connsiteX25" fmla="*/ 1135216 w 3930905"/>
                <a:gd name="connsiteY25" fmla="*/ 168295 h 5117082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921140"/>
                <a:gd name="connsiteY0" fmla="*/ 168806 h 5117593"/>
                <a:gd name="connsiteX1" fmla="*/ 1848435 w 3921140"/>
                <a:gd name="connsiteY1" fmla="*/ 169736 h 5117593"/>
                <a:gd name="connsiteX2" fmla="*/ 1649286 w 3921140"/>
                <a:gd name="connsiteY2" fmla="*/ 1560970 h 5117593"/>
                <a:gd name="connsiteX3" fmla="*/ 3869050 w 3921140"/>
                <a:gd name="connsiteY3" fmla="*/ 511 h 5117593"/>
                <a:gd name="connsiteX4" fmla="*/ 3032107 w 3921140"/>
                <a:gd name="connsiteY4" fmla="*/ 1521701 h 5117593"/>
                <a:gd name="connsiteX5" fmla="*/ 3623943 w 3921140"/>
                <a:gd name="connsiteY5" fmla="*/ 1560970 h 5117593"/>
                <a:gd name="connsiteX6" fmla="*/ 3553820 w 3921140"/>
                <a:gd name="connsiteY6" fmla="*/ 2141586 h 5117593"/>
                <a:gd name="connsiteX7" fmla="*/ 2928324 w 3921140"/>
                <a:gd name="connsiteY7" fmla="*/ 2130367 h 5117593"/>
                <a:gd name="connsiteX8" fmla="*/ 2796494 w 3921140"/>
                <a:gd name="connsiteY8" fmla="*/ 3064401 h 5117593"/>
                <a:gd name="connsiteX9" fmla="*/ 3424793 w 3921140"/>
                <a:gd name="connsiteY9" fmla="*/ 3112084 h 5117593"/>
                <a:gd name="connsiteX10" fmla="*/ 3343451 w 3921140"/>
                <a:gd name="connsiteY10" fmla="*/ 3737579 h 5117593"/>
                <a:gd name="connsiteX11" fmla="*/ 2668549 w 3921140"/>
                <a:gd name="connsiteY11" fmla="*/ 3757680 h 5117593"/>
                <a:gd name="connsiteX12" fmla="*/ 2401002 w 3921140"/>
                <a:gd name="connsiteY12" fmla="*/ 5117592 h 5117593"/>
                <a:gd name="connsiteX13" fmla="*/ 1862459 w 3921140"/>
                <a:gd name="connsiteY13" fmla="*/ 5106375 h 5117593"/>
                <a:gd name="connsiteX14" fmla="*/ 1963436 w 3921140"/>
                <a:gd name="connsiteY14" fmla="*/ 3771238 h 5117593"/>
                <a:gd name="connsiteX15" fmla="*/ 1236965 w 3921140"/>
                <a:gd name="connsiteY15" fmla="*/ 3740384 h 5117593"/>
                <a:gd name="connsiteX16" fmla="*/ 990133 w 3921140"/>
                <a:gd name="connsiteY16" fmla="*/ 5117593 h 5117593"/>
                <a:gd name="connsiteX17" fmla="*/ 481672 w 3921140"/>
                <a:gd name="connsiteY17" fmla="*/ 5098427 h 5117593"/>
                <a:gd name="connsiteX18" fmla="*/ 622691 w 3921140"/>
                <a:gd name="connsiteY18" fmla="*/ 3737579 h 5117593"/>
                <a:gd name="connsiteX19" fmla="*/ 0 w 3921140"/>
                <a:gd name="connsiteY19" fmla="*/ 3723554 h 5117593"/>
                <a:gd name="connsiteX20" fmla="*/ 8415 w 3921140"/>
                <a:gd name="connsiteY20" fmla="*/ 3131719 h 5117593"/>
                <a:gd name="connsiteX21" fmla="*/ 729277 w 3921140"/>
                <a:gd name="connsiteY21" fmla="*/ 3086840 h 5117593"/>
                <a:gd name="connsiteX22" fmla="*/ 863913 w 3921140"/>
                <a:gd name="connsiteY22" fmla="*/ 2110732 h 5117593"/>
                <a:gd name="connsiteX23" fmla="*/ 221589 w 3921140"/>
                <a:gd name="connsiteY23" fmla="*/ 2107927 h 5117593"/>
                <a:gd name="connsiteX24" fmla="*/ 221588 w 3921140"/>
                <a:gd name="connsiteY24" fmla="*/ 1574995 h 5117593"/>
                <a:gd name="connsiteX25" fmla="*/ 917205 w 3921140"/>
                <a:gd name="connsiteY25" fmla="*/ 1535726 h 5117593"/>
                <a:gd name="connsiteX26" fmla="*/ 1135216 w 3921140"/>
                <a:gd name="connsiteY26" fmla="*/ 168806 h 5117593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32107 w 3623943"/>
                <a:gd name="connsiteY4" fmla="*/ 1360354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32107 w 3623943"/>
                <a:gd name="connsiteY4" fmla="*/ 1360354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94895 w 3623943"/>
                <a:gd name="connsiteY3" fmla="*/ 35508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7459 h 4956246"/>
                <a:gd name="connsiteX1" fmla="*/ 1848435 w 3623943"/>
                <a:gd name="connsiteY1" fmla="*/ 8389 h 4956246"/>
                <a:gd name="connsiteX2" fmla="*/ 1649286 w 3623943"/>
                <a:gd name="connsiteY2" fmla="*/ 1399623 h 4956246"/>
                <a:gd name="connsiteX3" fmla="*/ 3083675 w 3623943"/>
                <a:gd name="connsiteY3" fmla="*/ 1849 h 4956246"/>
                <a:gd name="connsiteX4" fmla="*/ 3015277 w 3623943"/>
                <a:gd name="connsiteY4" fmla="*/ 1357549 h 4956246"/>
                <a:gd name="connsiteX5" fmla="*/ 3623943 w 3623943"/>
                <a:gd name="connsiteY5" fmla="*/ 1399623 h 4956246"/>
                <a:gd name="connsiteX6" fmla="*/ 3553820 w 3623943"/>
                <a:gd name="connsiteY6" fmla="*/ 1980239 h 4956246"/>
                <a:gd name="connsiteX7" fmla="*/ 2928324 w 3623943"/>
                <a:gd name="connsiteY7" fmla="*/ 1969020 h 4956246"/>
                <a:gd name="connsiteX8" fmla="*/ 2796494 w 3623943"/>
                <a:gd name="connsiteY8" fmla="*/ 2903054 h 4956246"/>
                <a:gd name="connsiteX9" fmla="*/ 3424793 w 3623943"/>
                <a:gd name="connsiteY9" fmla="*/ 2950737 h 4956246"/>
                <a:gd name="connsiteX10" fmla="*/ 3343451 w 3623943"/>
                <a:gd name="connsiteY10" fmla="*/ 3576232 h 4956246"/>
                <a:gd name="connsiteX11" fmla="*/ 2668549 w 3623943"/>
                <a:gd name="connsiteY11" fmla="*/ 3596333 h 4956246"/>
                <a:gd name="connsiteX12" fmla="*/ 2401002 w 3623943"/>
                <a:gd name="connsiteY12" fmla="*/ 4956245 h 4956246"/>
                <a:gd name="connsiteX13" fmla="*/ 1862459 w 3623943"/>
                <a:gd name="connsiteY13" fmla="*/ 4945028 h 4956246"/>
                <a:gd name="connsiteX14" fmla="*/ 1963436 w 3623943"/>
                <a:gd name="connsiteY14" fmla="*/ 3609891 h 4956246"/>
                <a:gd name="connsiteX15" fmla="*/ 1236965 w 3623943"/>
                <a:gd name="connsiteY15" fmla="*/ 3579037 h 4956246"/>
                <a:gd name="connsiteX16" fmla="*/ 990133 w 3623943"/>
                <a:gd name="connsiteY16" fmla="*/ 4956246 h 4956246"/>
                <a:gd name="connsiteX17" fmla="*/ 481672 w 3623943"/>
                <a:gd name="connsiteY17" fmla="*/ 4937080 h 4956246"/>
                <a:gd name="connsiteX18" fmla="*/ 622691 w 3623943"/>
                <a:gd name="connsiteY18" fmla="*/ 3576232 h 4956246"/>
                <a:gd name="connsiteX19" fmla="*/ 0 w 3623943"/>
                <a:gd name="connsiteY19" fmla="*/ 3562207 h 4956246"/>
                <a:gd name="connsiteX20" fmla="*/ 8415 w 3623943"/>
                <a:gd name="connsiteY20" fmla="*/ 2970372 h 4956246"/>
                <a:gd name="connsiteX21" fmla="*/ 729277 w 3623943"/>
                <a:gd name="connsiteY21" fmla="*/ 2925493 h 4956246"/>
                <a:gd name="connsiteX22" fmla="*/ 863913 w 3623943"/>
                <a:gd name="connsiteY22" fmla="*/ 1949385 h 4956246"/>
                <a:gd name="connsiteX23" fmla="*/ 221589 w 3623943"/>
                <a:gd name="connsiteY23" fmla="*/ 1946580 h 4956246"/>
                <a:gd name="connsiteX24" fmla="*/ 221588 w 3623943"/>
                <a:gd name="connsiteY24" fmla="*/ 1413648 h 4956246"/>
                <a:gd name="connsiteX25" fmla="*/ 917205 w 3623943"/>
                <a:gd name="connsiteY25" fmla="*/ 1374379 h 4956246"/>
                <a:gd name="connsiteX26" fmla="*/ 1135216 w 3623943"/>
                <a:gd name="connsiteY26" fmla="*/ 7459 h 4956246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3162213 w 3623943"/>
                <a:gd name="connsiteY3" fmla="*/ 0 h 4985251"/>
                <a:gd name="connsiteX4" fmla="*/ 3015277 w 3623943"/>
                <a:gd name="connsiteY4" fmla="*/ 1386554 h 4985251"/>
                <a:gd name="connsiteX5" fmla="*/ 3623943 w 3623943"/>
                <a:gd name="connsiteY5" fmla="*/ 1428628 h 4985251"/>
                <a:gd name="connsiteX6" fmla="*/ 3553820 w 3623943"/>
                <a:gd name="connsiteY6" fmla="*/ 2009244 h 4985251"/>
                <a:gd name="connsiteX7" fmla="*/ 2928324 w 3623943"/>
                <a:gd name="connsiteY7" fmla="*/ 1998025 h 4985251"/>
                <a:gd name="connsiteX8" fmla="*/ 2796494 w 3623943"/>
                <a:gd name="connsiteY8" fmla="*/ 2932059 h 4985251"/>
                <a:gd name="connsiteX9" fmla="*/ 3424793 w 3623943"/>
                <a:gd name="connsiteY9" fmla="*/ 2979742 h 4985251"/>
                <a:gd name="connsiteX10" fmla="*/ 3343451 w 3623943"/>
                <a:gd name="connsiteY10" fmla="*/ 3605237 h 4985251"/>
                <a:gd name="connsiteX11" fmla="*/ 2668549 w 3623943"/>
                <a:gd name="connsiteY11" fmla="*/ 3625338 h 4985251"/>
                <a:gd name="connsiteX12" fmla="*/ 2401002 w 3623943"/>
                <a:gd name="connsiteY12" fmla="*/ 4985250 h 4985251"/>
                <a:gd name="connsiteX13" fmla="*/ 1862459 w 3623943"/>
                <a:gd name="connsiteY13" fmla="*/ 4974033 h 4985251"/>
                <a:gd name="connsiteX14" fmla="*/ 1963436 w 3623943"/>
                <a:gd name="connsiteY14" fmla="*/ 3638896 h 4985251"/>
                <a:gd name="connsiteX15" fmla="*/ 1236965 w 3623943"/>
                <a:gd name="connsiteY15" fmla="*/ 3608042 h 4985251"/>
                <a:gd name="connsiteX16" fmla="*/ 990133 w 3623943"/>
                <a:gd name="connsiteY16" fmla="*/ 4985251 h 4985251"/>
                <a:gd name="connsiteX17" fmla="*/ 481672 w 3623943"/>
                <a:gd name="connsiteY17" fmla="*/ 4966085 h 4985251"/>
                <a:gd name="connsiteX18" fmla="*/ 622691 w 3623943"/>
                <a:gd name="connsiteY18" fmla="*/ 3605237 h 4985251"/>
                <a:gd name="connsiteX19" fmla="*/ 0 w 3623943"/>
                <a:gd name="connsiteY19" fmla="*/ 3591212 h 4985251"/>
                <a:gd name="connsiteX20" fmla="*/ 8415 w 3623943"/>
                <a:gd name="connsiteY20" fmla="*/ 2999377 h 4985251"/>
                <a:gd name="connsiteX21" fmla="*/ 729277 w 3623943"/>
                <a:gd name="connsiteY21" fmla="*/ 2954498 h 4985251"/>
                <a:gd name="connsiteX22" fmla="*/ 863913 w 3623943"/>
                <a:gd name="connsiteY22" fmla="*/ 1978390 h 4985251"/>
                <a:gd name="connsiteX23" fmla="*/ 221589 w 3623943"/>
                <a:gd name="connsiteY23" fmla="*/ 1975585 h 4985251"/>
                <a:gd name="connsiteX24" fmla="*/ 221588 w 3623943"/>
                <a:gd name="connsiteY24" fmla="*/ 1442653 h 4985251"/>
                <a:gd name="connsiteX25" fmla="*/ 917205 w 3623943"/>
                <a:gd name="connsiteY25" fmla="*/ 1403384 h 4985251"/>
                <a:gd name="connsiteX26" fmla="*/ 1135216 w 3623943"/>
                <a:gd name="connsiteY26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36464 h 4985251"/>
                <a:gd name="connsiteX1" fmla="*/ 1848435 w 3623943"/>
                <a:gd name="connsiteY1" fmla="*/ 37394 h 4985251"/>
                <a:gd name="connsiteX2" fmla="*/ 1649286 w 3623943"/>
                <a:gd name="connsiteY2" fmla="*/ 1428628 h 4985251"/>
                <a:gd name="connsiteX3" fmla="*/ 2588932 w 3623943"/>
                <a:gd name="connsiteY3" fmla="*/ 12151 h 4985251"/>
                <a:gd name="connsiteX4" fmla="*/ 3162213 w 3623943"/>
                <a:gd name="connsiteY4" fmla="*/ 0 h 4985251"/>
                <a:gd name="connsiteX5" fmla="*/ 3015277 w 3623943"/>
                <a:gd name="connsiteY5" fmla="*/ 1386554 h 4985251"/>
                <a:gd name="connsiteX6" fmla="*/ 3623943 w 3623943"/>
                <a:gd name="connsiteY6" fmla="*/ 1428628 h 4985251"/>
                <a:gd name="connsiteX7" fmla="*/ 3553820 w 3623943"/>
                <a:gd name="connsiteY7" fmla="*/ 2009244 h 4985251"/>
                <a:gd name="connsiteX8" fmla="*/ 2928324 w 3623943"/>
                <a:gd name="connsiteY8" fmla="*/ 1998025 h 4985251"/>
                <a:gd name="connsiteX9" fmla="*/ 2796494 w 3623943"/>
                <a:gd name="connsiteY9" fmla="*/ 2932059 h 4985251"/>
                <a:gd name="connsiteX10" fmla="*/ 3424793 w 3623943"/>
                <a:gd name="connsiteY10" fmla="*/ 2979742 h 4985251"/>
                <a:gd name="connsiteX11" fmla="*/ 3343451 w 3623943"/>
                <a:gd name="connsiteY11" fmla="*/ 3605237 h 4985251"/>
                <a:gd name="connsiteX12" fmla="*/ 2668549 w 3623943"/>
                <a:gd name="connsiteY12" fmla="*/ 3625338 h 4985251"/>
                <a:gd name="connsiteX13" fmla="*/ 2401002 w 3623943"/>
                <a:gd name="connsiteY13" fmla="*/ 4985250 h 4985251"/>
                <a:gd name="connsiteX14" fmla="*/ 1862459 w 3623943"/>
                <a:gd name="connsiteY14" fmla="*/ 4974033 h 4985251"/>
                <a:gd name="connsiteX15" fmla="*/ 1963436 w 3623943"/>
                <a:gd name="connsiteY15" fmla="*/ 3638896 h 4985251"/>
                <a:gd name="connsiteX16" fmla="*/ 1236965 w 3623943"/>
                <a:gd name="connsiteY16" fmla="*/ 3608042 h 4985251"/>
                <a:gd name="connsiteX17" fmla="*/ 990133 w 3623943"/>
                <a:gd name="connsiteY17" fmla="*/ 4985251 h 4985251"/>
                <a:gd name="connsiteX18" fmla="*/ 481672 w 3623943"/>
                <a:gd name="connsiteY18" fmla="*/ 4966085 h 4985251"/>
                <a:gd name="connsiteX19" fmla="*/ 622691 w 3623943"/>
                <a:gd name="connsiteY19" fmla="*/ 3605237 h 4985251"/>
                <a:gd name="connsiteX20" fmla="*/ 0 w 3623943"/>
                <a:gd name="connsiteY20" fmla="*/ 3591212 h 4985251"/>
                <a:gd name="connsiteX21" fmla="*/ 8415 w 3623943"/>
                <a:gd name="connsiteY21" fmla="*/ 2999377 h 4985251"/>
                <a:gd name="connsiteX22" fmla="*/ 729277 w 3623943"/>
                <a:gd name="connsiteY22" fmla="*/ 2954498 h 4985251"/>
                <a:gd name="connsiteX23" fmla="*/ 863913 w 3623943"/>
                <a:gd name="connsiteY23" fmla="*/ 1978390 h 4985251"/>
                <a:gd name="connsiteX24" fmla="*/ 221589 w 3623943"/>
                <a:gd name="connsiteY24" fmla="*/ 1975585 h 4985251"/>
                <a:gd name="connsiteX25" fmla="*/ 221588 w 3623943"/>
                <a:gd name="connsiteY25" fmla="*/ 1442653 h 4985251"/>
                <a:gd name="connsiteX26" fmla="*/ 917205 w 3623943"/>
                <a:gd name="connsiteY26" fmla="*/ 1403384 h 4985251"/>
                <a:gd name="connsiteX27" fmla="*/ 1135216 w 3623943"/>
                <a:gd name="connsiteY27" fmla="*/ 36464 h 4985251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591737 w 3623943"/>
                <a:gd name="connsiteY3" fmla="*/ 0 h 4989930"/>
                <a:gd name="connsiteX4" fmla="*/ 3162213 w 3623943"/>
                <a:gd name="connsiteY4" fmla="*/ 4679 h 4989930"/>
                <a:gd name="connsiteX5" fmla="*/ 3015277 w 3623943"/>
                <a:gd name="connsiteY5" fmla="*/ 1391233 h 4989930"/>
                <a:gd name="connsiteX6" fmla="*/ 3623943 w 3623943"/>
                <a:gd name="connsiteY6" fmla="*/ 1433307 h 4989930"/>
                <a:gd name="connsiteX7" fmla="*/ 3553820 w 3623943"/>
                <a:gd name="connsiteY7" fmla="*/ 2013923 h 4989930"/>
                <a:gd name="connsiteX8" fmla="*/ 2928324 w 3623943"/>
                <a:gd name="connsiteY8" fmla="*/ 2002704 h 4989930"/>
                <a:gd name="connsiteX9" fmla="*/ 2796494 w 3623943"/>
                <a:gd name="connsiteY9" fmla="*/ 2936738 h 4989930"/>
                <a:gd name="connsiteX10" fmla="*/ 3424793 w 3623943"/>
                <a:gd name="connsiteY10" fmla="*/ 2984421 h 4989930"/>
                <a:gd name="connsiteX11" fmla="*/ 3343451 w 3623943"/>
                <a:gd name="connsiteY11" fmla="*/ 3609916 h 4989930"/>
                <a:gd name="connsiteX12" fmla="*/ 2668549 w 3623943"/>
                <a:gd name="connsiteY12" fmla="*/ 3630017 h 4989930"/>
                <a:gd name="connsiteX13" fmla="*/ 2401002 w 3623943"/>
                <a:gd name="connsiteY13" fmla="*/ 4989929 h 4989930"/>
                <a:gd name="connsiteX14" fmla="*/ 1862459 w 3623943"/>
                <a:gd name="connsiteY14" fmla="*/ 4978712 h 4989930"/>
                <a:gd name="connsiteX15" fmla="*/ 1963436 w 3623943"/>
                <a:gd name="connsiteY15" fmla="*/ 3643575 h 4989930"/>
                <a:gd name="connsiteX16" fmla="*/ 1236965 w 3623943"/>
                <a:gd name="connsiteY16" fmla="*/ 3612721 h 4989930"/>
                <a:gd name="connsiteX17" fmla="*/ 990133 w 3623943"/>
                <a:gd name="connsiteY17" fmla="*/ 4989930 h 4989930"/>
                <a:gd name="connsiteX18" fmla="*/ 481672 w 3623943"/>
                <a:gd name="connsiteY18" fmla="*/ 4970764 h 4989930"/>
                <a:gd name="connsiteX19" fmla="*/ 622691 w 3623943"/>
                <a:gd name="connsiteY19" fmla="*/ 3609916 h 4989930"/>
                <a:gd name="connsiteX20" fmla="*/ 0 w 3623943"/>
                <a:gd name="connsiteY20" fmla="*/ 3595891 h 4989930"/>
                <a:gd name="connsiteX21" fmla="*/ 8415 w 3623943"/>
                <a:gd name="connsiteY21" fmla="*/ 3004056 h 4989930"/>
                <a:gd name="connsiteX22" fmla="*/ 729277 w 3623943"/>
                <a:gd name="connsiteY22" fmla="*/ 2959177 h 4989930"/>
                <a:gd name="connsiteX23" fmla="*/ 863913 w 3623943"/>
                <a:gd name="connsiteY23" fmla="*/ 1983069 h 4989930"/>
                <a:gd name="connsiteX24" fmla="*/ 221589 w 3623943"/>
                <a:gd name="connsiteY24" fmla="*/ 1980264 h 4989930"/>
                <a:gd name="connsiteX25" fmla="*/ 221588 w 3623943"/>
                <a:gd name="connsiteY25" fmla="*/ 1447332 h 4989930"/>
                <a:gd name="connsiteX26" fmla="*/ 917205 w 3623943"/>
                <a:gd name="connsiteY26" fmla="*/ 1408063 h 4989930"/>
                <a:gd name="connsiteX27" fmla="*/ 1135216 w 3623943"/>
                <a:gd name="connsiteY27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591737 w 3623943"/>
                <a:gd name="connsiteY3" fmla="*/ 0 h 4989930"/>
                <a:gd name="connsiteX4" fmla="*/ 3162213 w 3623943"/>
                <a:gd name="connsiteY4" fmla="*/ 4679 h 4989930"/>
                <a:gd name="connsiteX5" fmla="*/ 3015277 w 3623943"/>
                <a:gd name="connsiteY5" fmla="*/ 1391233 h 4989930"/>
                <a:gd name="connsiteX6" fmla="*/ 3623943 w 3623943"/>
                <a:gd name="connsiteY6" fmla="*/ 1433307 h 4989930"/>
                <a:gd name="connsiteX7" fmla="*/ 3553820 w 3623943"/>
                <a:gd name="connsiteY7" fmla="*/ 2013923 h 4989930"/>
                <a:gd name="connsiteX8" fmla="*/ 2928324 w 3623943"/>
                <a:gd name="connsiteY8" fmla="*/ 2002704 h 4989930"/>
                <a:gd name="connsiteX9" fmla="*/ 2796494 w 3623943"/>
                <a:gd name="connsiteY9" fmla="*/ 2936738 h 4989930"/>
                <a:gd name="connsiteX10" fmla="*/ 3424793 w 3623943"/>
                <a:gd name="connsiteY10" fmla="*/ 2984421 h 4989930"/>
                <a:gd name="connsiteX11" fmla="*/ 3343451 w 3623943"/>
                <a:gd name="connsiteY11" fmla="*/ 3609916 h 4989930"/>
                <a:gd name="connsiteX12" fmla="*/ 2668549 w 3623943"/>
                <a:gd name="connsiteY12" fmla="*/ 3630017 h 4989930"/>
                <a:gd name="connsiteX13" fmla="*/ 2401002 w 3623943"/>
                <a:gd name="connsiteY13" fmla="*/ 4989929 h 4989930"/>
                <a:gd name="connsiteX14" fmla="*/ 1862459 w 3623943"/>
                <a:gd name="connsiteY14" fmla="*/ 4978712 h 4989930"/>
                <a:gd name="connsiteX15" fmla="*/ 1963436 w 3623943"/>
                <a:gd name="connsiteY15" fmla="*/ 3643575 h 4989930"/>
                <a:gd name="connsiteX16" fmla="*/ 1236965 w 3623943"/>
                <a:gd name="connsiteY16" fmla="*/ 3612721 h 4989930"/>
                <a:gd name="connsiteX17" fmla="*/ 990133 w 3623943"/>
                <a:gd name="connsiteY17" fmla="*/ 4989930 h 4989930"/>
                <a:gd name="connsiteX18" fmla="*/ 481672 w 3623943"/>
                <a:gd name="connsiteY18" fmla="*/ 4970764 h 4989930"/>
                <a:gd name="connsiteX19" fmla="*/ 622691 w 3623943"/>
                <a:gd name="connsiteY19" fmla="*/ 3609916 h 4989930"/>
                <a:gd name="connsiteX20" fmla="*/ 0 w 3623943"/>
                <a:gd name="connsiteY20" fmla="*/ 3595891 h 4989930"/>
                <a:gd name="connsiteX21" fmla="*/ 8415 w 3623943"/>
                <a:gd name="connsiteY21" fmla="*/ 3004056 h 4989930"/>
                <a:gd name="connsiteX22" fmla="*/ 729277 w 3623943"/>
                <a:gd name="connsiteY22" fmla="*/ 2959177 h 4989930"/>
                <a:gd name="connsiteX23" fmla="*/ 863913 w 3623943"/>
                <a:gd name="connsiteY23" fmla="*/ 1983069 h 4989930"/>
                <a:gd name="connsiteX24" fmla="*/ 221589 w 3623943"/>
                <a:gd name="connsiteY24" fmla="*/ 1980264 h 4989930"/>
                <a:gd name="connsiteX25" fmla="*/ 221588 w 3623943"/>
                <a:gd name="connsiteY25" fmla="*/ 1447332 h 4989930"/>
                <a:gd name="connsiteX26" fmla="*/ 917205 w 3623943"/>
                <a:gd name="connsiteY26" fmla="*/ 1408063 h 4989930"/>
                <a:gd name="connsiteX27" fmla="*/ 1135216 w 3623943"/>
                <a:gd name="connsiteY27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  <a:gd name="connsiteX0" fmla="*/ 1135216 w 3623943"/>
                <a:gd name="connsiteY0" fmla="*/ 41143 h 4989930"/>
                <a:gd name="connsiteX1" fmla="*/ 1848435 w 3623943"/>
                <a:gd name="connsiteY1" fmla="*/ 42073 h 4989930"/>
                <a:gd name="connsiteX2" fmla="*/ 1649286 w 3623943"/>
                <a:gd name="connsiteY2" fmla="*/ 1433307 h 4989930"/>
                <a:gd name="connsiteX3" fmla="*/ 2330881 w 3623943"/>
                <a:gd name="connsiteY3" fmla="*/ 1399649 h 4989930"/>
                <a:gd name="connsiteX4" fmla="*/ 2591737 w 3623943"/>
                <a:gd name="connsiteY4" fmla="*/ 0 h 4989930"/>
                <a:gd name="connsiteX5" fmla="*/ 3162213 w 3623943"/>
                <a:gd name="connsiteY5" fmla="*/ 4679 h 4989930"/>
                <a:gd name="connsiteX6" fmla="*/ 3015277 w 3623943"/>
                <a:gd name="connsiteY6" fmla="*/ 1391233 h 4989930"/>
                <a:gd name="connsiteX7" fmla="*/ 3623943 w 3623943"/>
                <a:gd name="connsiteY7" fmla="*/ 1433307 h 4989930"/>
                <a:gd name="connsiteX8" fmla="*/ 3553820 w 3623943"/>
                <a:gd name="connsiteY8" fmla="*/ 2013923 h 4989930"/>
                <a:gd name="connsiteX9" fmla="*/ 2928324 w 3623943"/>
                <a:gd name="connsiteY9" fmla="*/ 2002704 h 4989930"/>
                <a:gd name="connsiteX10" fmla="*/ 2796494 w 3623943"/>
                <a:gd name="connsiteY10" fmla="*/ 2936738 h 4989930"/>
                <a:gd name="connsiteX11" fmla="*/ 3424793 w 3623943"/>
                <a:gd name="connsiteY11" fmla="*/ 2984421 h 4989930"/>
                <a:gd name="connsiteX12" fmla="*/ 3343451 w 3623943"/>
                <a:gd name="connsiteY12" fmla="*/ 3609916 h 4989930"/>
                <a:gd name="connsiteX13" fmla="*/ 2668549 w 3623943"/>
                <a:gd name="connsiteY13" fmla="*/ 3630017 h 4989930"/>
                <a:gd name="connsiteX14" fmla="*/ 2401002 w 3623943"/>
                <a:gd name="connsiteY14" fmla="*/ 4989929 h 4989930"/>
                <a:gd name="connsiteX15" fmla="*/ 1862459 w 3623943"/>
                <a:gd name="connsiteY15" fmla="*/ 4978712 h 4989930"/>
                <a:gd name="connsiteX16" fmla="*/ 1963436 w 3623943"/>
                <a:gd name="connsiteY16" fmla="*/ 3643575 h 4989930"/>
                <a:gd name="connsiteX17" fmla="*/ 1236965 w 3623943"/>
                <a:gd name="connsiteY17" fmla="*/ 3612721 h 4989930"/>
                <a:gd name="connsiteX18" fmla="*/ 990133 w 3623943"/>
                <a:gd name="connsiteY18" fmla="*/ 4989930 h 4989930"/>
                <a:gd name="connsiteX19" fmla="*/ 481672 w 3623943"/>
                <a:gd name="connsiteY19" fmla="*/ 4970764 h 4989930"/>
                <a:gd name="connsiteX20" fmla="*/ 622691 w 3623943"/>
                <a:gd name="connsiteY20" fmla="*/ 3609916 h 4989930"/>
                <a:gd name="connsiteX21" fmla="*/ 0 w 3623943"/>
                <a:gd name="connsiteY21" fmla="*/ 3595891 h 4989930"/>
                <a:gd name="connsiteX22" fmla="*/ 8415 w 3623943"/>
                <a:gd name="connsiteY22" fmla="*/ 3004056 h 4989930"/>
                <a:gd name="connsiteX23" fmla="*/ 729277 w 3623943"/>
                <a:gd name="connsiteY23" fmla="*/ 2959177 h 4989930"/>
                <a:gd name="connsiteX24" fmla="*/ 863913 w 3623943"/>
                <a:gd name="connsiteY24" fmla="*/ 1983069 h 4989930"/>
                <a:gd name="connsiteX25" fmla="*/ 221589 w 3623943"/>
                <a:gd name="connsiteY25" fmla="*/ 1980264 h 4989930"/>
                <a:gd name="connsiteX26" fmla="*/ 221588 w 3623943"/>
                <a:gd name="connsiteY26" fmla="*/ 1447332 h 4989930"/>
                <a:gd name="connsiteX27" fmla="*/ 917205 w 3623943"/>
                <a:gd name="connsiteY27" fmla="*/ 1408063 h 4989930"/>
                <a:gd name="connsiteX28" fmla="*/ 1135216 w 3623943"/>
                <a:gd name="connsiteY28" fmla="*/ 41143 h 4989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23943" h="4989930">
                  <a:moveTo>
                    <a:pt x="1135216" y="41143"/>
                  </a:moveTo>
                  <a:cubicBezTo>
                    <a:pt x="1367346" y="26493"/>
                    <a:pt x="1122642" y="37089"/>
                    <a:pt x="1848435" y="42073"/>
                  </a:cubicBezTo>
                  <a:cubicBezTo>
                    <a:pt x="1651156" y="1428632"/>
                    <a:pt x="1852175" y="29918"/>
                    <a:pt x="1649286" y="1433307"/>
                  </a:cubicBezTo>
                  <a:lnTo>
                    <a:pt x="2330881" y="1399649"/>
                  </a:lnTo>
                  <a:cubicBezTo>
                    <a:pt x="2600152" y="-39736"/>
                    <a:pt x="2319013" y="1454967"/>
                    <a:pt x="2591737" y="0"/>
                  </a:cubicBezTo>
                  <a:cubicBezTo>
                    <a:pt x="3231617" y="4365"/>
                    <a:pt x="2589651" y="314"/>
                    <a:pt x="3162213" y="4679"/>
                  </a:cubicBezTo>
                  <a:cubicBezTo>
                    <a:pt x="3005606" y="1405264"/>
                    <a:pt x="3165520" y="-13245"/>
                    <a:pt x="3015277" y="1391233"/>
                  </a:cubicBezTo>
                  <a:cubicBezTo>
                    <a:pt x="3653214" y="1432527"/>
                    <a:pt x="3032108" y="1387961"/>
                    <a:pt x="3623943" y="1433307"/>
                  </a:cubicBezTo>
                  <a:cubicBezTo>
                    <a:pt x="3557381" y="2003326"/>
                    <a:pt x="3612256" y="1448734"/>
                    <a:pt x="3553820" y="2013923"/>
                  </a:cubicBezTo>
                  <a:lnTo>
                    <a:pt x="2928324" y="2002704"/>
                  </a:lnTo>
                  <a:cubicBezTo>
                    <a:pt x="2786029" y="2956527"/>
                    <a:pt x="2934870" y="1994756"/>
                    <a:pt x="2796494" y="2936738"/>
                  </a:cubicBezTo>
                  <a:cubicBezTo>
                    <a:pt x="3454532" y="2986914"/>
                    <a:pt x="2798832" y="2932997"/>
                    <a:pt x="3424793" y="2984421"/>
                  </a:cubicBezTo>
                  <a:cubicBezTo>
                    <a:pt x="3405626" y="3122797"/>
                    <a:pt x="3427886" y="2966112"/>
                    <a:pt x="3343451" y="3609916"/>
                  </a:cubicBezTo>
                  <a:lnTo>
                    <a:pt x="2668549" y="3630017"/>
                  </a:lnTo>
                  <a:cubicBezTo>
                    <a:pt x="2410316" y="4974658"/>
                    <a:pt x="2656897" y="3653468"/>
                    <a:pt x="2401002" y="4989929"/>
                  </a:cubicBezTo>
                  <a:cubicBezTo>
                    <a:pt x="1850593" y="4971620"/>
                    <a:pt x="2411286" y="4985256"/>
                    <a:pt x="1862459" y="4978712"/>
                  </a:cubicBezTo>
                  <a:cubicBezTo>
                    <a:pt x="1969800" y="3582257"/>
                    <a:pt x="1855447" y="5002085"/>
                    <a:pt x="1963436" y="3643575"/>
                  </a:cubicBezTo>
                  <a:lnTo>
                    <a:pt x="1236965" y="3612721"/>
                  </a:lnTo>
                  <a:lnTo>
                    <a:pt x="990133" y="4989930"/>
                  </a:lnTo>
                  <a:lnTo>
                    <a:pt x="481672" y="4970764"/>
                  </a:lnTo>
                  <a:cubicBezTo>
                    <a:pt x="624075" y="3552805"/>
                    <a:pt x="475772" y="5014318"/>
                    <a:pt x="622691" y="3609916"/>
                  </a:cubicBezTo>
                  <a:cubicBezTo>
                    <a:pt x="-4544" y="3591139"/>
                    <a:pt x="639986" y="3608046"/>
                    <a:pt x="0" y="3595891"/>
                  </a:cubicBezTo>
                  <a:cubicBezTo>
                    <a:pt x="10752" y="2997510"/>
                    <a:pt x="935" y="3622070"/>
                    <a:pt x="8415" y="3004056"/>
                  </a:cubicBezTo>
                  <a:cubicBezTo>
                    <a:pt x="784569" y="2954892"/>
                    <a:pt x="-6076" y="2999381"/>
                    <a:pt x="729277" y="2959177"/>
                  </a:cubicBezTo>
                  <a:cubicBezTo>
                    <a:pt x="865911" y="1970369"/>
                    <a:pt x="728810" y="2957307"/>
                    <a:pt x="863913" y="1983069"/>
                  </a:cubicBezTo>
                  <a:cubicBezTo>
                    <a:pt x="225925" y="1981121"/>
                    <a:pt x="866718" y="1977927"/>
                    <a:pt x="221589" y="1980264"/>
                  </a:cubicBezTo>
                  <a:cubicBezTo>
                    <a:pt x="217510" y="1362171"/>
                    <a:pt x="222056" y="2003639"/>
                    <a:pt x="221588" y="1447332"/>
                  </a:cubicBezTo>
                  <a:cubicBezTo>
                    <a:pt x="939306" y="1408921"/>
                    <a:pt x="210965" y="1448422"/>
                    <a:pt x="917205" y="1408063"/>
                  </a:cubicBezTo>
                  <a:lnTo>
                    <a:pt x="1135216" y="4114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10292624" y="14923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3075696" y="1036122"/>
            <a:ext cx="792000" cy="792000"/>
            <a:chOff x="10377829" y="703314"/>
            <a:chExt cx="792000" cy="792000"/>
          </a:xfrm>
        </p:grpSpPr>
        <p:sp>
          <p:nvSpPr>
            <p:cNvPr id="131" name="Freeform 130"/>
            <p:cNvSpPr/>
            <p:nvPr/>
          </p:nvSpPr>
          <p:spPr>
            <a:xfrm>
              <a:off x="10467895" y="846587"/>
              <a:ext cx="611868" cy="505455"/>
            </a:xfrm>
            <a:custGeom>
              <a:avLst/>
              <a:gdLst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05093 h 3311812"/>
                <a:gd name="connsiteX1" fmla="*/ 2263254 w 4604702"/>
                <a:gd name="connsiteY1" fmla="*/ 1089495 h 3311812"/>
                <a:gd name="connsiteX2" fmla="*/ 3855798 w 4604702"/>
                <a:gd name="connsiteY2" fmla="*/ 236346 h 3311812"/>
                <a:gd name="connsiteX3" fmla="*/ 4442064 w 4604702"/>
                <a:gd name="connsiteY3" fmla="*/ 13215 h 3311812"/>
                <a:gd name="connsiteX4" fmla="*/ 4052678 w 4604702"/>
                <a:gd name="connsiteY4" fmla="*/ 533855 h 3311812"/>
                <a:gd name="connsiteX5" fmla="*/ 4542691 w 4604702"/>
                <a:gd name="connsiteY5" fmla="*/ 389476 h 3311812"/>
                <a:gd name="connsiteX6" fmla="*/ 4096429 w 4604702"/>
                <a:gd name="connsiteY6" fmla="*/ 857613 h 3311812"/>
                <a:gd name="connsiteX7" fmla="*/ 75694 w 4604702"/>
                <a:gd name="connsiteY7" fmla="*/ 3207053 h 3311812"/>
                <a:gd name="connsiteX8" fmla="*/ 1401356 w 4604702"/>
                <a:gd name="connsiteY8" fmla="*/ 2830792 h 3311812"/>
                <a:gd name="connsiteX9" fmla="*/ 565708 w 4604702"/>
                <a:gd name="connsiteY9" fmla="*/ 2187650 h 3311812"/>
                <a:gd name="connsiteX10" fmla="*/ 941968 w 4604702"/>
                <a:gd name="connsiteY10" fmla="*/ 2165774 h 3311812"/>
                <a:gd name="connsiteX11" fmla="*/ 228823 w 4604702"/>
                <a:gd name="connsiteY11" fmla="*/ 1238249 h 3311812"/>
                <a:gd name="connsiteX12" fmla="*/ 622584 w 4604702"/>
                <a:gd name="connsiteY12" fmla="*/ 1369502 h 3311812"/>
                <a:gd name="connsiteX13" fmla="*/ 364452 w 4604702"/>
                <a:gd name="connsiteY13" fmla="*/ 105093 h 3311812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604702"/>
                <a:gd name="connsiteY0" fmla="*/ 164096 h 3370815"/>
                <a:gd name="connsiteX1" fmla="*/ 2263254 w 4604702"/>
                <a:gd name="connsiteY1" fmla="*/ 1148498 h 3370815"/>
                <a:gd name="connsiteX2" fmla="*/ 3855798 w 4604702"/>
                <a:gd name="connsiteY2" fmla="*/ 295349 h 3370815"/>
                <a:gd name="connsiteX3" fmla="*/ 4442064 w 4604702"/>
                <a:gd name="connsiteY3" fmla="*/ 72218 h 3370815"/>
                <a:gd name="connsiteX4" fmla="*/ 4052678 w 4604702"/>
                <a:gd name="connsiteY4" fmla="*/ 592858 h 3370815"/>
                <a:gd name="connsiteX5" fmla="*/ 4542691 w 4604702"/>
                <a:gd name="connsiteY5" fmla="*/ 448479 h 3370815"/>
                <a:gd name="connsiteX6" fmla="*/ 4096429 w 4604702"/>
                <a:gd name="connsiteY6" fmla="*/ 916616 h 3370815"/>
                <a:gd name="connsiteX7" fmla="*/ 75694 w 4604702"/>
                <a:gd name="connsiteY7" fmla="*/ 3266056 h 3370815"/>
                <a:gd name="connsiteX8" fmla="*/ 1401356 w 4604702"/>
                <a:gd name="connsiteY8" fmla="*/ 2889795 h 3370815"/>
                <a:gd name="connsiteX9" fmla="*/ 565708 w 4604702"/>
                <a:gd name="connsiteY9" fmla="*/ 2246653 h 3370815"/>
                <a:gd name="connsiteX10" fmla="*/ 941968 w 4604702"/>
                <a:gd name="connsiteY10" fmla="*/ 2224777 h 3370815"/>
                <a:gd name="connsiteX11" fmla="*/ 228823 w 4604702"/>
                <a:gd name="connsiteY11" fmla="*/ 1297252 h 3370815"/>
                <a:gd name="connsiteX12" fmla="*/ 622584 w 4604702"/>
                <a:gd name="connsiteY12" fmla="*/ 1428505 h 3370815"/>
                <a:gd name="connsiteX13" fmla="*/ 364452 w 4604702"/>
                <a:gd name="connsiteY13" fmla="*/ 164096 h 3370815"/>
                <a:gd name="connsiteX0" fmla="*/ 364452 w 4542877"/>
                <a:gd name="connsiteY0" fmla="*/ 164096 h 3370815"/>
                <a:gd name="connsiteX1" fmla="*/ 2263254 w 4542877"/>
                <a:gd name="connsiteY1" fmla="*/ 1148498 h 3370815"/>
                <a:gd name="connsiteX2" fmla="*/ 3855798 w 4542877"/>
                <a:gd name="connsiteY2" fmla="*/ 295349 h 3370815"/>
                <a:gd name="connsiteX3" fmla="*/ 4442064 w 4542877"/>
                <a:gd name="connsiteY3" fmla="*/ 72218 h 3370815"/>
                <a:gd name="connsiteX4" fmla="*/ 4052678 w 4542877"/>
                <a:gd name="connsiteY4" fmla="*/ 592858 h 3370815"/>
                <a:gd name="connsiteX5" fmla="*/ 4542691 w 4542877"/>
                <a:gd name="connsiteY5" fmla="*/ 448479 h 3370815"/>
                <a:gd name="connsiteX6" fmla="*/ 4096429 w 4542877"/>
                <a:gd name="connsiteY6" fmla="*/ 916616 h 3370815"/>
                <a:gd name="connsiteX7" fmla="*/ 75694 w 4542877"/>
                <a:gd name="connsiteY7" fmla="*/ 3266056 h 3370815"/>
                <a:gd name="connsiteX8" fmla="*/ 1401356 w 4542877"/>
                <a:gd name="connsiteY8" fmla="*/ 2889795 h 3370815"/>
                <a:gd name="connsiteX9" fmla="*/ 565708 w 4542877"/>
                <a:gd name="connsiteY9" fmla="*/ 2246653 h 3370815"/>
                <a:gd name="connsiteX10" fmla="*/ 941968 w 4542877"/>
                <a:gd name="connsiteY10" fmla="*/ 2224777 h 3370815"/>
                <a:gd name="connsiteX11" fmla="*/ 228823 w 4542877"/>
                <a:gd name="connsiteY11" fmla="*/ 1297252 h 3370815"/>
                <a:gd name="connsiteX12" fmla="*/ 622584 w 4542877"/>
                <a:gd name="connsiteY12" fmla="*/ 1428505 h 3370815"/>
                <a:gd name="connsiteX13" fmla="*/ 364452 w 4542877"/>
                <a:gd name="connsiteY13" fmla="*/ 164096 h 3370815"/>
                <a:gd name="connsiteX0" fmla="*/ 364452 w 4542877"/>
                <a:gd name="connsiteY0" fmla="*/ 164096 h 3370815"/>
                <a:gd name="connsiteX1" fmla="*/ 2263254 w 4542877"/>
                <a:gd name="connsiteY1" fmla="*/ 1148498 h 3370815"/>
                <a:gd name="connsiteX2" fmla="*/ 3855798 w 4542877"/>
                <a:gd name="connsiteY2" fmla="*/ 295349 h 3370815"/>
                <a:gd name="connsiteX3" fmla="*/ 4442064 w 4542877"/>
                <a:gd name="connsiteY3" fmla="*/ 72218 h 3370815"/>
                <a:gd name="connsiteX4" fmla="*/ 4052678 w 4542877"/>
                <a:gd name="connsiteY4" fmla="*/ 592858 h 3370815"/>
                <a:gd name="connsiteX5" fmla="*/ 4542691 w 4542877"/>
                <a:gd name="connsiteY5" fmla="*/ 448479 h 3370815"/>
                <a:gd name="connsiteX6" fmla="*/ 4096429 w 4542877"/>
                <a:gd name="connsiteY6" fmla="*/ 916616 h 3370815"/>
                <a:gd name="connsiteX7" fmla="*/ 75694 w 4542877"/>
                <a:gd name="connsiteY7" fmla="*/ 3266056 h 3370815"/>
                <a:gd name="connsiteX8" fmla="*/ 1401356 w 4542877"/>
                <a:gd name="connsiteY8" fmla="*/ 2889795 h 3370815"/>
                <a:gd name="connsiteX9" fmla="*/ 565708 w 4542877"/>
                <a:gd name="connsiteY9" fmla="*/ 2246653 h 3370815"/>
                <a:gd name="connsiteX10" fmla="*/ 941968 w 4542877"/>
                <a:gd name="connsiteY10" fmla="*/ 2224777 h 3370815"/>
                <a:gd name="connsiteX11" fmla="*/ 228823 w 4542877"/>
                <a:gd name="connsiteY11" fmla="*/ 1297252 h 3370815"/>
                <a:gd name="connsiteX12" fmla="*/ 622584 w 4542877"/>
                <a:gd name="connsiteY12" fmla="*/ 1428505 h 3370815"/>
                <a:gd name="connsiteX13" fmla="*/ 364452 w 4542877"/>
                <a:gd name="connsiteY13" fmla="*/ 164096 h 3370815"/>
                <a:gd name="connsiteX0" fmla="*/ 364452 w 4542877"/>
                <a:gd name="connsiteY0" fmla="*/ 164096 h 3714101"/>
                <a:gd name="connsiteX1" fmla="*/ 2263254 w 4542877"/>
                <a:gd name="connsiteY1" fmla="*/ 1148498 h 3714101"/>
                <a:gd name="connsiteX2" fmla="*/ 3855798 w 4542877"/>
                <a:gd name="connsiteY2" fmla="*/ 295349 h 3714101"/>
                <a:gd name="connsiteX3" fmla="*/ 4442064 w 4542877"/>
                <a:gd name="connsiteY3" fmla="*/ 72218 h 3714101"/>
                <a:gd name="connsiteX4" fmla="*/ 4052678 w 4542877"/>
                <a:gd name="connsiteY4" fmla="*/ 592858 h 3714101"/>
                <a:gd name="connsiteX5" fmla="*/ 4542691 w 4542877"/>
                <a:gd name="connsiteY5" fmla="*/ 448479 h 3714101"/>
                <a:gd name="connsiteX6" fmla="*/ 4096429 w 4542877"/>
                <a:gd name="connsiteY6" fmla="*/ 916616 h 3714101"/>
                <a:gd name="connsiteX7" fmla="*/ 75694 w 4542877"/>
                <a:gd name="connsiteY7" fmla="*/ 3266056 h 3714101"/>
                <a:gd name="connsiteX8" fmla="*/ 1401356 w 4542877"/>
                <a:gd name="connsiteY8" fmla="*/ 2889795 h 3714101"/>
                <a:gd name="connsiteX9" fmla="*/ 565708 w 4542877"/>
                <a:gd name="connsiteY9" fmla="*/ 2246653 h 3714101"/>
                <a:gd name="connsiteX10" fmla="*/ 941968 w 4542877"/>
                <a:gd name="connsiteY10" fmla="*/ 2224777 h 3714101"/>
                <a:gd name="connsiteX11" fmla="*/ 228823 w 4542877"/>
                <a:gd name="connsiteY11" fmla="*/ 1297252 h 3714101"/>
                <a:gd name="connsiteX12" fmla="*/ 622584 w 4542877"/>
                <a:gd name="connsiteY12" fmla="*/ 1428505 h 3714101"/>
                <a:gd name="connsiteX13" fmla="*/ 364452 w 4542877"/>
                <a:gd name="connsiteY13" fmla="*/ 164096 h 3714101"/>
                <a:gd name="connsiteX0" fmla="*/ 364452 w 4542877"/>
                <a:gd name="connsiteY0" fmla="*/ 164096 h 3763849"/>
                <a:gd name="connsiteX1" fmla="*/ 2263254 w 4542877"/>
                <a:gd name="connsiteY1" fmla="*/ 1148498 h 3763849"/>
                <a:gd name="connsiteX2" fmla="*/ 3855798 w 4542877"/>
                <a:gd name="connsiteY2" fmla="*/ 295349 h 3763849"/>
                <a:gd name="connsiteX3" fmla="*/ 4442064 w 4542877"/>
                <a:gd name="connsiteY3" fmla="*/ 72218 h 3763849"/>
                <a:gd name="connsiteX4" fmla="*/ 4052678 w 4542877"/>
                <a:gd name="connsiteY4" fmla="*/ 592858 h 3763849"/>
                <a:gd name="connsiteX5" fmla="*/ 4542691 w 4542877"/>
                <a:gd name="connsiteY5" fmla="*/ 448479 h 3763849"/>
                <a:gd name="connsiteX6" fmla="*/ 4096429 w 4542877"/>
                <a:gd name="connsiteY6" fmla="*/ 916616 h 3763849"/>
                <a:gd name="connsiteX7" fmla="*/ 75694 w 4542877"/>
                <a:gd name="connsiteY7" fmla="*/ 3266056 h 3763849"/>
                <a:gd name="connsiteX8" fmla="*/ 1401356 w 4542877"/>
                <a:gd name="connsiteY8" fmla="*/ 2889795 h 3763849"/>
                <a:gd name="connsiteX9" fmla="*/ 565708 w 4542877"/>
                <a:gd name="connsiteY9" fmla="*/ 2246653 h 3763849"/>
                <a:gd name="connsiteX10" fmla="*/ 941968 w 4542877"/>
                <a:gd name="connsiteY10" fmla="*/ 2224777 h 3763849"/>
                <a:gd name="connsiteX11" fmla="*/ 228823 w 4542877"/>
                <a:gd name="connsiteY11" fmla="*/ 1297252 h 3763849"/>
                <a:gd name="connsiteX12" fmla="*/ 622584 w 4542877"/>
                <a:gd name="connsiteY12" fmla="*/ 1428505 h 3763849"/>
                <a:gd name="connsiteX13" fmla="*/ 364452 w 4542877"/>
                <a:gd name="connsiteY13" fmla="*/ 164096 h 3763849"/>
                <a:gd name="connsiteX0" fmla="*/ 364452 w 4542877"/>
                <a:gd name="connsiteY0" fmla="*/ 164096 h 3690279"/>
                <a:gd name="connsiteX1" fmla="*/ 2263254 w 4542877"/>
                <a:gd name="connsiteY1" fmla="*/ 1148498 h 3690279"/>
                <a:gd name="connsiteX2" fmla="*/ 3855798 w 4542877"/>
                <a:gd name="connsiteY2" fmla="*/ 295349 h 3690279"/>
                <a:gd name="connsiteX3" fmla="*/ 4442064 w 4542877"/>
                <a:gd name="connsiteY3" fmla="*/ 72218 h 3690279"/>
                <a:gd name="connsiteX4" fmla="*/ 4052678 w 4542877"/>
                <a:gd name="connsiteY4" fmla="*/ 592858 h 3690279"/>
                <a:gd name="connsiteX5" fmla="*/ 4542691 w 4542877"/>
                <a:gd name="connsiteY5" fmla="*/ 448479 h 3690279"/>
                <a:gd name="connsiteX6" fmla="*/ 4096429 w 4542877"/>
                <a:gd name="connsiteY6" fmla="*/ 916616 h 3690279"/>
                <a:gd name="connsiteX7" fmla="*/ 75694 w 4542877"/>
                <a:gd name="connsiteY7" fmla="*/ 3266056 h 3690279"/>
                <a:gd name="connsiteX8" fmla="*/ 1401356 w 4542877"/>
                <a:gd name="connsiteY8" fmla="*/ 2889795 h 3690279"/>
                <a:gd name="connsiteX9" fmla="*/ 565708 w 4542877"/>
                <a:gd name="connsiteY9" fmla="*/ 2246653 h 3690279"/>
                <a:gd name="connsiteX10" fmla="*/ 941968 w 4542877"/>
                <a:gd name="connsiteY10" fmla="*/ 2224777 h 3690279"/>
                <a:gd name="connsiteX11" fmla="*/ 228823 w 4542877"/>
                <a:gd name="connsiteY11" fmla="*/ 1297252 h 3690279"/>
                <a:gd name="connsiteX12" fmla="*/ 622584 w 4542877"/>
                <a:gd name="connsiteY12" fmla="*/ 1428505 h 3690279"/>
                <a:gd name="connsiteX13" fmla="*/ 364452 w 4542877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9725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288501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66274 w 4467183"/>
                <a:gd name="connsiteY10" fmla="*/ 2224777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976984 w 4467183"/>
                <a:gd name="connsiteY4" fmla="*/ 592858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75024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875024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546890 w 4467183"/>
                <a:gd name="connsiteY12" fmla="*/ 142850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25662 w 4467183"/>
                <a:gd name="connsiteY8" fmla="*/ 2889795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96362 w 4467183"/>
                <a:gd name="connsiteY4" fmla="*/ 63683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889191 w 4467183"/>
                <a:gd name="connsiteY4" fmla="*/ 629664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  <a:gd name="connsiteX0" fmla="*/ 288758 w 4467183"/>
                <a:gd name="connsiteY0" fmla="*/ 164096 h 3690279"/>
                <a:gd name="connsiteX1" fmla="*/ 2187560 w 4467183"/>
                <a:gd name="connsiteY1" fmla="*/ 1148498 h 3690279"/>
                <a:gd name="connsiteX2" fmla="*/ 3780104 w 4467183"/>
                <a:gd name="connsiteY2" fmla="*/ 295349 h 3690279"/>
                <a:gd name="connsiteX3" fmla="*/ 4366370 w 4467183"/>
                <a:gd name="connsiteY3" fmla="*/ 72218 h 3690279"/>
                <a:gd name="connsiteX4" fmla="*/ 3783341 w 4467183"/>
                <a:gd name="connsiteY4" fmla="*/ 682589 h 3690279"/>
                <a:gd name="connsiteX5" fmla="*/ 4466997 w 4467183"/>
                <a:gd name="connsiteY5" fmla="*/ 448479 h 3690279"/>
                <a:gd name="connsiteX6" fmla="*/ 4020735 w 4467183"/>
                <a:gd name="connsiteY6" fmla="*/ 916616 h 3690279"/>
                <a:gd name="connsiteX7" fmla="*/ 0 w 4467183"/>
                <a:gd name="connsiteY7" fmla="*/ 3266056 h 3690279"/>
                <a:gd name="connsiteX8" fmla="*/ 1378283 w 4467183"/>
                <a:gd name="connsiteY8" fmla="*/ 2856908 h 3690279"/>
                <a:gd name="connsiteX9" fmla="*/ 490014 w 4467183"/>
                <a:gd name="connsiteY9" fmla="*/ 2246653 h 3690279"/>
                <a:gd name="connsiteX10" fmla="*/ 934222 w 4467183"/>
                <a:gd name="connsiteY10" fmla="*/ 2229152 h 3690279"/>
                <a:gd name="connsiteX11" fmla="*/ 153129 w 4467183"/>
                <a:gd name="connsiteY11" fmla="*/ 1306002 h 3690279"/>
                <a:gd name="connsiteX12" fmla="*/ 612665 w 4467183"/>
                <a:gd name="connsiteY12" fmla="*/ 1454815 h 3690279"/>
                <a:gd name="connsiteX13" fmla="*/ 288758 w 4467183"/>
                <a:gd name="connsiteY13" fmla="*/ 164096 h 369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67183" h="3690279">
                  <a:moveTo>
                    <a:pt x="288758" y="164096"/>
                  </a:moveTo>
                  <a:cubicBezTo>
                    <a:pt x="955963" y="957451"/>
                    <a:pt x="1605669" y="1126623"/>
                    <a:pt x="2187560" y="1148498"/>
                  </a:cubicBezTo>
                  <a:cubicBezTo>
                    <a:pt x="2152559" y="-479047"/>
                    <a:pt x="3683852" y="15342"/>
                    <a:pt x="3780104" y="295349"/>
                  </a:cubicBezTo>
                  <a:cubicBezTo>
                    <a:pt x="4361995" y="67843"/>
                    <a:pt x="3782292" y="289515"/>
                    <a:pt x="4366370" y="72218"/>
                  </a:cubicBezTo>
                  <a:cubicBezTo>
                    <a:pt x="4247878" y="289394"/>
                    <a:pt x="4050953" y="418623"/>
                    <a:pt x="3783341" y="682589"/>
                  </a:cubicBezTo>
                  <a:cubicBezTo>
                    <a:pt x="4277000" y="530919"/>
                    <a:pt x="3965317" y="591399"/>
                    <a:pt x="4466997" y="448479"/>
                  </a:cubicBezTo>
                  <a:cubicBezTo>
                    <a:pt x="4474289" y="502439"/>
                    <a:pt x="4266470" y="753278"/>
                    <a:pt x="4020735" y="916616"/>
                  </a:cubicBezTo>
                  <a:cubicBezTo>
                    <a:pt x="4041881" y="3280639"/>
                    <a:pt x="1687337" y="4350357"/>
                    <a:pt x="0" y="3266056"/>
                  </a:cubicBezTo>
                  <a:cubicBezTo>
                    <a:pt x="487097" y="3367413"/>
                    <a:pt x="1296614" y="3026809"/>
                    <a:pt x="1378283" y="2856908"/>
                  </a:cubicBezTo>
                  <a:cubicBezTo>
                    <a:pt x="1372450" y="2844511"/>
                    <a:pt x="754709" y="2917504"/>
                    <a:pt x="490014" y="2246653"/>
                  </a:cubicBezTo>
                  <a:cubicBezTo>
                    <a:pt x="1034716" y="2223319"/>
                    <a:pt x="552858" y="2251758"/>
                    <a:pt x="934222" y="2229152"/>
                  </a:cubicBezTo>
                  <a:cubicBezTo>
                    <a:pt x="125554" y="1913414"/>
                    <a:pt x="140733" y="1368712"/>
                    <a:pt x="153129" y="1306002"/>
                  </a:cubicBezTo>
                  <a:lnTo>
                    <a:pt x="612665" y="1454815"/>
                  </a:lnTo>
                  <a:cubicBezTo>
                    <a:pt x="-20998" y="920322"/>
                    <a:pt x="228342" y="227427"/>
                    <a:pt x="288758" y="1640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10377829" y="70331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3893526" y="1066191"/>
            <a:ext cx="792000" cy="792000"/>
            <a:chOff x="9824124" y="493090"/>
            <a:chExt cx="792000" cy="792000"/>
          </a:xfrm>
        </p:grpSpPr>
        <p:grpSp>
          <p:nvGrpSpPr>
            <p:cNvPr id="134" name="Group 133"/>
            <p:cNvGrpSpPr/>
            <p:nvPr/>
          </p:nvGrpSpPr>
          <p:grpSpPr>
            <a:xfrm>
              <a:off x="9830991" y="663799"/>
              <a:ext cx="778267" cy="450582"/>
              <a:chOff x="6998302" y="6372735"/>
              <a:chExt cx="920782" cy="533091"/>
            </a:xfrm>
          </p:grpSpPr>
          <p:sp>
            <p:nvSpPr>
              <p:cNvPr id="136" name="Freeform 13"/>
              <p:cNvSpPr>
                <a:spLocks noEditPoints="1"/>
              </p:cNvSpPr>
              <p:nvPr/>
            </p:nvSpPr>
            <p:spPr bwMode="auto">
              <a:xfrm>
                <a:off x="6998302" y="6427309"/>
                <a:ext cx="561949" cy="478517"/>
              </a:xfrm>
              <a:custGeom>
                <a:avLst/>
                <a:gdLst>
                  <a:gd name="T0" fmla="*/ 344 w 414"/>
                  <a:gd name="T1" fmla="*/ 55 h 353"/>
                  <a:gd name="T2" fmla="*/ 296 w 414"/>
                  <a:gd name="T3" fmla="*/ 9 h 353"/>
                  <a:gd name="T4" fmla="*/ 206 w 414"/>
                  <a:gd name="T5" fmla="*/ 45 h 353"/>
                  <a:gd name="T6" fmla="*/ 0 w 414"/>
                  <a:gd name="T7" fmla="*/ 174 h 353"/>
                  <a:gd name="T8" fmla="*/ 158 w 414"/>
                  <a:gd name="T9" fmla="*/ 278 h 353"/>
                  <a:gd name="T10" fmla="*/ 160 w 414"/>
                  <a:gd name="T11" fmla="*/ 278 h 353"/>
                  <a:gd name="T12" fmla="*/ 160 w 414"/>
                  <a:gd name="T13" fmla="*/ 332 h 353"/>
                  <a:gd name="T14" fmla="*/ 133 w 414"/>
                  <a:gd name="T15" fmla="*/ 337 h 353"/>
                  <a:gd name="T16" fmla="*/ 128 w 414"/>
                  <a:gd name="T17" fmla="*/ 347 h 353"/>
                  <a:gd name="T18" fmla="*/ 137 w 414"/>
                  <a:gd name="T19" fmla="*/ 352 h 353"/>
                  <a:gd name="T20" fmla="*/ 137 w 414"/>
                  <a:gd name="T21" fmla="*/ 352 h 353"/>
                  <a:gd name="T22" fmla="*/ 176 w 414"/>
                  <a:gd name="T23" fmla="*/ 346 h 353"/>
                  <a:gd name="T24" fmla="*/ 215 w 414"/>
                  <a:gd name="T25" fmla="*/ 352 h 353"/>
                  <a:gd name="T26" fmla="*/ 218 w 414"/>
                  <a:gd name="T27" fmla="*/ 352 h 353"/>
                  <a:gd name="T28" fmla="*/ 224 w 414"/>
                  <a:gd name="T29" fmla="*/ 347 h 353"/>
                  <a:gd name="T30" fmla="*/ 245 w 414"/>
                  <a:gd name="T31" fmla="*/ 352 h 353"/>
                  <a:gd name="T32" fmla="*/ 248 w 414"/>
                  <a:gd name="T33" fmla="*/ 352 h 353"/>
                  <a:gd name="T34" fmla="*/ 255 w 414"/>
                  <a:gd name="T35" fmla="*/ 347 h 353"/>
                  <a:gd name="T36" fmla="*/ 250 w 414"/>
                  <a:gd name="T37" fmla="*/ 337 h 353"/>
                  <a:gd name="T38" fmla="*/ 207 w 414"/>
                  <a:gd name="T39" fmla="*/ 331 h 353"/>
                  <a:gd name="T40" fmla="*/ 207 w 414"/>
                  <a:gd name="T41" fmla="*/ 271 h 353"/>
                  <a:gd name="T42" fmla="*/ 343 w 414"/>
                  <a:gd name="T43" fmla="*/ 112 h 353"/>
                  <a:gd name="T44" fmla="*/ 414 w 414"/>
                  <a:gd name="T45" fmla="*/ 83 h 353"/>
                  <a:gd name="T46" fmla="*/ 344 w 414"/>
                  <a:gd name="T47" fmla="*/ 55 h 353"/>
                  <a:gd name="T48" fmla="*/ 192 w 414"/>
                  <a:gd name="T49" fmla="*/ 332 h 353"/>
                  <a:gd name="T50" fmla="*/ 192 w 414"/>
                  <a:gd name="T51" fmla="*/ 332 h 353"/>
                  <a:gd name="T52" fmla="*/ 191 w 414"/>
                  <a:gd name="T53" fmla="*/ 332 h 353"/>
                  <a:gd name="T54" fmla="*/ 176 w 414"/>
                  <a:gd name="T55" fmla="*/ 331 h 353"/>
                  <a:gd name="T56" fmla="*/ 175 w 414"/>
                  <a:gd name="T57" fmla="*/ 331 h 353"/>
                  <a:gd name="T58" fmla="*/ 175 w 414"/>
                  <a:gd name="T59" fmla="*/ 277 h 353"/>
                  <a:gd name="T60" fmla="*/ 192 w 414"/>
                  <a:gd name="T61" fmla="*/ 275 h 353"/>
                  <a:gd name="T62" fmla="*/ 192 w 414"/>
                  <a:gd name="T63" fmla="*/ 332 h 353"/>
                  <a:gd name="T64" fmla="*/ 286 w 414"/>
                  <a:gd name="T65" fmla="*/ 82 h 353"/>
                  <a:gd name="T66" fmla="*/ 271 w 414"/>
                  <a:gd name="T67" fmla="*/ 67 h 353"/>
                  <a:gd name="T68" fmla="*/ 286 w 414"/>
                  <a:gd name="T69" fmla="*/ 52 h 353"/>
                  <a:gd name="T70" fmla="*/ 301 w 414"/>
                  <a:gd name="T71" fmla="*/ 67 h 353"/>
                  <a:gd name="T72" fmla="*/ 286 w 414"/>
                  <a:gd name="T73" fmla="*/ 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53">
                    <a:moveTo>
                      <a:pt x="344" y="55"/>
                    </a:moveTo>
                    <a:cubicBezTo>
                      <a:pt x="336" y="33"/>
                      <a:pt x="319" y="16"/>
                      <a:pt x="296" y="9"/>
                    </a:cubicBezTo>
                    <a:cubicBezTo>
                      <a:pt x="263" y="0"/>
                      <a:pt x="228" y="11"/>
                      <a:pt x="206" y="45"/>
                    </a:cubicBezTo>
                    <a:cubicBezTo>
                      <a:pt x="145" y="140"/>
                      <a:pt x="71" y="200"/>
                      <a:pt x="0" y="174"/>
                    </a:cubicBezTo>
                    <a:cubicBezTo>
                      <a:pt x="0" y="174"/>
                      <a:pt x="50" y="278"/>
                      <a:pt x="158" y="278"/>
                    </a:cubicBezTo>
                    <a:cubicBezTo>
                      <a:pt x="159" y="278"/>
                      <a:pt x="160" y="278"/>
                      <a:pt x="160" y="278"/>
                    </a:cubicBezTo>
                    <a:cubicBezTo>
                      <a:pt x="160" y="332"/>
                      <a:pt x="160" y="332"/>
                      <a:pt x="160" y="332"/>
                    </a:cubicBezTo>
                    <a:cubicBezTo>
                      <a:pt x="150" y="333"/>
                      <a:pt x="140" y="335"/>
                      <a:pt x="133" y="337"/>
                    </a:cubicBezTo>
                    <a:cubicBezTo>
                      <a:pt x="129" y="339"/>
                      <a:pt x="127" y="343"/>
                      <a:pt x="128" y="347"/>
                    </a:cubicBezTo>
                    <a:cubicBezTo>
                      <a:pt x="129" y="351"/>
                      <a:pt x="134" y="353"/>
                      <a:pt x="137" y="352"/>
                    </a:cubicBezTo>
                    <a:cubicBezTo>
                      <a:pt x="137" y="352"/>
                      <a:pt x="137" y="352"/>
                      <a:pt x="137" y="352"/>
                    </a:cubicBezTo>
                    <a:cubicBezTo>
                      <a:pt x="147" y="348"/>
                      <a:pt x="161" y="346"/>
                      <a:pt x="176" y="346"/>
                    </a:cubicBezTo>
                    <a:cubicBezTo>
                      <a:pt x="192" y="346"/>
                      <a:pt x="206" y="348"/>
                      <a:pt x="215" y="352"/>
                    </a:cubicBezTo>
                    <a:cubicBezTo>
                      <a:pt x="216" y="352"/>
                      <a:pt x="217" y="352"/>
                      <a:pt x="218" y="352"/>
                    </a:cubicBezTo>
                    <a:cubicBezTo>
                      <a:pt x="221" y="352"/>
                      <a:pt x="223" y="350"/>
                      <a:pt x="224" y="347"/>
                    </a:cubicBezTo>
                    <a:cubicBezTo>
                      <a:pt x="232" y="348"/>
                      <a:pt x="240" y="350"/>
                      <a:pt x="245" y="352"/>
                    </a:cubicBezTo>
                    <a:cubicBezTo>
                      <a:pt x="246" y="352"/>
                      <a:pt x="247" y="352"/>
                      <a:pt x="248" y="352"/>
                    </a:cubicBezTo>
                    <a:cubicBezTo>
                      <a:pt x="251" y="352"/>
                      <a:pt x="254" y="350"/>
                      <a:pt x="255" y="347"/>
                    </a:cubicBezTo>
                    <a:cubicBezTo>
                      <a:pt x="256" y="343"/>
                      <a:pt x="254" y="339"/>
                      <a:pt x="250" y="337"/>
                    </a:cubicBezTo>
                    <a:cubicBezTo>
                      <a:pt x="239" y="334"/>
                      <a:pt x="224" y="331"/>
                      <a:pt x="207" y="331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283" y="251"/>
                      <a:pt x="323" y="185"/>
                      <a:pt x="343" y="112"/>
                    </a:cubicBezTo>
                    <a:cubicBezTo>
                      <a:pt x="414" y="83"/>
                      <a:pt x="414" y="83"/>
                      <a:pt x="414" y="83"/>
                    </a:cubicBezTo>
                    <a:lnTo>
                      <a:pt x="344" y="55"/>
                    </a:lnTo>
                    <a:close/>
                    <a:moveTo>
                      <a:pt x="192" y="332"/>
                    </a:moveTo>
                    <a:cubicBezTo>
                      <a:pt x="192" y="332"/>
                      <a:pt x="192" y="332"/>
                      <a:pt x="192" y="332"/>
                    </a:cubicBezTo>
                    <a:cubicBezTo>
                      <a:pt x="192" y="332"/>
                      <a:pt x="192" y="332"/>
                      <a:pt x="191" y="332"/>
                    </a:cubicBezTo>
                    <a:cubicBezTo>
                      <a:pt x="187" y="331"/>
                      <a:pt x="181" y="331"/>
                      <a:pt x="176" y="331"/>
                    </a:cubicBezTo>
                    <a:cubicBezTo>
                      <a:pt x="176" y="331"/>
                      <a:pt x="176" y="331"/>
                      <a:pt x="175" y="331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81" y="276"/>
                      <a:pt x="187" y="276"/>
                      <a:pt x="192" y="275"/>
                    </a:cubicBezTo>
                    <a:lnTo>
                      <a:pt x="192" y="332"/>
                    </a:lnTo>
                    <a:close/>
                    <a:moveTo>
                      <a:pt x="286" y="82"/>
                    </a:moveTo>
                    <a:cubicBezTo>
                      <a:pt x="278" y="82"/>
                      <a:pt x="271" y="75"/>
                      <a:pt x="271" y="67"/>
                    </a:cubicBezTo>
                    <a:cubicBezTo>
                      <a:pt x="271" y="59"/>
                      <a:pt x="278" y="52"/>
                      <a:pt x="286" y="52"/>
                    </a:cubicBezTo>
                    <a:cubicBezTo>
                      <a:pt x="294" y="52"/>
                      <a:pt x="301" y="59"/>
                      <a:pt x="301" y="67"/>
                    </a:cubicBezTo>
                    <a:cubicBezTo>
                      <a:pt x="301" y="75"/>
                      <a:pt x="294" y="82"/>
                      <a:pt x="286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124342" tIns="62170" rIns="124342" bIns="6217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822725"/>
                <a:endParaRPr lang="en-US" sz="1600" spc="-135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grpSp>
            <p:nvGrpSpPr>
              <p:cNvPr id="137" name="Group 136"/>
              <p:cNvGrpSpPr/>
              <p:nvPr/>
            </p:nvGrpSpPr>
            <p:grpSpPr>
              <a:xfrm>
                <a:off x="7601993" y="6372735"/>
                <a:ext cx="317091" cy="203564"/>
                <a:chOff x="6254175" y="1734688"/>
                <a:chExt cx="425108" cy="272909"/>
              </a:xfrm>
            </p:grpSpPr>
            <p:cxnSp>
              <p:nvCxnSpPr>
                <p:cNvPr id="138" name="Straight Connector 137"/>
                <p:cNvCxnSpPr/>
                <p:nvPr/>
              </p:nvCxnSpPr>
              <p:spPr>
                <a:xfrm flipV="1">
                  <a:off x="6254175" y="1734688"/>
                  <a:ext cx="217786" cy="17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/>
                <p:cNvCxnSpPr/>
                <p:nvPr/>
              </p:nvCxnSpPr>
              <p:spPr>
                <a:xfrm flipH="1">
                  <a:off x="6264641" y="2007597"/>
                  <a:ext cx="275789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/>
                <p:cNvCxnSpPr/>
                <p:nvPr/>
              </p:nvCxnSpPr>
              <p:spPr>
                <a:xfrm flipV="1">
                  <a:off x="6264640" y="1839711"/>
                  <a:ext cx="414643" cy="11479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35" name="Rectangle 134"/>
            <p:cNvSpPr/>
            <p:nvPr/>
          </p:nvSpPr>
          <p:spPr>
            <a:xfrm>
              <a:off x="9824124" y="4930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2288185" y="1721159"/>
            <a:ext cx="792000" cy="792000"/>
            <a:chOff x="10319379" y="598363"/>
            <a:chExt cx="792000" cy="792000"/>
          </a:xfrm>
        </p:grpSpPr>
        <p:sp>
          <p:nvSpPr>
            <p:cNvPr id="142" name="Freeform 31"/>
            <p:cNvSpPr>
              <a:spLocks noEditPoints="1"/>
            </p:cNvSpPr>
            <p:nvPr/>
          </p:nvSpPr>
          <p:spPr bwMode="auto">
            <a:xfrm>
              <a:off x="10437834" y="663407"/>
              <a:ext cx="555091" cy="661913"/>
            </a:xfrm>
            <a:custGeom>
              <a:avLst/>
              <a:gdLst>
                <a:gd name="T0" fmla="*/ 455 w 971"/>
                <a:gd name="T1" fmla="*/ 0 h 912"/>
                <a:gd name="T2" fmla="*/ 911 w 971"/>
                <a:gd name="T3" fmla="*/ 268 h 912"/>
                <a:gd name="T4" fmla="*/ 825 w 971"/>
                <a:gd name="T5" fmla="*/ 425 h 912"/>
                <a:gd name="T6" fmla="*/ 971 w 971"/>
                <a:gd name="T7" fmla="*/ 617 h 912"/>
                <a:gd name="T8" fmla="*/ 629 w 971"/>
                <a:gd name="T9" fmla="*/ 516 h 912"/>
                <a:gd name="T10" fmla="*/ 455 w 971"/>
                <a:gd name="T11" fmla="*/ 536 h 912"/>
                <a:gd name="T12" fmla="*/ 0 w 971"/>
                <a:gd name="T13" fmla="*/ 268 h 912"/>
                <a:gd name="T14" fmla="*/ 455 w 971"/>
                <a:gd name="T15" fmla="*/ 0 h 912"/>
                <a:gd name="T16" fmla="*/ 291 w 971"/>
                <a:gd name="T17" fmla="*/ 565 h 912"/>
                <a:gd name="T18" fmla="*/ 34 w 971"/>
                <a:gd name="T19" fmla="*/ 716 h 912"/>
                <a:gd name="T20" fmla="*/ 82 w 971"/>
                <a:gd name="T21" fmla="*/ 804 h 912"/>
                <a:gd name="T22" fmla="*/ 0 w 971"/>
                <a:gd name="T23" fmla="*/ 912 h 912"/>
                <a:gd name="T24" fmla="*/ 193 w 971"/>
                <a:gd name="T25" fmla="*/ 855 h 912"/>
                <a:gd name="T26" fmla="*/ 291 w 971"/>
                <a:gd name="T27" fmla="*/ 867 h 912"/>
                <a:gd name="T28" fmla="*/ 547 w 971"/>
                <a:gd name="T29" fmla="*/ 716 h 912"/>
                <a:gd name="T30" fmla="*/ 291 w 971"/>
                <a:gd name="T31" fmla="*/ 565 h 912"/>
                <a:gd name="T32" fmla="*/ 565 w 971"/>
                <a:gd name="T33" fmla="*/ 686 h 912"/>
                <a:gd name="T34" fmla="*/ 727 w 971"/>
                <a:gd name="T35" fmla="*/ 781 h 912"/>
                <a:gd name="T36" fmla="*/ 789 w 971"/>
                <a:gd name="T37" fmla="*/ 774 h 912"/>
                <a:gd name="T38" fmla="*/ 911 w 971"/>
                <a:gd name="T39" fmla="*/ 810 h 912"/>
                <a:gd name="T40" fmla="*/ 859 w 971"/>
                <a:gd name="T41" fmla="*/ 741 h 912"/>
                <a:gd name="T42" fmla="*/ 889 w 971"/>
                <a:gd name="T43" fmla="*/ 686 h 912"/>
                <a:gd name="T44" fmla="*/ 727 w 971"/>
                <a:gd name="T45" fmla="*/ 590 h 912"/>
                <a:gd name="T46" fmla="*/ 565 w 971"/>
                <a:gd name="T47" fmla="*/ 686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1" h="912">
                  <a:moveTo>
                    <a:pt x="455" y="0"/>
                  </a:moveTo>
                  <a:cubicBezTo>
                    <a:pt x="707" y="0"/>
                    <a:pt x="911" y="120"/>
                    <a:pt x="911" y="268"/>
                  </a:cubicBezTo>
                  <a:cubicBezTo>
                    <a:pt x="911" y="327"/>
                    <a:pt x="879" y="381"/>
                    <a:pt x="825" y="425"/>
                  </a:cubicBezTo>
                  <a:cubicBezTo>
                    <a:pt x="971" y="617"/>
                    <a:pt x="971" y="617"/>
                    <a:pt x="971" y="617"/>
                  </a:cubicBezTo>
                  <a:cubicBezTo>
                    <a:pt x="629" y="516"/>
                    <a:pt x="629" y="516"/>
                    <a:pt x="629" y="516"/>
                  </a:cubicBezTo>
                  <a:cubicBezTo>
                    <a:pt x="575" y="529"/>
                    <a:pt x="517" y="536"/>
                    <a:pt x="455" y="536"/>
                  </a:cubicBezTo>
                  <a:cubicBezTo>
                    <a:pt x="204" y="536"/>
                    <a:pt x="0" y="416"/>
                    <a:pt x="0" y="268"/>
                  </a:cubicBezTo>
                  <a:cubicBezTo>
                    <a:pt x="0" y="120"/>
                    <a:pt x="204" y="0"/>
                    <a:pt x="455" y="0"/>
                  </a:cubicBezTo>
                  <a:close/>
                  <a:moveTo>
                    <a:pt x="291" y="565"/>
                  </a:moveTo>
                  <a:cubicBezTo>
                    <a:pt x="149" y="565"/>
                    <a:pt x="34" y="633"/>
                    <a:pt x="34" y="716"/>
                  </a:cubicBezTo>
                  <a:cubicBezTo>
                    <a:pt x="34" y="749"/>
                    <a:pt x="52" y="779"/>
                    <a:pt x="82" y="804"/>
                  </a:cubicBezTo>
                  <a:cubicBezTo>
                    <a:pt x="0" y="912"/>
                    <a:pt x="0" y="912"/>
                    <a:pt x="0" y="912"/>
                  </a:cubicBezTo>
                  <a:cubicBezTo>
                    <a:pt x="193" y="855"/>
                    <a:pt x="193" y="855"/>
                    <a:pt x="193" y="855"/>
                  </a:cubicBezTo>
                  <a:cubicBezTo>
                    <a:pt x="223" y="863"/>
                    <a:pt x="256" y="867"/>
                    <a:pt x="291" y="867"/>
                  </a:cubicBezTo>
                  <a:cubicBezTo>
                    <a:pt x="432" y="867"/>
                    <a:pt x="547" y="799"/>
                    <a:pt x="547" y="716"/>
                  </a:cubicBezTo>
                  <a:cubicBezTo>
                    <a:pt x="547" y="633"/>
                    <a:pt x="432" y="565"/>
                    <a:pt x="291" y="565"/>
                  </a:cubicBezTo>
                  <a:close/>
                  <a:moveTo>
                    <a:pt x="565" y="686"/>
                  </a:moveTo>
                  <a:cubicBezTo>
                    <a:pt x="565" y="738"/>
                    <a:pt x="638" y="781"/>
                    <a:pt x="727" y="781"/>
                  </a:cubicBezTo>
                  <a:cubicBezTo>
                    <a:pt x="749" y="781"/>
                    <a:pt x="770" y="779"/>
                    <a:pt x="789" y="774"/>
                  </a:cubicBezTo>
                  <a:cubicBezTo>
                    <a:pt x="911" y="810"/>
                    <a:pt x="911" y="810"/>
                    <a:pt x="911" y="810"/>
                  </a:cubicBezTo>
                  <a:cubicBezTo>
                    <a:pt x="859" y="741"/>
                    <a:pt x="859" y="741"/>
                    <a:pt x="859" y="741"/>
                  </a:cubicBezTo>
                  <a:cubicBezTo>
                    <a:pt x="878" y="726"/>
                    <a:pt x="889" y="707"/>
                    <a:pt x="889" y="686"/>
                  </a:cubicBezTo>
                  <a:cubicBezTo>
                    <a:pt x="889" y="633"/>
                    <a:pt x="817" y="590"/>
                    <a:pt x="727" y="590"/>
                  </a:cubicBezTo>
                  <a:cubicBezTo>
                    <a:pt x="638" y="590"/>
                    <a:pt x="565" y="633"/>
                    <a:pt x="565" y="6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7199" tIns="33599" rIns="67199" bIns="33599" numCol="1" anchor="t" anchorCtr="0" compatLnSpc="1">
              <a:prstTxWarp prst="textNoShape">
                <a:avLst/>
              </a:prstTxWarp>
            </a:bodyPr>
            <a:lstStyle/>
            <a:p>
              <a:pPr defTabSz="671919">
                <a:defRPr/>
              </a:pPr>
              <a:endParaRPr lang="en-US" sz="1600" b="1" kern="0" dirty="0">
                <a:solidFill>
                  <a:sysClr val="windowText" lastClr="000000"/>
                </a:solidFill>
                <a:latin typeface="NotesStyle-Medium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10319379" y="5983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2243448" y="366886"/>
            <a:ext cx="792000" cy="792000"/>
            <a:chOff x="9667628" y="527260"/>
            <a:chExt cx="792000" cy="792000"/>
          </a:xfrm>
        </p:grpSpPr>
        <p:grpSp>
          <p:nvGrpSpPr>
            <p:cNvPr id="145" name="Group 144"/>
            <p:cNvGrpSpPr/>
            <p:nvPr/>
          </p:nvGrpSpPr>
          <p:grpSpPr>
            <a:xfrm>
              <a:off x="9809270" y="668866"/>
              <a:ext cx="508717" cy="508788"/>
              <a:chOff x="7701219" y="3078011"/>
              <a:chExt cx="1195022" cy="1195191"/>
            </a:xfrm>
          </p:grpSpPr>
          <p:pic>
            <p:nvPicPr>
              <p:cNvPr id="147" name="Picture 146"/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47587" y="3147573"/>
                <a:ext cx="1099029" cy="1099185"/>
              </a:xfrm>
              <a:prstGeom prst="rect">
                <a:avLst/>
              </a:prstGeom>
            </p:spPr>
          </p:pic>
          <p:sp>
            <p:nvSpPr>
              <p:cNvPr id="148" name="Rounded Rectangle 147"/>
              <p:cNvSpPr/>
              <p:nvPr/>
            </p:nvSpPr>
            <p:spPr bwMode="auto">
              <a:xfrm>
                <a:off x="7701219" y="3078011"/>
                <a:ext cx="1195022" cy="1195191"/>
              </a:xfrm>
              <a:prstGeom prst="roundRect">
                <a:avLst/>
              </a:prstGeom>
              <a:noFill/>
              <a:ln w="3810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3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</p:grpSp>
        <p:sp>
          <p:nvSpPr>
            <p:cNvPr id="146" name="Rectangle 145"/>
            <p:cNvSpPr/>
            <p:nvPr/>
          </p:nvSpPr>
          <p:spPr>
            <a:xfrm>
              <a:off x="9667628" y="52726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3893526" y="379674"/>
            <a:ext cx="792000" cy="792000"/>
            <a:chOff x="9878492" y="1341798"/>
            <a:chExt cx="792000" cy="792000"/>
          </a:xfrm>
        </p:grpSpPr>
        <p:grpSp>
          <p:nvGrpSpPr>
            <p:cNvPr id="150" name="Group 149"/>
            <p:cNvGrpSpPr/>
            <p:nvPr/>
          </p:nvGrpSpPr>
          <p:grpSpPr>
            <a:xfrm>
              <a:off x="9999481" y="1462747"/>
              <a:ext cx="550022" cy="550102"/>
              <a:chOff x="8003265" y="1279090"/>
              <a:chExt cx="1064945" cy="1065100"/>
            </a:xfrm>
          </p:grpSpPr>
          <p:sp>
            <p:nvSpPr>
              <p:cNvPr id="152" name="Freeform 6"/>
              <p:cNvSpPr>
                <a:spLocks/>
              </p:cNvSpPr>
              <p:nvPr/>
            </p:nvSpPr>
            <p:spPr bwMode="auto">
              <a:xfrm>
                <a:off x="8003265" y="1279090"/>
                <a:ext cx="1064945" cy="1065100"/>
              </a:xfrm>
              <a:custGeom>
                <a:avLst/>
                <a:gdLst>
                  <a:gd name="T0" fmla="*/ 0 w 1550"/>
                  <a:gd name="T1" fmla="*/ 278 h 1550"/>
                  <a:gd name="T2" fmla="*/ 0 w 1550"/>
                  <a:gd name="T3" fmla="*/ 1272 h 1550"/>
                  <a:gd name="T4" fmla="*/ 278 w 1550"/>
                  <a:gd name="T5" fmla="*/ 1550 h 1550"/>
                  <a:gd name="T6" fmla="*/ 1272 w 1550"/>
                  <a:gd name="T7" fmla="*/ 1550 h 1550"/>
                  <a:gd name="T8" fmla="*/ 1550 w 1550"/>
                  <a:gd name="T9" fmla="*/ 1272 h 1550"/>
                  <a:gd name="T10" fmla="*/ 1550 w 1550"/>
                  <a:gd name="T11" fmla="*/ 278 h 1550"/>
                  <a:gd name="T12" fmla="*/ 1272 w 1550"/>
                  <a:gd name="T13" fmla="*/ 0 h 1550"/>
                  <a:gd name="T14" fmla="*/ 278 w 1550"/>
                  <a:gd name="T15" fmla="*/ 0 h 1550"/>
                  <a:gd name="T16" fmla="*/ 0 w 1550"/>
                  <a:gd name="T17" fmla="*/ 278 h 1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0" h="1550">
                    <a:moveTo>
                      <a:pt x="0" y="278"/>
                    </a:moveTo>
                    <a:cubicBezTo>
                      <a:pt x="0" y="1272"/>
                      <a:pt x="0" y="1272"/>
                      <a:pt x="0" y="1272"/>
                    </a:cubicBezTo>
                    <a:cubicBezTo>
                      <a:pt x="0" y="1425"/>
                      <a:pt x="125" y="1550"/>
                      <a:pt x="278" y="1550"/>
                    </a:cubicBezTo>
                    <a:cubicBezTo>
                      <a:pt x="1272" y="1550"/>
                      <a:pt x="1272" y="1550"/>
                      <a:pt x="1272" y="1550"/>
                    </a:cubicBezTo>
                    <a:cubicBezTo>
                      <a:pt x="1425" y="1550"/>
                      <a:pt x="1550" y="1425"/>
                      <a:pt x="1550" y="1272"/>
                    </a:cubicBezTo>
                    <a:cubicBezTo>
                      <a:pt x="1550" y="278"/>
                      <a:pt x="1550" y="278"/>
                      <a:pt x="1550" y="278"/>
                    </a:cubicBezTo>
                    <a:cubicBezTo>
                      <a:pt x="1550" y="125"/>
                      <a:pt x="1425" y="0"/>
                      <a:pt x="1272" y="0"/>
                    </a:cubicBezTo>
                    <a:cubicBezTo>
                      <a:pt x="278" y="0"/>
                      <a:pt x="278" y="0"/>
                      <a:pt x="278" y="0"/>
                    </a:cubicBezTo>
                    <a:cubicBezTo>
                      <a:pt x="125" y="0"/>
                      <a:pt x="0" y="125"/>
                      <a:pt x="0" y="27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124342" tIns="62170" rIns="124342" bIns="6217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822725"/>
                <a:endParaRPr lang="en-US" sz="1600" spc="-135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sp>
            <p:nvSpPr>
              <p:cNvPr id="153" name="Freeform 7"/>
              <p:cNvSpPr>
                <a:spLocks/>
              </p:cNvSpPr>
              <p:nvPr/>
            </p:nvSpPr>
            <p:spPr bwMode="auto">
              <a:xfrm>
                <a:off x="8059134" y="1485801"/>
                <a:ext cx="447848" cy="847833"/>
              </a:xfrm>
              <a:custGeom>
                <a:avLst/>
                <a:gdLst>
                  <a:gd name="T0" fmla="*/ 548 w 652"/>
                  <a:gd name="T1" fmla="*/ 211 h 1234"/>
                  <a:gd name="T2" fmla="*/ 652 w 652"/>
                  <a:gd name="T3" fmla="*/ 211 h 1234"/>
                  <a:gd name="T4" fmla="*/ 652 w 652"/>
                  <a:gd name="T5" fmla="*/ 0 h 1234"/>
                  <a:gd name="T6" fmla="*/ 426 w 652"/>
                  <a:gd name="T7" fmla="*/ 0 h 1234"/>
                  <a:gd name="T8" fmla="*/ 178 w 652"/>
                  <a:gd name="T9" fmla="*/ 248 h 1234"/>
                  <a:gd name="T10" fmla="*/ 178 w 652"/>
                  <a:gd name="T11" fmla="*/ 374 h 1234"/>
                  <a:gd name="T12" fmla="*/ 0 w 652"/>
                  <a:gd name="T13" fmla="*/ 374 h 1234"/>
                  <a:gd name="T14" fmla="*/ 0 w 652"/>
                  <a:gd name="T15" fmla="*/ 585 h 1234"/>
                  <a:gd name="T16" fmla="*/ 178 w 652"/>
                  <a:gd name="T17" fmla="*/ 585 h 1234"/>
                  <a:gd name="T18" fmla="*/ 178 w 652"/>
                  <a:gd name="T19" fmla="*/ 1234 h 1234"/>
                  <a:gd name="T20" fmla="*/ 455 w 652"/>
                  <a:gd name="T21" fmla="*/ 1234 h 1234"/>
                  <a:gd name="T22" fmla="*/ 455 w 652"/>
                  <a:gd name="T23" fmla="*/ 585 h 1234"/>
                  <a:gd name="T24" fmla="*/ 652 w 652"/>
                  <a:gd name="T25" fmla="*/ 585 h 1234"/>
                  <a:gd name="T26" fmla="*/ 652 w 652"/>
                  <a:gd name="T27" fmla="*/ 374 h 1234"/>
                  <a:gd name="T28" fmla="*/ 455 w 652"/>
                  <a:gd name="T29" fmla="*/ 374 h 1234"/>
                  <a:gd name="T30" fmla="*/ 455 w 652"/>
                  <a:gd name="T31" fmla="*/ 304 h 1234"/>
                  <a:gd name="T32" fmla="*/ 548 w 652"/>
                  <a:gd name="T33" fmla="*/ 211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2" h="1234">
                    <a:moveTo>
                      <a:pt x="548" y="211"/>
                    </a:moveTo>
                    <a:cubicBezTo>
                      <a:pt x="652" y="211"/>
                      <a:pt x="652" y="211"/>
                      <a:pt x="652" y="211"/>
                    </a:cubicBezTo>
                    <a:cubicBezTo>
                      <a:pt x="652" y="0"/>
                      <a:pt x="652" y="0"/>
                      <a:pt x="65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289" y="0"/>
                      <a:pt x="178" y="111"/>
                      <a:pt x="178" y="248"/>
                    </a:cubicBezTo>
                    <a:cubicBezTo>
                      <a:pt x="178" y="374"/>
                      <a:pt x="178" y="374"/>
                      <a:pt x="178" y="374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585"/>
                      <a:pt x="0" y="585"/>
                      <a:pt x="0" y="585"/>
                    </a:cubicBezTo>
                    <a:cubicBezTo>
                      <a:pt x="178" y="585"/>
                      <a:pt x="178" y="585"/>
                      <a:pt x="178" y="585"/>
                    </a:cubicBezTo>
                    <a:cubicBezTo>
                      <a:pt x="178" y="1234"/>
                      <a:pt x="178" y="1234"/>
                      <a:pt x="178" y="1234"/>
                    </a:cubicBezTo>
                    <a:cubicBezTo>
                      <a:pt x="455" y="1234"/>
                      <a:pt x="455" y="1234"/>
                      <a:pt x="455" y="1234"/>
                    </a:cubicBezTo>
                    <a:cubicBezTo>
                      <a:pt x="455" y="585"/>
                      <a:pt x="455" y="585"/>
                      <a:pt x="455" y="585"/>
                    </a:cubicBezTo>
                    <a:cubicBezTo>
                      <a:pt x="652" y="585"/>
                      <a:pt x="652" y="585"/>
                      <a:pt x="652" y="585"/>
                    </a:cubicBezTo>
                    <a:cubicBezTo>
                      <a:pt x="652" y="374"/>
                      <a:pt x="652" y="374"/>
                      <a:pt x="652" y="374"/>
                    </a:cubicBezTo>
                    <a:cubicBezTo>
                      <a:pt x="455" y="374"/>
                      <a:pt x="455" y="374"/>
                      <a:pt x="455" y="374"/>
                    </a:cubicBezTo>
                    <a:cubicBezTo>
                      <a:pt x="455" y="304"/>
                      <a:pt x="455" y="304"/>
                      <a:pt x="455" y="304"/>
                    </a:cubicBezTo>
                    <a:cubicBezTo>
                      <a:pt x="455" y="252"/>
                      <a:pt x="496" y="211"/>
                      <a:pt x="548" y="211"/>
                    </a:cubicBezTo>
                  </a:path>
                </a:pathLst>
              </a:custGeom>
              <a:solidFill>
                <a:srgbClr val="007ABD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24342" tIns="62170" rIns="124342" bIns="6217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84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</p:grpSp>
        <p:sp>
          <p:nvSpPr>
            <p:cNvPr id="151" name="Rectangle 150"/>
            <p:cNvSpPr/>
            <p:nvPr/>
          </p:nvSpPr>
          <p:spPr>
            <a:xfrm>
              <a:off x="9878492" y="134179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6331514" y="1011454"/>
            <a:ext cx="792000" cy="792000"/>
            <a:chOff x="4925484" y="-2217218"/>
            <a:chExt cx="792000" cy="792000"/>
          </a:xfrm>
        </p:grpSpPr>
        <p:pic>
          <p:nvPicPr>
            <p:cNvPr id="155" name="Picture 3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62484" y="-1952222"/>
              <a:ext cx="718001" cy="262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6" name="Rectangle 155"/>
            <p:cNvSpPr/>
            <p:nvPr/>
          </p:nvSpPr>
          <p:spPr>
            <a:xfrm>
              <a:off x="4925484" y="-221721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6392216" y="269992"/>
            <a:ext cx="792000" cy="792000"/>
            <a:chOff x="1937295" y="-1305632"/>
            <a:chExt cx="792000" cy="792000"/>
          </a:xfrm>
        </p:grpSpPr>
        <p:sp>
          <p:nvSpPr>
            <p:cNvPr id="158" name="Freeform 11"/>
            <p:cNvSpPr>
              <a:spLocks noChangeAspect="1" noEditPoints="1"/>
            </p:cNvSpPr>
            <p:nvPr/>
          </p:nvSpPr>
          <p:spPr bwMode="auto">
            <a:xfrm>
              <a:off x="2003036" y="-1182683"/>
              <a:ext cx="660519" cy="546103"/>
            </a:xfrm>
            <a:custGeom>
              <a:avLst/>
              <a:gdLst>
                <a:gd name="T0" fmla="*/ 125 w 264"/>
                <a:gd name="T1" fmla="*/ 31 h 245"/>
                <a:gd name="T2" fmla="*/ 33 w 264"/>
                <a:gd name="T3" fmla="*/ 57 h 245"/>
                <a:gd name="T4" fmla="*/ 14 w 264"/>
                <a:gd name="T5" fmla="*/ 29 h 245"/>
                <a:gd name="T6" fmla="*/ 105 w 264"/>
                <a:gd name="T7" fmla="*/ 9 h 245"/>
                <a:gd name="T8" fmla="*/ 126 w 264"/>
                <a:gd name="T9" fmla="*/ 24 h 245"/>
                <a:gd name="T10" fmla="*/ 235 w 264"/>
                <a:gd name="T11" fmla="*/ 57 h 245"/>
                <a:gd name="T12" fmla="*/ 253 w 264"/>
                <a:gd name="T13" fmla="*/ 24 h 245"/>
                <a:gd name="T14" fmla="*/ 156 w 264"/>
                <a:gd name="T15" fmla="*/ 5 h 245"/>
                <a:gd name="T16" fmla="*/ 144 w 264"/>
                <a:gd name="T17" fmla="*/ 31 h 245"/>
                <a:gd name="T18" fmla="*/ 235 w 264"/>
                <a:gd name="T19" fmla="*/ 57 h 245"/>
                <a:gd name="T20" fmla="*/ 191 w 264"/>
                <a:gd name="T21" fmla="*/ 141 h 245"/>
                <a:gd name="T22" fmla="*/ 261 w 264"/>
                <a:gd name="T23" fmla="*/ 97 h 245"/>
                <a:gd name="T24" fmla="*/ 224 w 264"/>
                <a:gd name="T25" fmla="*/ 68 h 245"/>
                <a:gd name="T26" fmla="*/ 143 w 264"/>
                <a:gd name="T27" fmla="*/ 113 h 245"/>
                <a:gd name="T28" fmla="*/ 177 w 264"/>
                <a:gd name="T29" fmla="*/ 140 h 245"/>
                <a:gd name="T30" fmla="*/ 91 w 264"/>
                <a:gd name="T31" fmla="*/ 145 h 245"/>
                <a:gd name="T32" fmla="*/ 126 w 264"/>
                <a:gd name="T33" fmla="*/ 105 h 245"/>
                <a:gd name="T34" fmla="*/ 33 w 264"/>
                <a:gd name="T35" fmla="*/ 70 h 245"/>
                <a:gd name="T36" fmla="*/ 4 w 264"/>
                <a:gd name="T37" fmla="*/ 104 h 245"/>
                <a:gd name="T38" fmla="*/ 91 w 264"/>
                <a:gd name="T39" fmla="*/ 145 h 245"/>
                <a:gd name="T40" fmla="*/ 123 w 264"/>
                <a:gd name="T41" fmla="*/ 130 h 245"/>
                <a:gd name="T42" fmla="*/ 80 w 264"/>
                <a:gd name="T43" fmla="*/ 159 h 245"/>
                <a:gd name="T44" fmla="*/ 38 w 264"/>
                <a:gd name="T45" fmla="*/ 143 h 245"/>
                <a:gd name="T46" fmla="*/ 45 w 264"/>
                <a:gd name="T47" fmla="*/ 207 h 245"/>
                <a:gd name="T48" fmla="*/ 129 w 264"/>
                <a:gd name="T49" fmla="*/ 239 h 245"/>
                <a:gd name="T50" fmla="*/ 129 w 264"/>
                <a:gd name="T51" fmla="*/ 133 h 245"/>
                <a:gd name="T52" fmla="*/ 177 w 264"/>
                <a:gd name="T53" fmla="*/ 151 h 245"/>
                <a:gd name="T54" fmla="*/ 141 w 264"/>
                <a:gd name="T55" fmla="*/ 131 h 245"/>
                <a:gd name="T56" fmla="*/ 148 w 264"/>
                <a:gd name="T57" fmla="*/ 243 h 245"/>
                <a:gd name="T58" fmla="*/ 230 w 264"/>
                <a:gd name="T59" fmla="*/ 196 h 245"/>
                <a:gd name="T60" fmla="*/ 223 w 264"/>
                <a:gd name="T61" fmla="*/ 136 h 245"/>
                <a:gd name="T62" fmla="*/ 190 w 264"/>
                <a:gd name="T63" fmla="*/ 15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4" h="245">
                  <a:moveTo>
                    <a:pt x="126" y="24"/>
                  </a:moveTo>
                  <a:cubicBezTo>
                    <a:pt x="130" y="26"/>
                    <a:pt x="129" y="29"/>
                    <a:pt x="125" y="3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2" y="62"/>
                    <a:pt x="36" y="60"/>
                    <a:pt x="33" y="57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9" y="33"/>
                    <a:pt x="9" y="30"/>
                    <a:pt x="14" y="29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95" y="6"/>
                    <a:pt x="102" y="7"/>
                    <a:pt x="105" y="9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24"/>
                    <a:pt x="126" y="24"/>
                    <a:pt x="126" y="24"/>
                  </a:cubicBezTo>
                  <a:close/>
                  <a:moveTo>
                    <a:pt x="235" y="57"/>
                  </a:moveTo>
                  <a:cubicBezTo>
                    <a:pt x="235" y="57"/>
                    <a:pt x="235" y="57"/>
                    <a:pt x="235" y="57"/>
                  </a:cubicBezTo>
                  <a:cubicBezTo>
                    <a:pt x="256" y="32"/>
                    <a:pt x="256" y="32"/>
                    <a:pt x="256" y="32"/>
                  </a:cubicBezTo>
                  <a:cubicBezTo>
                    <a:pt x="258" y="29"/>
                    <a:pt x="257" y="25"/>
                    <a:pt x="253" y="24"/>
                  </a:cubicBezTo>
                  <a:cubicBezTo>
                    <a:pt x="253" y="24"/>
                    <a:pt x="253" y="24"/>
                    <a:pt x="168" y="1"/>
                  </a:cubicBezTo>
                  <a:cubicBezTo>
                    <a:pt x="164" y="0"/>
                    <a:pt x="158" y="2"/>
                    <a:pt x="156" y="5"/>
                  </a:cubicBezTo>
                  <a:cubicBezTo>
                    <a:pt x="156" y="5"/>
                    <a:pt x="156" y="5"/>
                    <a:pt x="142" y="22"/>
                  </a:cubicBezTo>
                  <a:cubicBezTo>
                    <a:pt x="139" y="25"/>
                    <a:pt x="140" y="29"/>
                    <a:pt x="144" y="31"/>
                  </a:cubicBezTo>
                  <a:cubicBezTo>
                    <a:pt x="144" y="31"/>
                    <a:pt x="144" y="31"/>
                    <a:pt x="223" y="60"/>
                  </a:cubicBezTo>
                  <a:cubicBezTo>
                    <a:pt x="227" y="62"/>
                    <a:pt x="233" y="60"/>
                    <a:pt x="235" y="57"/>
                  </a:cubicBezTo>
                  <a:close/>
                  <a:moveTo>
                    <a:pt x="177" y="140"/>
                  </a:moveTo>
                  <a:cubicBezTo>
                    <a:pt x="181" y="142"/>
                    <a:pt x="187" y="143"/>
                    <a:pt x="191" y="141"/>
                  </a:cubicBezTo>
                  <a:cubicBezTo>
                    <a:pt x="259" y="106"/>
                    <a:pt x="259" y="106"/>
                    <a:pt x="259" y="106"/>
                  </a:cubicBezTo>
                  <a:cubicBezTo>
                    <a:pt x="263" y="104"/>
                    <a:pt x="264" y="100"/>
                    <a:pt x="261" y="97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33" y="67"/>
                    <a:pt x="228" y="66"/>
                    <a:pt x="224" y="68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0" y="107"/>
                    <a:pt x="140" y="110"/>
                    <a:pt x="143" y="113"/>
                  </a:cubicBezTo>
                  <a:cubicBezTo>
                    <a:pt x="177" y="140"/>
                    <a:pt x="177" y="140"/>
                    <a:pt x="177" y="140"/>
                  </a:cubicBezTo>
                  <a:cubicBezTo>
                    <a:pt x="177" y="140"/>
                    <a:pt x="177" y="140"/>
                    <a:pt x="177" y="140"/>
                  </a:cubicBezTo>
                  <a:close/>
                  <a:moveTo>
                    <a:pt x="91" y="145"/>
                  </a:moveTo>
                  <a:cubicBezTo>
                    <a:pt x="91" y="145"/>
                    <a:pt x="91" y="145"/>
                    <a:pt x="91" y="145"/>
                  </a:cubicBezTo>
                  <a:cubicBezTo>
                    <a:pt x="127" y="113"/>
                    <a:pt x="127" y="113"/>
                    <a:pt x="127" y="113"/>
                  </a:cubicBezTo>
                  <a:cubicBezTo>
                    <a:pt x="130" y="110"/>
                    <a:pt x="129" y="106"/>
                    <a:pt x="126" y="105"/>
                  </a:cubicBezTo>
                  <a:cubicBezTo>
                    <a:pt x="126" y="105"/>
                    <a:pt x="126" y="105"/>
                    <a:pt x="46" y="68"/>
                  </a:cubicBezTo>
                  <a:cubicBezTo>
                    <a:pt x="42" y="66"/>
                    <a:pt x="36" y="67"/>
                    <a:pt x="33" y="70"/>
                  </a:cubicBezTo>
                  <a:cubicBezTo>
                    <a:pt x="33" y="70"/>
                    <a:pt x="33" y="70"/>
                    <a:pt x="3" y="95"/>
                  </a:cubicBezTo>
                  <a:cubicBezTo>
                    <a:pt x="0" y="98"/>
                    <a:pt x="0" y="102"/>
                    <a:pt x="4" y="104"/>
                  </a:cubicBezTo>
                  <a:cubicBezTo>
                    <a:pt x="4" y="104"/>
                    <a:pt x="4" y="104"/>
                    <a:pt x="79" y="147"/>
                  </a:cubicBezTo>
                  <a:cubicBezTo>
                    <a:pt x="82" y="149"/>
                    <a:pt x="88" y="148"/>
                    <a:pt x="91" y="145"/>
                  </a:cubicBezTo>
                  <a:close/>
                  <a:moveTo>
                    <a:pt x="129" y="133"/>
                  </a:moveTo>
                  <a:cubicBezTo>
                    <a:pt x="129" y="128"/>
                    <a:pt x="126" y="127"/>
                    <a:pt x="123" y="130"/>
                  </a:cubicBezTo>
                  <a:cubicBezTo>
                    <a:pt x="92" y="158"/>
                    <a:pt x="92" y="158"/>
                    <a:pt x="92" y="158"/>
                  </a:cubicBezTo>
                  <a:cubicBezTo>
                    <a:pt x="89" y="160"/>
                    <a:pt x="84" y="161"/>
                    <a:pt x="80" y="159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41" y="137"/>
                    <a:pt x="38" y="139"/>
                    <a:pt x="38" y="143"/>
                  </a:cubicBezTo>
                  <a:cubicBezTo>
                    <a:pt x="38" y="196"/>
                    <a:pt x="38" y="196"/>
                    <a:pt x="38" y="196"/>
                  </a:cubicBezTo>
                  <a:cubicBezTo>
                    <a:pt x="38" y="200"/>
                    <a:pt x="42" y="205"/>
                    <a:pt x="45" y="207"/>
                  </a:cubicBezTo>
                  <a:cubicBezTo>
                    <a:pt x="122" y="243"/>
                    <a:pt x="122" y="243"/>
                    <a:pt x="122" y="243"/>
                  </a:cubicBezTo>
                  <a:cubicBezTo>
                    <a:pt x="126" y="245"/>
                    <a:pt x="129" y="243"/>
                    <a:pt x="129" y="239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9" y="133"/>
                    <a:pt x="129" y="133"/>
                    <a:pt x="129" y="133"/>
                  </a:cubicBezTo>
                  <a:close/>
                  <a:moveTo>
                    <a:pt x="190" y="153"/>
                  </a:moveTo>
                  <a:cubicBezTo>
                    <a:pt x="186" y="155"/>
                    <a:pt x="180" y="154"/>
                    <a:pt x="177" y="151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3" y="126"/>
                    <a:pt x="141" y="127"/>
                    <a:pt x="141" y="131"/>
                  </a:cubicBezTo>
                  <a:cubicBezTo>
                    <a:pt x="141" y="238"/>
                    <a:pt x="141" y="238"/>
                    <a:pt x="141" y="238"/>
                  </a:cubicBezTo>
                  <a:cubicBezTo>
                    <a:pt x="141" y="242"/>
                    <a:pt x="144" y="244"/>
                    <a:pt x="148" y="243"/>
                  </a:cubicBezTo>
                  <a:cubicBezTo>
                    <a:pt x="223" y="207"/>
                    <a:pt x="223" y="207"/>
                    <a:pt x="223" y="207"/>
                  </a:cubicBezTo>
                  <a:cubicBezTo>
                    <a:pt x="227" y="205"/>
                    <a:pt x="230" y="200"/>
                    <a:pt x="230" y="196"/>
                  </a:cubicBezTo>
                  <a:cubicBezTo>
                    <a:pt x="230" y="140"/>
                    <a:pt x="230" y="140"/>
                    <a:pt x="230" y="140"/>
                  </a:cubicBezTo>
                  <a:cubicBezTo>
                    <a:pt x="230" y="136"/>
                    <a:pt x="227" y="134"/>
                    <a:pt x="223" y="136"/>
                  </a:cubicBezTo>
                  <a:cubicBezTo>
                    <a:pt x="190" y="153"/>
                    <a:pt x="190" y="153"/>
                    <a:pt x="190" y="153"/>
                  </a:cubicBezTo>
                  <a:cubicBezTo>
                    <a:pt x="190" y="153"/>
                    <a:pt x="190" y="153"/>
                    <a:pt x="190" y="15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79068" tIns="143256" rIns="179068" bIns="14325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299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1937295" y="-130563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160" name="Picture 2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" b="11152"/>
          <a:stretch/>
        </p:blipFill>
        <p:spPr bwMode="auto">
          <a:xfrm>
            <a:off x="5595361" y="378847"/>
            <a:ext cx="791999" cy="79200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61" name="Picture 4" descr="\\MAGNUM\Projects\Microsoft\Cloud Power FY12\Design\ICONS_PNG\IIS-MULTI-TENANCY.png"/>
          <p:cNvPicPr>
            <a:picLocks noChangeAspect="1" noChangeArrowheads="1"/>
          </p:cNvPicPr>
          <p:nvPr/>
        </p:nvPicPr>
        <p:blipFill>
          <a:blip r:embed="rId21" cstate="print">
            <a:lum bright="100000"/>
          </a:blip>
          <a:srcRect/>
          <a:stretch>
            <a:fillRect/>
          </a:stretch>
        </p:blipFill>
        <p:spPr bwMode="auto">
          <a:xfrm>
            <a:off x="4807216" y="324943"/>
            <a:ext cx="792000" cy="791793"/>
          </a:xfrm>
          <a:prstGeom prst="rect">
            <a:avLst/>
          </a:prstGeom>
          <a:noFill/>
        </p:spPr>
      </p:pic>
      <p:pic>
        <p:nvPicPr>
          <p:cNvPr id="162" name="Picture 16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783663" y="871453"/>
            <a:ext cx="792001" cy="792007"/>
          </a:xfrm>
          <a:prstGeom prst="rect">
            <a:avLst/>
          </a:prstGeom>
          <a:noFill/>
        </p:spPr>
      </p:pic>
      <p:grpSp>
        <p:nvGrpSpPr>
          <p:cNvPr id="163" name="Group 162"/>
          <p:cNvGrpSpPr/>
          <p:nvPr/>
        </p:nvGrpSpPr>
        <p:grpSpPr>
          <a:xfrm>
            <a:off x="5511017" y="1139627"/>
            <a:ext cx="792000" cy="792000"/>
            <a:chOff x="10023055" y="2206781"/>
            <a:chExt cx="792000" cy="792000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2991" y="2237923"/>
              <a:ext cx="492128" cy="729716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10023055" y="220678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5663068" y="1998199"/>
            <a:ext cx="792000" cy="792000"/>
            <a:chOff x="10188722" y="680436"/>
            <a:chExt cx="792000" cy="792000"/>
          </a:xfrm>
        </p:grpSpPr>
        <p:pic>
          <p:nvPicPr>
            <p:cNvPr id="170" name="Picture 169"/>
            <p:cNvPicPr>
              <a:picLocks noChangeAspect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-9452" b="-4026"/>
            <a:stretch/>
          </p:blipFill>
          <p:spPr>
            <a:xfrm>
              <a:off x="10224722" y="716436"/>
              <a:ext cx="720000" cy="720000"/>
            </a:xfrm>
            <a:prstGeom prst="rect">
              <a:avLst/>
            </a:prstGeom>
            <a:noFill/>
          </p:spPr>
        </p:pic>
        <p:sp>
          <p:nvSpPr>
            <p:cNvPr id="171" name="Rectangle 170"/>
            <p:cNvSpPr/>
            <p:nvPr/>
          </p:nvSpPr>
          <p:spPr>
            <a:xfrm>
              <a:off x="10188722" y="6804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6348182" y="1800113"/>
            <a:ext cx="792000" cy="792000"/>
            <a:chOff x="9668019" y="486475"/>
            <a:chExt cx="792000" cy="792000"/>
          </a:xfrm>
        </p:grpSpPr>
        <p:sp>
          <p:nvSpPr>
            <p:cNvPr id="173" name="Freeform 6"/>
            <p:cNvSpPr>
              <a:spLocks noEditPoints="1"/>
            </p:cNvSpPr>
            <p:nvPr/>
          </p:nvSpPr>
          <p:spPr bwMode="auto">
            <a:xfrm>
              <a:off x="9811991" y="565618"/>
              <a:ext cx="504056" cy="633715"/>
            </a:xfrm>
            <a:custGeom>
              <a:avLst/>
              <a:gdLst>
                <a:gd name="T0" fmla="*/ 0 w 14953"/>
                <a:gd name="T1" fmla="*/ 0 h 16970"/>
                <a:gd name="T2" fmla="*/ 1361 w 14953"/>
                <a:gd name="T3" fmla="*/ 15274 h 16970"/>
                <a:gd name="T4" fmla="*/ 7472 w 14953"/>
                <a:gd name="T5" fmla="*/ 16970 h 16970"/>
                <a:gd name="T6" fmla="*/ 13590 w 14953"/>
                <a:gd name="T7" fmla="*/ 15274 h 16970"/>
                <a:gd name="T8" fmla="*/ 14953 w 14953"/>
                <a:gd name="T9" fmla="*/ 0 h 16970"/>
                <a:gd name="T10" fmla="*/ 0 w 14953"/>
                <a:gd name="T11" fmla="*/ 0 h 16970"/>
                <a:gd name="T12" fmla="*/ 12000 w 14953"/>
                <a:gd name="T13" fmla="*/ 4996 h 16970"/>
                <a:gd name="T14" fmla="*/ 11996 w 14953"/>
                <a:gd name="T15" fmla="*/ 4996 h 16970"/>
                <a:gd name="T16" fmla="*/ 4831 w 14953"/>
                <a:gd name="T17" fmla="*/ 4996 h 16970"/>
                <a:gd name="T18" fmla="*/ 5004 w 14953"/>
                <a:gd name="T19" fmla="*/ 6914 h 16970"/>
                <a:gd name="T20" fmla="*/ 11830 w 14953"/>
                <a:gd name="T21" fmla="*/ 6914 h 16970"/>
                <a:gd name="T22" fmla="*/ 11315 w 14953"/>
                <a:gd name="T23" fmla="*/ 12664 h 16970"/>
                <a:gd name="T24" fmla="*/ 7474 w 14953"/>
                <a:gd name="T25" fmla="*/ 13729 h 16970"/>
                <a:gd name="T26" fmla="*/ 3636 w 14953"/>
                <a:gd name="T27" fmla="*/ 12664 h 16970"/>
                <a:gd name="T28" fmla="*/ 3369 w 14953"/>
                <a:gd name="T29" fmla="*/ 9657 h 16970"/>
                <a:gd name="T30" fmla="*/ 5249 w 14953"/>
                <a:gd name="T31" fmla="*/ 9657 h 16970"/>
                <a:gd name="T32" fmla="*/ 5389 w 14953"/>
                <a:gd name="T33" fmla="*/ 11218 h 16970"/>
                <a:gd name="T34" fmla="*/ 7474 w 14953"/>
                <a:gd name="T35" fmla="*/ 11780 h 16970"/>
                <a:gd name="T36" fmla="*/ 9565 w 14953"/>
                <a:gd name="T37" fmla="*/ 11216 h 16970"/>
                <a:gd name="T38" fmla="*/ 9782 w 14953"/>
                <a:gd name="T39" fmla="*/ 8787 h 16970"/>
                <a:gd name="T40" fmla="*/ 3291 w 14953"/>
                <a:gd name="T41" fmla="*/ 8787 h 16970"/>
                <a:gd name="T42" fmla="*/ 2786 w 14953"/>
                <a:gd name="T43" fmla="*/ 3123 h 16970"/>
                <a:gd name="T44" fmla="*/ 12168 w 14953"/>
                <a:gd name="T45" fmla="*/ 3123 h 16970"/>
                <a:gd name="T46" fmla="*/ 12000 w 14953"/>
                <a:gd name="T47" fmla="*/ 4996 h 16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953" h="16970">
                  <a:moveTo>
                    <a:pt x="0" y="0"/>
                  </a:moveTo>
                  <a:lnTo>
                    <a:pt x="1361" y="15274"/>
                  </a:lnTo>
                  <a:lnTo>
                    <a:pt x="7472" y="16970"/>
                  </a:lnTo>
                  <a:lnTo>
                    <a:pt x="13590" y="15274"/>
                  </a:lnTo>
                  <a:lnTo>
                    <a:pt x="14953" y="0"/>
                  </a:lnTo>
                  <a:lnTo>
                    <a:pt x="0" y="0"/>
                  </a:lnTo>
                  <a:close/>
                  <a:moveTo>
                    <a:pt x="12000" y="4996"/>
                  </a:moveTo>
                  <a:lnTo>
                    <a:pt x="11996" y="4996"/>
                  </a:lnTo>
                  <a:lnTo>
                    <a:pt x="4831" y="4996"/>
                  </a:lnTo>
                  <a:lnTo>
                    <a:pt x="5004" y="6914"/>
                  </a:lnTo>
                  <a:lnTo>
                    <a:pt x="11830" y="6914"/>
                  </a:lnTo>
                  <a:lnTo>
                    <a:pt x="11315" y="12664"/>
                  </a:lnTo>
                  <a:lnTo>
                    <a:pt x="7474" y="13729"/>
                  </a:lnTo>
                  <a:lnTo>
                    <a:pt x="3636" y="12664"/>
                  </a:lnTo>
                  <a:lnTo>
                    <a:pt x="3369" y="9657"/>
                  </a:lnTo>
                  <a:lnTo>
                    <a:pt x="5249" y="9657"/>
                  </a:lnTo>
                  <a:lnTo>
                    <a:pt x="5389" y="11218"/>
                  </a:lnTo>
                  <a:lnTo>
                    <a:pt x="7474" y="11780"/>
                  </a:lnTo>
                  <a:lnTo>
                    <a:pt x="9565" y="11216"/>
                  </a:lnTo>
                  <a:lnTo>
                    <a:pt x="9782" y="8787"/>
                  </a:lnTo>
                  <a:lnTo>
                    <a:pt x="3291" y="8787"/>
                  </a:lnTo>
                  <a:lnTo>
                    <a:pt x="2786" y="3123"/>
                  </a:lnTo>
                  <a:lnTo>
                    <a:pt x="12168" y="3123"/>
                  </a:lnTo>
                  <a:lnTo>
                    <a:pt x="12000" y="49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>
                <a:defRPr/>
              </a:pPr>
              <a:endParaRPr lang="en-US" sz="1600" kern="0" dirty="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9668019" y="4864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4836014" y="2539783"/>
            <a:ext cx="792000" cy="792000"/>
            <a:chOff x="9824652" y="610102"/>
            <a:chExt cx="792000" cy="792000"/>
          </a:xfrm>
        </p:grpSpPr>
        <p:grpSp>
          <p:nvGrpSpPr>
            <p:cNvPr id="176" name="Group 175"/>
            <p:cNvGrpSpPr/>
            <p:nvPr/>
          </p:nvGrpSpPr>
          <p:grpSpPr>
            <a:xfrm>
              <a:off x="9936796" y="625102"/>
              <a:ext cx="567713" cy="762000"/>
              <a:chOff x="1672096" y="2027202"/>
              <a:chExt cx="822052" cy="1103373"/>
            </a:xfrm>
          </p:grpSpPr>
          <p:pic>
            <p:nvPicPr>
              <p:cNvPr id="178" name="Picture 8" descr="C:\Users\chrisw\Desktop\enterprise guy.png"/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BEBA8EAE-BF5A-486C-A8C5-ECC9F3942E4B}">
                    <a14:imgProps xmlns:a14="http://schemas.microsoft.com/office/drawing/2010/main">
                      <a14:imgLayer r:embed="rId2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72096" y="2027202"/>
                <a:ext cx="435315" cy="1103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9" name="Picture 178"/>
              <p:cNvPicPr>
                <a:picLocks noChangeAspect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" r="-9452" b="-4026"/>
              <a:stretch/>
            </p:blipFill>
            <p:spPr>
              <a:xfrm>
                <a:off x="2128060" y="2060197"/>
                <a:ext cx="366088" cy="355271"/>
              </a:xfrm>
              <a:prstGeom prst="rect">
                <a:avLst/>
              </a:prstGeom>
            </p:spPr>
          </p:pic>
        </p:grpSp>
        <p:sp>
          <p:nvSpPr>
            <p:cNvPr id="177" name="Rectangle 176"/>
            <p:cNvSpPr/>
            <p:nvPr/>
          </p:nvSpPr>
          <p:spPr>
            <a:xfrm>
              <a:off x="9824652" y="61010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180" name="Picture 5" descr="\\MAGNUM\Projects\Microsoft\Cloud Power FY12\Design\ICONS_PNG\Layer-79.png"/>
          <p:cNvPicPr>
            <a:picLocks noChangeAspect="1" noChangeArrowheads="1"/>
          </p:cNvPicPr>
          <p:nvPr/>
        </p:nvPicPr>
        <p:blipFill>
          <a:blip r:embed="rId28" cstate="print">
            <a:biLevel thresh="25000"/>
          </a:blip>
          <a:srcRect/>
          <a:stretch>
            <a:fillRect/>
          </a:stretch>
        </p:blipFill>
        <p:spPr bwMode="auto">
          <a:xfrm>
            <a:off x="828416" y="4163118"/>
            <a:ext cx="792000" cy="792000"/>
          </a:xfrm>
          <a:prstGeom prst="rect">
            <a:avLst/>
          </a:prstGeom>
          <a:noFill/>
        </p:spPr>
      </p:pic>
      <p:pic>
        <p:nvPicPr>
          <p:cNvPr id="181" name="Picture 6" descr="\\magnum\Projects\Microsoft\Cloud Power FY12\Design\Icons\PNGs\Server_2.png"/>
          <p:cNvPicPr>
            <a:picLocks noChangeAspect="1" noChangeArrowheads="1"/>
          </p:cNvPicPr>
          <p:nvPr/>
        </p:nvPicPr>
        <p:blipFill>
          <a:blip r:embed="rId29" cstate="print">
            <a:lum bright="100000"/>
          </a:blip>
          <a:srcRect/>
          <a:stretch>
            <a:fillRect/>
          </a:stretch>
        </p:blipFill>
        <p:spPr bwMode="auto">
          <a:xfrm>
            <a:off x="1511122" y="4148106"/>
            <a:ext cx="792001" cy="792000"/>
          </a:xfrm>
          <a:prstGeom prst="rect">
            <a:avLst/>
          </a:prstGeom>
          <a:noFill/>
        </p:spPr>
      </p:pic>
      <p:pic>
        <p:nvPicPr>
          <p:cNvPr id="182" name="Picture 2"/>
          <p:cNvPicPr>
            <a:picLocks noChangeAspect="1" noChangeArrowheads="1"/>
          </p:cNvPicPr>
          <p:nvPr/>
        </p:nvPicPr>
        <p:blipFill>
          <a:blip r:embed="rId30" cstate="print">
            <a:lum bright="100000" contrast="100000"/>
          </a:blip>
          <a:srcRect/>
          <a:stretch>
            <a:fillRect/>
          </a:stretch>
        </p:blipFill>
        <p:spPr bwMode="auto">
          <a:xfrm>
            <a:off x="1487442" y="3491029"/>
            <a:ext cx="792000" cy="790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3" name="Picture 2" descr="\\MAGNUM\Projects\Microsoft\Cloud Power FY12\Design\ICONS_PNG\Mail.png"/>
          <p:cNvPicPr>
            <a:picLocks noChangeAspect="1" noChangeArrowheads="1"/>
          </p:cNvPicPr>
          <p:nvPr/>
        </p:nvPicPr>
        <p:blipFill>
          <a:blip r:embed="rId31" cstate="print">
            <a:lum bright="100000"/>
          </a:blip>
          <a:srcRect/>
          <a:stretch>
            <a:fillRect/>
          </a:stretch>
        </p:blipFill>
        <p:spPr bwMode="auto">
          <a:xfrm>
            <a:off x="2935845" y="2448743"/>
            <a:ext cx="792000" cy="792000"/>
          </a:xfrm>
          <a:prstGeom prst="rect">
            <a:avLst/>
          </a:prstGeom>
          <a:noFill/>
        </p:spPr>
      </p:pic>
      <p:grpSp>
        <p:nvGrpSpPr>
          <p:cNvPr id="6" name="Group 5"/>
          <p:cNvGrpSpPr/>
          <p:nvPr/>
        </p:nvGrpSpPr>
        <p:grpSpPr>
          <a:xfrm>
            <a:off x="4730612" y="1446508"/>
            <a:ext cx="899178" cy="792000"/>
            <a:chOff x="3157122" y="-3411707"/>
            <a:chExt cx="899178" cy="792000"/>
          </a:xfrm>
        </p:grpSpPr>
        <p:pic>
          <p:nvPicPr>
            <p:cNvPr id="191" name="Picture 5" descr="C:\Users\v-kenmac\Downloads\Ofc_Wht_rgb.png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7122" y="-3226664"/>
              <a:ext cx="899178" cy="4219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9" name="Rectangle 198"/>
            <p:cNvSpPr/>
            <p:nvPr/>
          </p:nvSpPr>
          <p:spPr>
            <a:xfrm>
              <a:off x="3210711" y="-341170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218" name="Picture 217"/>
          <p:cNvPicPr>
            <a:picLocks noChangeAspect="1"/>
          </p:cNvPicPr>
          <p:nvPr/>
        </p:nvPicPr>
        <p:blipFill rotWithShape="1"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62" t="9869" r="8462" b="7054"/>
          <a:stretch/>
        </p:blipFill>
        <p:spPr>
          <a:xfrm>
            <a:off x="8724" y="2127541"/>
            <a:ext cx="792000" cy="792000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5571139" y="2562715"/>
            <a:ext cx="792000" cy="792000"/>
            <a:chOff x="3173808" y="-4144395"/>
            <a:chExt cx="792000" cy="792000"/>
          </a:xfrm>
        </p:grpSpPr>
        <p:pic>
          <p:nvPicPr>
            <p:cNvPr id="187" name="Picture 186" descr="dynamics CRM online bl v.png"/>
            <p:cNvPicPr>
              <a:picLocks noChangeAspect="1"/>
            </p:cNvPicPr>
            <p:nvPr/>
          </p:nvPicPr>
          <p:blipFill>
            <a:blip r:embed="rId34" cstate="print">
              <a:lum bright="100000"/>
            </a:blip>
            <a:srcRect l="21135" r="24706"/>
            <a:stretch>
              <a:fillRect/>
            </a:stretch>
          </p:blipFill>
          <p:spPr>
            <a:xfrm>
              <a:off x="3180404" y="-3873251"/>
              <a:ext cx="778808" cy="282137"/>
            </a:xfrm>
            <a:prstGeom prst="rect">
              <a:avLst/>
            </a:prstGeom>
          </p:spPr>
        </p:pic>
        <p:sp>
          <p:nvSpPr>
            <p:cNvPr id="237" name="Rectangle 236"/>
            <p:cNvSpPr/>
            <p:nvPr/>
          </p:nvSpPr>
          <p:spPr>
            <a:xfrm>
              <a:off x="3173808" y="-414439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5579820" y="3081527"/>
            <a:ext cx="861400" cy="792000"/>
            <a:chOff x="3893526" y="-3696999"/>
            <a:chExt cx="861400" cy="792000"/>
          </a:xfrm>
        </p:grpSpPr>
        <p:pic>
          <p:nvPicPr>
            <p:cNvPr id="190" name="Picture 189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3893526" y="-3415199"/>
              <a:ext cx="861400" cy="228401"/>
            </a:xfrm>
            <a:prstGeom prst="rect">
              <a:avLst/>
            </a:prstGeom>
          </p:spPr>
        </p:pic>
        <p:sp>
          <p:nvSpPr>
            <p:cNvPr id="239" name="Rectangle 238"/>
            <p:cNvSpPr/>
            <p:nvPr/>
          </p:nvSpPr>
          <p:spPr>
            <a:xfrm>
              <a:off x="3928226" y="-369699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724596" y="3285024"/>
            <a:ext cx="792000" cy="792000"/>
            <a:chOff x="3133979" y="-3150747"/>
            <a:chExt cx="792000" cy="792000"/>
          </a:xfrm>
        </p:grpSpPr>
        <p:pic>
          <p:nvPicPr>
            <p:cNvPr id="234" name="Picture 75"/>
            <p:cNvPicPr>
              <a:picLocks noChangeAspect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2366" y="-3083612"/>
              <a:ext cx="695226" cy="657731"/>
            </a:xfrm>
            <a:prstGeom prst="rect">
              <a:avLst/>
            </a:prstGeom>
          </p:spPr>
        </p:pic>
        <p:sp>
          <p:nvSpPr>
            <p:cNvPr id="240" name="Rectangle 239"/>
            <p:cNvSpPr/>
            <p:nvPr/>
          </p:nvSpPr>
          <p:spPr>
            <a:xfrm>
              <a:off x="3133979" y="-315074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544164" y="2484894"/>
            <a:ext cx="792000" cy="792000"/>
            <a:chOff x="2713863" y="-3194081"/>
            <a:chExt cx="792000" cy="792000"/>
          </a:xfrm>
        </p:grpSpPr>
        <p:sp>
          <p:nvSpPr>
            <p:cNvPr id="227" name="Freeform 6"/>
            <p:cNvSpPr>
              <a:spLocks/>
            </p:cNvSpPr>
            <p:nvPr/>
          </p:nvSpPr>
          <p:spPr bwMode="black">
            <a:xfrm>
              <a:off x="2902341" y="-3137838"/>
              <a:ext cx="415044" cy="679514"/>
            </a:xfrm>
            <a:custGeom>
              <a:avLst/>
              <a:gdLst/>
              <a:ahLst/>
              <a:cxnLst/>
              <a:rect l="l" t="t" r="r" b="b"/>
              <a:pathLst>
                <a:path w="504048" h="961272">
                  <a:moveTo>
                    <a:pt x="252787" y="143227"/>
                  </a:moveTo>
                  <a:cubicBezTo>
                    <a:pt x="208292" y="143227"/>
                    <a:pt x="172221" y="179298"/>
                    <a:pt x="172221" y="223793"/>
                  </a:cubicBezTo>
                  <a:cubicBezTo>
                    <a:pt x="172221" y="268288"/>
                    <a:pt x="208292" y="304359"/>
                    <a:pt x="252787" y="304359"/>
                  </a:cubicBezTo>
                  <a:cubicBezTo>
                    <a:pt x="297282" y="304359"/>
                    <a:pt x="333353" y="268288"/>
                    <a:pt x="333353" y="223793"/>
                  </a:cubicBezTo>
                  <a:cubicBezTo>
                    <a:pt x="333353" y="179298"/>
                    <a:pt x="297282" y="143227"/>
                    <a:pt x="252787" y="143227"/>
                  </a:cubicBezTo>
                  <a:close/>
                  <a:moveTo>
                    <a:pt x="251531" y="0"/>
                  </a:moveTo>
                  <a:cubicBezTo>
                    <a:pt x="390613" y="0"/>
                    <a:pt x="504048" y="112858"/>
                    <a:pt x="504048" y="252445"/>
                  </a:cubicBezTo>
                  <a:cubicBezTo>
                    <a:pt x="504048" y="255415"/>
                    <a:pt x="504048" y="258385"/>
                    <a:pt x="504048" y="261355"/>
                  </a:cubicBezTo>
                  <a:cubicBezTo>
                    <a:pt x="504048" y="278185"/>
                    <a:pt x="502075" y="296005"/>
                    <a:pt x="498130" y="314814"/>
                  </a:cubicBezTo>
                  <a:cubicBezTo>
                    <a:pt x="498130" y="314814"/>
                    <a:pt x="498130" y="314814"/>
                    <a:pt x="250544" y="961272"/>
                  </a:cubicBezTo>
                  <a:cubicBezTo>
                    <a:pt x="250544" y="961272"/>
                    <a:pt x="250544" y="961272"/>
                    <a:pt x="4932" y="314814"/>
                  </a:cubicBezTo>
                  <a:cubicBezTo>
                    <a:pt x="1973" y="299965"/>
                    <a:pt x="0" y="285115"/>
                    <a:pt x="0" y="271255"/>
                  </a:cubicBezTo>
                  <a:cubicBezTo>
                    <a:pt x="0" y="265315"/>
                    <a:pt x="0" y="259375"/>
                    <a:pt x="0" y="252445"/>
                  </a:cubicBezTo>
                  <a:cubicBezTo>
                    <a:pt x="0" y="112858"/>
                    <a:pt x="112449" y="0"/>
                    <a:pt x="25153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399" tIns="45700" rIns="91399" bIns="457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40428"/>
              <a:endParaRPr lang="en-US" sz="1600" spc="-122" dirty="0">
                <a:solidFill>
                  <a:srgbClr val="282828">
                    <a:lumMod val="50000"/>
                  </a:srgbClr>
                </a:solidFill>
                <a:latin typeface="NotesStyle-Medium" pitchFamily="2" charset="0"/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2713863" y="-319408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799181" y="1897069"/>
            <a:ext cx="792000" cy="792000"/>
            <a:chOff x="2693623" y="-3989964"/>
            <a:chExt cx="792000" cy="792000"/>
          </a:xfrm>
        </p:grpSpPr>
        <p:pic>
          <p:nvPicPr>
            <p:cNvPr id="192" name="Picture 2" descr="C:\Users\v-kenmac\Documents\_Microsoft - Common Files\Logos\Skype-logo_bL_rgb_r.png"/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7852" y="-3753489"/>
              <a:ext cx="723542" cy="3190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7" name="Rectangle 246"/>
            <p:cNvSpPr/>
            <p:nvPr/>
          </p:nvSpPr>
          <p:spPr>
            <a:xfrm>
              <a:off x="2693623" y="-398996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401625" y="2484894"/>
            <a:ext cx="792000" cy="792000"/>
            <a:chOff x="3133985" y="-2694219"/>
            <a:chExt cx="792000" cy="792000"/>
          </a:xfrm>
        </p:grpSpPr>
        <p:pic>
          <p:nvPicPr>
            <p:cNvPr id="194" name="Picture 4" descr="http://www.jbase.com/new/products/images/java.png"/>
            <p:cNvPicPr>
              <a:picLocks noChangeAspect="1" noChangeArrowheads="1"/>
            </p:cNvPicPr>
            <p:nvPr/>
          </p:nvPicPr>
          <p:blipFill>
            <a:blip r:embed="rId38" cstate="print">
              <a:lum bright="100000" contrast="100000"/>
            </a:blip>
            <a:srcRect/>
            <a:stretch>
              <a:fillRect/>
            </a:stretch>
          </p:blipFill>
          <p:spPr bwMode="auto">
            <a:xfrm>
              <a:off x="3350881" y="-2632306"/>
              <a:ext cx="358208" cy="668175"/>
            </a:xfrm>
            <a:prstGeom prst="rect">
              <a:avLst/>
            </a:prstGeom>
            <a:noFill/>
          </p:spPr>
        </p:pic>
        <p:sp>
          <p:nvSpPr>
            <p:cNvPr id="249" name="Rectangle 248"/>
            <p:cNvSpPr/>
            <p:nvPr/>
          </p:nvSpPr>
          <p:spPr>
            <a:xfrm>
              <a:off x="3133985" y="-269421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424597" y="3182657"/>
            <a:ext cx="792000" cy="792000"/>
            <a:chOff x="2775674" y="-3618686"/>
            <a:chExt cx="792000" cy="792000"/>
          </a:xfrm>
        </p:grpSpPr>
        <p:pic>
          <p:nvPicPr>
            <p:cNvPr id="188" name="Picture 187"/>
            <p:cNvPicPr>
              <a:picLocks noChangeAspect="1"/>
            </p:cNvPicPr>
            <p:nvPr/>
          </p:nvPicPr>
          <p:blipFill rotWithShape="1">
            <a:blip r:embed="rId39" cstate="print">
              <a:extLst>
                <a:ext uri="{BEBA8EAE-BF5A-486C-A8C5-ECC9F3942E4B}">
                  <a14:imgProps xmlns:a14="http://schemas.microsoft.com/office/drawing/2010/main">
                    <a14:imgLayer r:embed="rId40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-8959" b="-23366"/>
            <a:stretch/>
          </p:blipFill>
          <p:spPr>
            <a:xfrm>
              <a:off x="2861694" y="-3516825"/>
              <a:ext cx="619960" cy="588279"/>
            </a:xfrm>
            <a:prstGeom prst="rect">
              <a:avLst/>
            </a:prstGeom>
            <a:noFill/>
          </p:spPr>
        </p:pic>
        <p:sp>
          <p:nvSpPr>
            <p:cNvPr id="248" name="Rectangle 247"/>
            <p:cNvSpPr/>
            <p:nvPr/>
          </p:nvSpPr>
          <p:spPr>
            <a:xfrm>
              <a:off x="2775674" y="-361868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265772" y="2394148"/>
            <a:ext cx="792000" cy="792000"/>
            <a:chOff x="3225447" y="-2992675"/>
            <a:chExt cx="792000" cy="792000"/>
          </a:xfrm>
        </p:grpSpPr>
        <p:pic>
          <p:nvPicPr>
            <p:cNvPr id="225" name="Picture 67"/>
            <p:cNvPicPr>
              <a:picLocks noChangeAspect="1"/>
            </p:cNvPicPr>
            <p:nvPr/>
          </p:nvPicPr>
          <p:blipFill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0175" y="-2908073"/>
              <a:ext cx="702544" cy="622797"/>
            </a:xfrm>
            <a:prstGeom prst="rect">
              <a:avLst/>
            </a:prstGeom>
          </p:spPr>
        </p:pic>
        <p:sp>
          <p:nvSpPr>
            <p:cNvPr id="257" name="Rectangle 256"/>
            <p:cNvSpPr/>
            <p:nvPr/>
          </p:nvSpPr>
          <p:spPr>
            <a:xfrm>
              <a:off x="3225447" y="-29926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66" name="Group 265"/>
          <p:cNvGrpSpPr/>
          <p:nvPr/>
        </p:nvGrpSpPr>
        <p:grpSpPr>
          <a:xfrm>
            <a:off x="2308045" y="3138512"/>
            <a:ext cx="792000" cy="792000"/>
            <a:chOff x="3609130" y="-4043843"/>
            <a:chExt cx="792000" cy="792000"/>
          </a:xfrm>
        </p:grpSpPr>
        <p:sp>
          <p:nvSpPr>
            <p:cNvPr id="267" name="Freeform 114"/>
            <p:cNvSpPr>
              <a:spLocks noEditPoints="1"/>
            </p:cNvSpPr>
            <p:nvPr/>
          </p:nvSpPr>
          <p:spPr bwMode="black">
            <a:xfrm>
              <a:off x="3693160" y="-3894401"/>
              <a:ext cx="623941" cy="493117"/>
            </a:xfrm>
            <a:custGeom>
              <a:avLst/>
              <a:gdLst>
                <a:gd name="T0" fmla="*/ 22 w 75"/>
                <a:gd name="T1" fmla="*/ 22 h 59"/>
                <a:gd name="T2" fmla="*/ 33 w 75"/>
                <a:gd name="T3" fmla="*/ 11 h 59"/>
                <a:gd name="T4" fmla="*/ 22 w 75"/>
                <a:gd name="T5" fmla="*/ 0 h 59"/>
                <a:gd name="T6" fmla="*/ 11 w 75"/>
                <a:gd name="T7" fmla="*/ 11 h 59"/>
                <a:gd name="T8" fmla="*/ 22 w 75"/>
                <a:gd name="T9" fmla="*/ 22 h 59"/>
                <a:gd name="T10" fmla="*/ 45 w 75"/>
                <a:gd name="T11" fmla="*/ 22 h 59"/>
                <a:gd name="T12" fmla="*/ 56 w 75"/>
                <a:gd name="T13" fmla="*/ 11 h 59"/>
                <a:gd name="T14" fmla="*/ 45 w 75"/>
                <a:gd name="T15" fmla="*/ 0 h 59"/>
                <a:gd name="T16" fmla="*/ 34 w 75"/>
                <a:gd name="T17" fmla="*/ 11 h 59"/>
                <a:gd name="T18" fmla="*/ 45 w 75"/>
                <a:gd name="T19" fmla="*/ 22 h 59"/>
                <a:gd name="T20" fmla="*/ 3 w 75"/>
                <a:gd name="T21" fmla="*/ 25 h 59"/>
                <a:gd name="T22" fmla="*/ 0 w 75"/>
                <a:gd name="T23" fmla="*/ 27 h 59"/>
                <a:gd name="T24" fmla="*/ 0 w 75"/>
                <a:gd name="T25" fmla="*/ 38 h 59"/>
                <a:gd name="T26" fmla="*/ 3 w 75"/>
                <a:gd name="T27" fmla="*/ 41 h 59"/>
                <a:gd name="T28" fmla="*/ 5 w 75"/>
                <a:gd name="T29" fmla="*/ 38 h 59"/>
                <a:gd name="T30" fmla="*/ 5 w 75"/>
                <a:gd name="T31" fmla="*/ 27 h 59"/>
                <a:gd name="T32" fmla="*/ 3 w 75"/>
                <a:gd name="T33" fmla="*/ 25 h 59"/>
                <a:gd name="T34" fmla="*/ 75 w 75"/>
                <a:gd name="T35" fmla="*/ 23 h 59"/>
                <a:gd name="T36" fmla="*/ 75 w 75"/>
                <a:gd name="T37" fmla="*/ 56 h 59"/>
                <a:gd name="T38" fmla="*/ 73 w 75"/>
                <a:gd name="T39" fmla="*/ 57 h 59"/>
                <a:gd name="T40" fmla="*/ 65 w 75"/>
                <a:gd name="T41" fmla="*/ 51 h 59"/>
                <a:gd name="T42" fmla="*/ 64 w 75"/>
                <a:gd name="T43" fmla="*/ 49 h 59"/>
                <a:gd name="T44" fmla="*/ 60 w 75"/>
                <a:gd name="T45" fmla="*/ 49 h 59"/>
                <a:gd name="T46" fmla="*/ 60 w 75"/>
                <a:gd name="T47" fmla="*/ 56 h 59"/>
                <a:gd name="T48" fmla="*/ 57 w 75"/>
                <a:gd name="T49" fmla="*/ 59 h 59"/>
                <a:gd name="T50" fmla="*/ 11 w 75"/>
                <a:gd name="T51" fmla="*/ 59 h 59"/>
                <a:gd name="T52" fmla="*/ 8 w 75"/>
                <a:gd name="T53" fmla="*/ 55 h 59"/>
                <a:gd name="T54" fmla="*/ 8 w 75"/>
                <a:gd name="T55" fmla="*/ 27 h 59"/>
                <a:gd name="T56" fmla="*/ 11 w 75"/>
                <a:gd name="T57" fmla="*/ 23 h 59"/>
                <a:gd name="T58" fmla="*/ 57 w 75"/>
                <a:gd name="T59" fmla="*/ 23 h 59"/>
                <a:gd name="T60" fmla="*/ 60 w 75"/>
                <a:gd name="T61" fmla="*/ 27 h 59"/>
                <a:gd name="T62" fmla="*/ 60 w 75"/>
                <a:gd name="T63" fmla="*/ 30 h 59"/>
                <a:gd name="T64" fmla="*/ 64 w 75"/>
                <a:gd name="T65" fmla="*/ 30 h 59"/>
                <a:gd name="T66" fmla="*/ 65 w 75"/>
                <a:gd name="T67" fmla="*/ 29 h 59"/>
                <a:gd name="T68" fmla="*/ 73 w 75"/>
                <a:gd name="T69" fmla="*/ 22 h 59"/>
                <a:gd name="T70" fmla="*/ 75 w 75"/>
                <a:gd name="T71" fmla="*/ 2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" h="59">
                  <a:moveTo>
                    <a:pt x="22" y="22"/>
                  </a:moveTo>
                  <a:cubicBezTo>
                    <a:pt x="28" y="22"/>
                    <a:pt x="33" y="17"/>
                    <a:pt x="33" y="11"/>
                  </a:cubicBezTo>
                  <a:cubicBezTo>
                    <a:pt x="33" y="5"/>
                    <a:pt x="28" y="0"/>
                    <a:pt x="22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17"/>
                    <a:pt x="16" y="22"/>
                    <a:pt x="22" y="22"/>
                  </a:cubicBezTo>
                  <a:moveTo>
                    <a:pt x="45" y="22"/>
                  </a:moveTo>
                  <a:cubicBezTo>
                    <a:pt x="51" y="22"/>
                    <a:pt x="56" y="17"/>
                    <a:pt x="56" y="11"/>
                  </a:cubicBezTo>
                  <a:cubicBezTo>
                    <a:pt x="56" y="5"/>
                    <a:pt x="51" y="0"/>
                    <a:pt x="45" y="0"/>
                  </a:cubicBezTo>
                  <a:cubicBezTo>
                    <a:pt x="39" y="0"/>
                    <a:pt x="34" y="5"/>
                    <a:pt x="34" y="11"/>
                  </a:cubicBezTo>
                  <a:cubicBezTo>
                    <a:pt x="34" y="17"/>
                    <a:pt x="39" y="22"/>
                    <a:pt x="45" y="22"/>
                  </a:cubicBezTo>
                  <a:moveTo>
                    <a:pt x="3" y="25"/>
                  </a:moveTo>
                  <a:cubicBezTo>
                    <a:pt x="1" y="25"/>
                    <a:pt x="0" y="26"/>
                    <a:pt x="0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1" y="41"/>
                    <a:pt x="3" y="41"/>
                  </a:cubicBezTo>
                  <a:cubicBezTo>
                    <a:pt x="4" y="41"/>
                    <a:pt x="5" y="39"/>
                    <a:pt x="5" y="3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6"/>
                    <a:pt x="4" y="25"/>
                    <a:pt x="3" y="25"/>
                  </a:cubicBezTo>
                  <a:moveTo>
                    <a:pt x="75" y="23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4" y="58"/>
                    <a:pt x="73" y="57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4" y="50"/>
                    <a:pt x="64" y="50"/>
                    <a:pt x="64" y="4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59" y="59"/>
                    <a:pt x="57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9"/>
                    <a:pt x="8" y="57"/>
                    <a:pt x="8" y="5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5"/>
                    <a:pt x="9" y="23"/>
                    <a:pt x="11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9" y="23"/>
                    <a:pt x="60" y="25"/>
                    <a:pt x="60" y="27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29"/>
                    <a:pt x="65" y="2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4" y="21"/>
                    <a:pt x="75" y="21"/>
                    <a:pt x="75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69959" tIns="34979" rIns="69959" bIns="34979" numCol="1" anchor="t" anchorCtr="0" compatLnSpc="1">
              <a:prstTxWarp prst="textNoShape">
                <a:avLst/>
              </a:prstTxWarp>
            </a:bodyPr>
            <a:lstStyle/>
            <a:p>
              <a:endParaRPr lang="nl-NL" sz="1600" dirty="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3609130" y="-404384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2243775" y="-6123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/>
        </p:nvCxnSpPr>
        <p:spPr>
          <a:xfrm>
            <a:off x="4727428" y="-4794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/>
        </p:nvCxnSpPr>
        <p:spPr>
          <a:xfrm>
            <a:off x="7171326" y="-3465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146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7505" y="30527"/>
            <a:ext cx="17940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Questions / Ending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908590" y="30527"/>
            <a:ext cx="11031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Worldwide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505475" y="27989"/>
            <a:ext cx="9124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Learning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853269" y="22542"/>
            <a:ext cx="6559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Office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pic>
        <p:nvPicPr>
          <p:cNvPr id="9" name="Picture 7" descr="\\MAGNUM\Projects\Microsoft\Cloud Power FY12\Design\ICONS_PNG\Instant_online_access.png"/>
          <p:cNvPicPr>
            <a:picLocks noChangeAspect="1" noChangeArrowheads="1"/>
          </p:cNvPicPr>
          <p:nvPr/>
        </p:nvPicPr>
        <p:blipFill>
          <a:blip r:embed="rId10" cstate="print">
            <a:lum bright="100000"/>
          </a:blip>
          <a:stretch>
            <a:fillRect/>
          </a:stretch>
        </p:blipFill>
        <p:spPr bwMode="auto">
          <a:xfrm>
            <a:off x="3937290" y="312738"/>
            <a:ext cx="792000" cy="792000"/>
          </a:xfrm>
          <a:prstGeom prst="rect">
            <a:avLst/>
          </a:prstGeom>
          <a:noFill/>
        </p:spPr>
      </p:pic>
      <p:pic>
        <p:nvPicPr>
          <p:cNvPr id="10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>
          <a:blip r:embed="rId11" cstate="print">
            <a:lum bright="100000"/>
          </a:blip>
          <a:stretch>
            <a:fillRect/>
          </a:stretch>
        </p:blipFill>
        <p:spPr bwMode="auto">
          <a:xfrm>
            <a:off x="3094339" y="316174"/>
            <a:ext cx="792000" cy="79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4" descr="\\MAGNUM\Projects\Microsoft\Cloud Power FY12\Design\ICONS_PNG\Open_Web_Platform.png"/>
          <p:cNvPicPr>
            <a:picLocks noChangeAspect="1" noChangeArrowheads="1"/>
          </p:cNvPicPr>
          <p:nvPr/>
        </p:nvPicPr>
        <p:blipFill>
          <a:blip r:embed="rId12" cstate="print">
            <a:lum bright="100000"/>
          </a:blip>
          <a:srcRect/>
          <a:stretch>
            <a:fillRect/>
          </a:stretch>
        </p:blipFill>
        <p:spPr bwMode="auto">
          <a:xfrm>
            <a:off x="2299371" y="284710"/>
            <a:ext cx="792000" cy="792000"/>
          </a:xfrm>
          <a:prstGeom prst="rect">
            <a:avLst/>
          </a:prstGeom>
          <a:noFill/>
        </p:spPr>
      </p:pic>
      <p:grpSp>
        <p:nvGrpSpPr>
          <p:cNvPr id="12" name="Group 11"/>
          <p:cNvGrpSpPr/>
          <p:nvPr/>
        </p:nvGrpSpPr>
        <p:grpSpPr>
          <a:xfrm>
            <a:off x="3108046" y="999623"/>
            <a:ext cx="792000" cy="792000"/>
            <a:chOff x="10160429" y="1116775"/>
            <a:chExt cx="792000" cy="792000"/>
          </a:xfrm>
        </p:grpSpPr>
        <p:grpSp>
          <p:nvGrpSpPr>
            <p:cNvPr id="13" name="Group 12"/>
            <p:cNvGrpSpPr/>
            <p:nvPr/>
          </p:nvGrpSpPr>
          <p:grpSpPr>
            <a:xfrm>
              <a:off x="10261716" y="1142009"/>
              <a:ext cx="589426" cy="741533"/>
              <a:chOff x="8670889" y="5034478"/>
              <a:chExt cx="691333" cy="869738"/>
            </a:xfrm>
          </p:grpSpPr>
          <p:sp>
            <p:nvSpPr>
              <p:cNvPr id="15" name="Freeform 62"/>
              <p:cNvSpPr>
                <a:spLocks noEditPoints="1"/>
              </p:cNvSpPr>
              <p:nvPr/>
            </p:nvSpPr>
            <p:spPr bwMode="black">
              <a:xfrm>
                <a:off x="8813605" y="5497726"/>
                <a:ext cx="406595" cy="406490"/>
              </a:xfrm>
              <a:custGeom>
                <a:avLst/>
                <a:gdLst>
                  <a:gd name="T0" fmla="*/ 189 w 189"/>
                  <a:gd name="T1" fmla="*/ 94 h 189"/>
                  <a:gd name="T2" fmla="*/ 0 w 189"/>
                  <a:gd name="T3" fmla="*/ 94 h 189"/>
                  <a:gd name="T4" fmla="*/ 129 w 189"/>
                  <a:gd name="T5" fmla="*/ 172 h 189"/>
                  <a:gd name="T6" fmla="*/ 124 w 189"/>
                  <a:gd name="T7" fmla="*/ 123 h 189"/>
                  <a:gd name="T8" fmla="*/ 123 w 189"/>
                  <a:gd name="T9" fmla="*/ 84 h 189"/>
                  <a:gd name="T10" fmla="*/ 140 w 189"/>
                  <a:gd name="T11" fmla="*/ 85 h 189"/>
                  <a:gd name="T12" fmla="*/ 152 w 189"/>
                  <a:gd name="T13" fmla="*/ 89 h 189"/>
                  <a:gd name="T14" fmla="*/ 158 w 189"/>
                  <a:gd name="T15" fmla="*/ 84 h 189"/>
                  <a:gd name="T16" fmla="*/ 152 w 189"/>
                  <a:gd name="T17" fmla="*/ 82 h 189"/>
                  <a:gd name="T18" fmla="*/ 146 w 189"/>
                  <a:gd name="T19" fmla="*/ 78 h 189"/>
                  <a:gd name="T20" fmla="*/ 139 w 189"/>
                  <a:gd name="T21" fmla="*/ 74 h 189"/>
                  <a:gd name="T22" fmla="*/ 128 w 189"/>
                  <a:gd name="T23" fmla="*/ 80 h 189"/>
                  <a:gd name="T24" fmla="*/ 121 w 189"/>
                  <a:gd name="T25" fmla="*/ 72 h 189"/>
                  <a:gd name="T26" fmla="*/ 132 w 189"/>
                  <a:gd name="T27" fmla="*/ 59 h 189"/>
                  <a:gd name="T28" fmla="*/ 140 w 189"/>
                  <a:gd name="T29" fmla="*/ 57 h 189"/>
                  <a:gd name="T30" fmla="*/ 149 w 189"/>
                  <a:gd name="T31" fmla="*/ 52 h 189"/>
                  <a:gd name="T32" fmla="*/ 148 w 189"/>
                  <a:gd name="T33" fmla="*/ 44 h 189"/>
                  <a:gd name="T34" fmla="*/ 144 w 189"/>
                  <a:gd name="T35" fmla="*/ 46 h 189"/>
                  <a:gd name="T36" fmla="*/ 138 w 189"/>
                  <a:gd name="T37" fmla="*/ 48 h 189"/>
                  <a:gd name="T38" fmla="*/ 147 w 189"/>
                  <a:gd name="T39" fmla="*/ 28 h 189"/>
                  <a:gd name="T40" fmla="*/ 108 w 189"/>
                  <a:gd name="T41" fmla="*/ 11 h 189"/>
                  <a:gd name="T42" fmla="*/ 90 w 189"/>
                  <a:gd name="T43" fmla="*/ 43 h 189"/>
                  <a:gd name="T44" fmla="*/ 78 w 189"/>
                  <a:gd name="T45" fmla="*/ 21 h 189"/>
                  <a:gd name="T46" fmla="*/ 69 w 189"/>
                  <a:gd name="T47" fmla="*/ 13 h 189"/>
                  <a:gd name="T48" fmla="*/ 60 w 189"/>
                  <a:gd name="T49" fmla="*/ 23 h 189"/>
                  <a:gd name="T50" fmla="*/ 72 w 189"/>
                  <a:gd name="T51" fmla="*/ 43 h 189"/>
                  <a:gd name="T52" fmla="*/ 59 w 189"/>
                  <a:gd name="T53" fmla="*/ 31 h 189"/>
                  <a:gd name="T54" fmla="*/ 44 w 189"/>
                  <a:gd name="T55" fmla="*/ 49 h 189"/>
                  <a:gd name="T56" fmla="*/ 57 w 189"/>
                  <a:gd name="T57" fmla="*/ 47 h 189"/>
                  <a:gd name="T58" fmla="*/ 73 w 189"/>
                  <a:gd name="T59" fmla="*/ 70 h 189"/>
                  <a:gd name="T60" fmla="*/ 47 w 189"/>
                  <a:gd name="T61" fmla="*/ 100 h 189"/>
                  <a:gd name="T62" fmla="*/ 31 w 189"/>
                  <a:gd name="T63" fmla="*/ 97 h 189"/>
                  <a:gd name="T64" fmla="*/ 40 w 189"/>
                  <a:gd name="T65" fmla="*/ 103 h 189"/>
                  <a:gd name="T66" fmla="*/ 42 w 189"/>
                  <a:gd name="T67" fmla="*/ 116 h 189"/>
                  <a:gd name="T68" fmla="*/ 81 w 189"/>
                  <a:gd name="T69" fmla="*/ 132 h 189"/>
                  <a:gd name="T70" fmla="*/ 67 w 189"/>
                  <a:gd name="T71" fmla="*/ 175 h 189"/>
                  <a:gd name="T72" fmla="*/ 129 w 189"/>
                  <a:gd name="T73" fmla="*/ 172 h 189"/>
                  <a:gd name="T74" fmla="*/ 172 w 189"/>
                  <a:gd name="T75" fmla="*/ 115 h 189"/>
                  <a:gd name="T76" fmla="*/ 172 w 189"/>
                  <a:gd name="T77" fmla="*/ 118 h 189"/>
                  <a:gd name="T78" fmla="*/ 177 w 189"/>
                  <a:gd name="T79" fmla="*/ 114 h 189"/>
                  <a:gd name="T80" fmla="*/ 156 w 189"/>
                  <a:gd name="T81" fmla="*/ 152 h 189"/>
                  <a:gd name="T82" fmla="*/ 52 w 189"/>
                  <a:gd name="T83" fmla="*/ 168 h 189"/>
                  <a:gd name="T84" fmla="*/ 47 w 189"/>
                  <a:gd name="T85" fmla="*/ 126 h 189"/>
                  <a:gd name="T86" fmla="*/ 42 w 189"/>
                  <a:gd name="T87" fmla="*/ 121 h 189"/>
                  <a:gd name="T88" fmla="*/ 20 w 189"/>
                  <a:gd name="T89" fmla="*/ 103 h 189"/>
                  <a:gd name="T90" fmla="*/ 9 w 189"/>
                  <a:gd name="T91" fmla="*/ 94 h 189"/>
                  <a:gd name="T92" fmla="*/ 108 w 189"/>
                  <a:gd name="T93" fmla="*/ 41 h 189"/>
                  <a:gd name="T94" fmla="*/ 108 w 189"/>
                  <a:gd name="T95" fmla="*/ 41 h 189"/>
                  <a:gd name="T96" fmla="*/ 129 w 189"/>
                  <a:gd name="T97" fmla="*/ 58 h 189"/>
                  <a:gd name="T98" fmla="*/ 125 w 189"/>
                  <a:gd name="T99" fmla="*/ 49 h 189"/>
                  <a:gd name="T100" fmla="*/ 160 w 189"/>
                  <a:gd name="T101" fmla="*/ 69 h 189"/>
                  <a:gd name="T102" fmla="*/ 158 w 189"/>
                  <a:gd name="T103" fmla="*/ 77 h 189"/>
                  <a:gd name="T104" fmla="*/ 59 w 189"/>
                  <a:gd name="T105" fmla="*/ 106 h 189"/>
                  <a:gd name="T106" fmla="*/ 46 w 189"/>
                  <a:gd name="T107" fmla="*/ 10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9" h="189">
                    <a:moveTo>
                      <a:pt x="94" y="0"/>
                    </a:moveTo>
                    <a:cubicBezTo>
                      <a:pt x="146" y="0"/>
                      <a:pt x="189" y="42"/>
                      <a:pt x="189" y="94"/>
                    </a:cubicBezTo>
                    <a:cubicBezTo>
                      <a:pt x="189" y="147"/>
                      <a:pt x="146" y="189"/>
                      <a:pt x="94" y="189"/>
                    </a:cubicBezTo>
                    <a:cubicBezTo>
                      <a:pt x="42" y="189"/>
                      <a:pt x="0" y="147"/>
                      <a:pt x="0" y="94"/>
                    </a:cubicBezTo>
                    <a:cubicBezTo>
                      <a:pt x="0" y="42"/>
                      <a:pt x="42" y="0"/>
                      <a:pt x="94" y="0"/>
                    </a:cubicBezTo>
                    <a:close/>
                    <a:moveTo>
                      <a:pt x="129" y="172"/>
                    </a:moveTo>
                    <a:cubicBezTo>
                      <a:pt x="126" y="156"/>
                      <a:pt x="135" y="129"/>
                      <a:pt x="130" y="124"/>
                    </a:cubicBezTo>
                    <a:cubicBezTo>
                      <a:pt x="128" y="123"/>
                      <a:pt x="126" y="122"/>
                      <a:pt x="124" y="123"/>
                    </a:cubicBezTo>
                    <a:cubicBezTo>
                      <a:pt x="120" y="124"/>
                      <a:pt x="116" y="126"/>
                      <a:pt x="113" y="125"/>
                    </a:cubicBezTo>
                    <a:cubicBezTo>
                      <a:pt x="96" y="117"/>
                      <a:pt x="106" y="90"/>
                      <a:pt x="123" y="84"/>
                    </a:cubicBezTo>
                    <a:cubicBezTo>
                      <a:pt x="126" y="83"/>
                      <a:pt x="129" y="83"/>
                      <a:pt x="132" y="83"/>
                    </a:cubicBezTo>
                    <a:cubicBezTo>
                      <a:pt x="137" y="82"/>
                      <a:pt x="140" y="82"/>
                      <a:pt x="140" y="85"/>
                    </a:cubicBezTo>
                    <a:cubicBezTo>
                      <a:pt x="140" y="89"/>
                      <a:pt x="148" y="92"/>
                      <a:pt x="150" y="92"/>
                    </a:cubicBezTo>
                    <a:cubicBezTo>
                      <a:pt x="151" y="92"/>
                      <a:pt x="151" y="89"/>
                      <a:pt x="152" y="89"/>
                    </a:cubicBezTo>
                    <a:cubicBezTo>
                      <a:pt x="159" y="89"/>
                      <a:pt x="164" y="93"/>
                      <a:pt x="165" y="90"/>
                    </a:cubicBezTo>
                    <a:cubicBezTo>
                      <a:pt x="167" y="80"/>
                      <a:pt x="166" y="85"/>
                      <a:pt x="158" y="84"/>
                    </a:cubicBezTo>
                    <a:cubicBezTo>
                      <a:pt x="155" y="83"/>
                      <a:pt x="157" y="78"/>
                      <a:pt x="154" y="78"/>
                    </a:cubicBezTo>
                    <a:cubicBezTo>
                      <a:pt x="152" y="77"/>
                      <a:pt x="155" y="84"/>
                      <a:pt x="152" y="82"/>
                    </a:cubicBezTo>
                    <a:cubicBezTo>
                      <a:pt x="148" y="79"/>
                      <a:pt x="146" y="72"/>
                      <a:pt x="142" y="71"/>
                    </a:cubicBezTo>
                    <a:cubicBezTo>
                      <a:pt x="137" y="70"/>
                      <a:pt x="145" y="75"/>
                      <a:pt x="146" y="78"/>
                    </a:cubicBezTo>
                    <a:cubicBezTo>
                      <a:pt x="147" y="81"/>
                      <a:pt x="143" y="85"/>
                      <a:pt x="141" y="82"/>
                    </a:cubicBezTo>
                    <a:cubicBezTo>
                      <a:pt x="140" y="81"/>
                      <a:pt x="145" y="78"/>
                      <a:pt x="139" y="74"/>
                    </a:cubicBezTo>
                    <a:cubicBezTo>
                      <a:pt x="138" y="72"/>
                      <a:pt x="135" y="72"/>
                      <a:pt x="133" y="74"/>
                    </a:cubicBezTo>
                    <a:cubicBezTo>
                      <a:pt x="130" y="77"/>
                      <a:pt x="129" y="80"/>
                      <a:pt x="128" y="80"/>
                    </a:cubicBezTo>
                    <a:cubicBezTo>
                      <a:pt x="125" y="82"/>
                      <a:pt x="123" y="82"/>
                      <a:pt x="120" y="81"/>
                    </a:cubicBezTo>
                    <a:cubicBezTo>
                      <a:pt x="116" y="80"/>
                      <a:pt x="117" y="71"/>
                      <a:pt x="121" y="72"/>
                    </a:cubicBezTo>
                    <a:cubicBezTo>
                      <a:pt x="133" y="75"/>
                      <a:pt x="122" y="68"/>
                      <a:pt x="125" y="66"/>
                    </a:cubicBezTo>
                    <a:cubicBezTo>
                      <a:pt x="126" y="65"/>
                      <a:pt x="130" y="62"/>
                      <a:pt x="132" y="59"/>
                    </a:cubicBezTo>
                    <a:cubicBezTo>
                      <a:pt x="134" y="57"/>
                      <a:pt x="133" y="51"/>
                      <a:pt x="137" y="52"/>
                    </a:cubicBezTo>
                    <a:cubicBezTo>
                      <a:pt x="139" y="52"/>
                      <a:pt x="138" y="56"/>
                      <a:pt x="140" y="57"/>
                    </a:cubicBezTo>
                    <a:cubicBezTo>
                      <a:pt x="141" y="58"/>
                      <a:pt x="144" y="57"/>
                      <a:pt x="146" y="57"/>
                    </a:cubicBezTo>
                    <a:cubicBezTo>
                      <a:pt x="149" y="57"/>
                      <a:pt x="149" y="55"/>
                      <a:pt x="149" y="52"/>
                    </a:cubicBezTo>
                    <a:cubicBezTo>
                      <a:pt x="149" y="48"/>
                      <a:pt x="156" y="49"/>
                      <a:pt x="156" y="47"/>
                    </a:cubicBezTo>
                    <a:cubicBezTo>
                      <a:pt x="155" y="44"/>
                      <a:pt x="148" y="48"/>
                      <a:pt x="148" y="44"/>
                    </a:cubicBezTo>
                    <a:cubicBezTo>
                      <a:pt x="148" y="39"/>
                      <a:pt x="154" y="38"/>
                      <a:pt x="150" y="37"/>
                    </a:cubicBezTo>
                    <a:cubicBezTo>
                      <a:pt x="147" y="36"/>
                      <a:pt x="143" y="39"/>
                      <a:pt x="144" y="46"/>
                    </a:cubicBezTo>
                    <a:cubicBezTo>
                      <a:pt x="145" y="53"/>
                      <a:pt x="146" y="56"/>
                      <a:pt x="141" y="54"/>
                    </a:cubicBezTo>
                    <a:cubicBezTo>
                      <a:pt x="137" y="51"/>
                      <a:pt x="142" y="46"/>
                      <a:pt x="138" y="48"/>
                    </a:cubicBezTo>
                    <a:cubicBezTo>
                      <a:pt x="135" y="50"/>
                      <a:pt x="133" y="51"/>
                      <a:pt x="133" y="46"/>
                    </a:cubicBezTo>
                    <a:cubicBezTo>
                      <a:pt x="133" y="42"/>
                      <a:pt x="141" y="30"/>
                      <a:pt x="147" y="28"/>
                    </a:cubicBezTo>
                    <a:cubicBezTo>
                      <a:pt x="136" y="19"/>
                      <a:pt x="123" y="13"/>
                      <a:pt x="108" y="11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8" y="19"/>
                      <a:pt x="108" y="24"/>
                      <a:pt x="107" y="28"/>
                    </a:cubicBezTo>
                    <a:cubicBezTo>
                      <a:pt x="107" y="33"/>
                      <a:pt x="92" y="34"/>
                      <a:pt x="90" y="43"/>
                    </a:cubicBezTo>
                    <a:cubicBezTo>
                      <a:pt x="88" y="51"/>
                      <a:pt x="85" y="46"/>
                      <a:pt x="80" y="40"/>
                    </a:cubicBezTo>
                    <a:cubicBezTo>
                      <a:pt x="75" y="34"/>
                      <a:pt x="81" y="26"/>
                      <a:pt x="78" y="21"/>
                    </a:cubicBezTo>
                    <a:cubicBezTo>
                      <a:pt x="76" y="16"/>
                      <a:pt x="67" y="23"/>
                      <a:pt x="67" y="18"/>
                    </a:cubicBezTo>
                    <a:cubicBezTo>
                      <a:pt x="67" y="16"/>
                      <a:pt x="69" y="14"/>
                      <a:pt x="69" y="13"/>
                    </a:cubicBezTo>
                    <a:cubicBezTo>
                      <a:pt x="68" y="14"/>
                      <a:pt x="67" y="14"/>
                      <a:pt x="66" y="14"/>
                    </a:cubicBezTo>
                    <a:cubicBezTo>
                      <a:pt x="63" y="16"/>
                      <a:pt x="61" y="22"/>
                      <a:pt x="60" y="23"/>
                    </a:cubicBezTo>
                    <a:cubicBezTo>
                      <a:pt x="57" y="27"/>
                      <a:pt x="64" y="26"/>
                      <a:pt x="67" y="30"/>
                    </a:cubicBezTo>
                    <a:cubicBezTo>
                      <a:pt x="71" y="36"/>
                      <a:pt x="74" y="40"/>
                      <a:pt x="72" y="43"/>
                    </a:cubicBezTo>
                    <a:cubicBezTo>
                      <a:pt x="71" y="46"/>
                      <a:pt x="59" y="43"/>
                      <a:pt x="61" y="38"/>
                    </a:cubicBezTo>
                    <a:cubicBezTo>
                      <a:pt x="64" y="33"/>
                      <a:pt x="62" y="32"/>
                      <a:pt x="59" y="31"/>
                    </a:cubicBezTo>
                    <a:cubicBezTo>
                      <a:pt x="56" y="31"/>
                      <a:pt x="56" y="35"/>
                      <a:pt x="56" y="40"/>
                    </a:cubicBezTo>
                    <a:cubicBezTo>
                      <a:pt x="56" y="44"/>
                      <a:pt x="48" y="45"/>
                      <a:pt x="44" y="49"/>
                    </a:cubicBezTo>
                    <a:cubicBezTo>
                      <a:pt x="40" y="54"/>
                      <a:pt x="47" y="58"/>
                      <a:pt x="53" y="60"/>
                    </a:cubicBezTo>
                    <a:cubicBezTo>
                      <a:pt x="59" y="62"/>
                      <a:pt x="55" y="52"/>
                      <a:pt x="57" y="47"/>
                    </a:cubicBezTo>
                    <a:cubicBezTo>
                      <a:pt x="59" y="40"/>
                      <a:pt x="66" y="46"/>
                      <a:pt x="71" y="52"/>
                    </a:cubicBezTo>
                    <a:cubicBezTo>
                      <a:pt x="75" y="58"/>
                      <a:pt x="82" y="66"/>
                      <a:pt x="73" y="70"/>
                    </a:cubicBezTo>
                    <a:cubicBezTo>
                      <a:pt x="58" y="76"/>
                      <a:pt x="52" y="83"/>
                      <a:pt x="49" y="89"/>
                    </a:cubicBezTo>
                    <a:cubicBezTo>
                      <a:pt x="46" y="95"/>
                      <a:pt x="49" y="98"/>
                      <a:pt x="47" y="100"/>
                    </a:cubicBezTo>
                    <a:cubicBezTo>
                      <a:pt x="45" y="102"/>
                      <a:pt x="45" y="99"/>
                      <a:pt x="43" y="94"/>
                    </a:cubicBezTo>
                    <a:cubicBezTo>
                      <a:pt x="41" y="91"/>
                      <a:pt x="34" y="91"/>
                      <a:pt x="31" y="97"/>
                    </a:cubicBezTo>
                    <a:cubicBezTo>
                      <a:pt x="29" y="98"/>
                      <a:pt x="29" y="101"/>
                      <a:pt x="29" y="104"/>
                    </a:cubicBezTo>
                    <a:cubicBezTo>
                      <a:pt x="29" y="114"/>
                      <a:pt x="36" y="101"/>
                      <a:pt x="40" y="103"/>
                    </a:cubicBezTo>
                    <a:cubicBezTo>
                      <a:pt x="45" y="104"/>
                      <a:pt x="36" y="105"/>
                      <a:pt x="37" y="109"/>
                    </a:cubicBezTo>
                    <a:cubicBezTo>
                      <a:pt x="38" y="113"/>
                      <a:pt x="44" y="107"/>
                      <a:pt x="42" y="116"/>
                    </a:cubicBezTo>
                    <a:cubicBezTo>
                      <a:pt x="41" y="121"/>
                      <a:pt x="49" y="117"/>
                      <a:pt x="54" y="115"/>
                    </a:cubicBezTo>
                    <a:cubicBezTo>
                      <a:pt x="65" y="111"/>
                      <a:pt x="73" y="129"/>
                      <a:pt x="81" y="132"/>
                    </a:cubicBezTo>
                    <a:cubicBezTo>
                      <a:pt x="90" y="135"/>
                      <a:pt x="93" y="137"/>
                      <a:pt x="91" y="141"/>
                    </a:cubicBezTo>
                    <a:cubicBezTo>
                      <a:pt x="85" y="153"/>
                      <a:pt x="73" y="161"/>
                      <a:pt x="67" y="175"/>
                    </a:cubicBezTo>
                    <a:cubicBezTo>
                      <a:pt x="75" y="178"/>
                      <a:pt x="85" y="179"/>
                      <a:pt x="94" y="179"/>
                    </a:cubicBezTo>
                    <a:cubicBezTo>
                      <a:pt x="107" y="179"/>
                      <a:pt x="118" y="177"/>
                      <a:pt x="129" y="172"/>
                    </a:cubicBezTo>
                    <a:close/>
                    <a:moveTo>
                      <a:pt x="177" y="114"/>
                    </a:moveTo>
                    <a:cubicBezTo>
                      <a:pt x="175" y="114"/>
                      <a:pt x="173" y="115"/>
                      <a:pt x="172" y="115"/>
                    </a:cubicBezTo>
                    <a:cubicBezTo>
                      <a:pt x="167" y="113"/>
                      <a:pt x="170" y="93"/>
                      <a:pt x="163" y="94"/>
                    </a:cubicBezTo>
                    <a:cubicBezTo>
                      <a:pt x="160" y="95"/>
                      <a:pt x="165" y="110"/>
                      <a:pt x="172" y="118"/>
                    </a:cubicBezTo>
                    <a:cubicBezTo>
                      <a:pt x="173" y="119"/>
                      <a:pt x="174" y="118"/>
                      <a:pt x="176" y="118"/>
                    </a:cubicBezTo>
                    <a:cubicBezTo>
                      <a:pt x="176" y="117"/>
                      <a:pt x="177" y="115"/>
                      <a:pt x="177" y="114"/>
                    </a:cubicBezTo>
                    <a:close/>
                    <a:moveTo>
                      <a:pt x="172" y="128"/>
                    </a:moveTo>
                    <a:cubicBezTo>
                      <a:pt x="164" y="126"/>
                      <a:pt x="158" y="144"/>
                      <a:pt x="156" y="152"/>
                    </a:cubicBezTo>
                    <a:cubicBezTo>
                      <a:pt x="163" y="145"/>
                      <a:pt x="168" y="137"/>
                      <a:pt x="172" y="128"/>
                    </a:cubicBezTo>
                    <a:close/>
                    <a:moveTo>
                      <a:pt x="52" y="168"/>
                    </a:moveTo>
                    <a:cubicBezTo>
                      <a:pt x="53" y="160"/>
                      <a:pt x="54" y="151"/>
                      <a:pt x="52" y="150"/>
                    </a:cubicBezTo>
                    <a:cubicBezTo>
                      <a:pt x="45" y="144"/>
                      <a:pt x="40" y="135"/>
                      <a:pt x="47" y="126"/>
                    </a:cubicBezTo>
                    <a:cubicBezTo>
                      <a:pt x="48" y="125"/>
                      <a:pt x="49" y="124"/>
                      <a:pt x="49" y="122"/>
                    </a:cubicBezTo>
                    <a:cubicBezTo>
                      <a:pt x="50" y="119"/>
                      <a:pt x="47" y="121"/>
                      <a:pt x="42" y="121"/>
                    </a:cubicBezTo>
                    <a:cubicBezTo>
                      <a:pt x="37" y="121"/>
                      <a:pt x="41" y="113"/>
                      <a:pt x="31" y="112"/>
                    </a:cubicBezTo>
                    <a:cubicBezTo>
                      <a:pt x="21" y="111"/>
                      <a:pt x="21" y="109"/>
                      <a:pt x="20" y="103"/>
                    </a:cubicBezTo>
                    <a:cubicBezTo>
                      <a:pt x="20" y="97"/>
                      <a:pt x="14" y="91"/>
                      <a:pt x="9" y="90"/>
                    </a:cubicBezTo>
                    <a:cubicBezTo>
                      <a:pt x="9" y="91"/>
                      <a:pt x="9" y="93"/>
                      <a:pt x="9" y="94"/>
                    </a:cubicBezTo>
                    <a:cubicBezTo>
                      <a:pt x="9" y="126"/>
                      <a:pt x="27" y="154"/>
                      <a:pt x="52" y="168"/>
                    </a:cubicBezTo>
                    <a:close/>
                    <a:moveTo>
                      <a:pt x="108" y="41"/>
                    </a:moveTo>
                    <a:cubicBezTo>
                      <a:pt x="112" y="43"/>
                      <a:pt x="116" y="40"/>
                      <a:pt x="115" y="37"/>
                    </a:cubicBezTo>
                    <a:cubicBezTo>
                      <a:pt x="112" y="32"/>
                      <a:pt x="103" y="35"/>
                      <a:pt x="108" y="41"/>
                    </a:cubicBezTo>
                    <a:close/>
                    <a:moveTo>
                      <a:pt x="125" y="49"/>
                    </a:moveTo>
                    <a:cubicBezTo>
                      <a:pt x="128" y="49"/>
                      <a:pt x="130" y="55"/>
                      <a:pt x="129" y="58"/>
                    </a:cubicBezTo>
                    <a:cubicBezTo>
                      <a:pt x="127" y="64"/>
                      <a:pt x="122" y="60"/>
                      <a:pt x="121" y="56"/>
                    </a:cubicBezTo>
                    <a:cubicBezTo>
                      <a:pt x="121" y="52"/>
                      <a:pt x="122" y="49"/>
                      <a:pt x="125" y="49"/>
                    </a:cubicBezTo>
                    <a:close/>
                    <a:moveTo>
                      <a:pt x="158" y="77"/>
                    </a:moveTo>
                    <a:cubicBezTo>
                      <a:pt x="155" y="74"/>
                      <a:pt x="156" y="70"/>
                      <a:pt x="160" y="69"/>
                    </a:cubicBezTo>
                    <a:cubicBezTo>
                      <a:pt x="167" y="68"/>
                      <a:pt x="176" y="75"/>
                      <a:pt x="170" y="77"/>
                    </a:cubicBezTo>
                    <a:cubicBezTo>
                      <a:pt x="167" y="78"/>
                      <a:pt x="162" y="78"/>
                      <a:pt x="158" y="77"/>
                    </a:cubicBezTo>
                    <a:close/>
                    <a:moveTo>
                      <a:pt x="46" y="102"/>
                    </a:moveTo>
                    <a:cubicBezTo>
                      <a:pt x="49" y="102"/>
                      <a:pt x="57" y="104"/>
                      <a:pt x="59" y="106"/>
                    </a:cubicBezTo>
                    <a:cubicBezTo>
                      <a:pt x="61" y="109"/>
                      <a:pt x="53" y="108"/>
                      <a:pt x="48" y="106"/>
                    </a:cubicBezTo>
                    <a:cubicBezTo>
                      <a:pt x="45" y="105"/>
                      <a:pt x="43" y="103"/>
                      <a:pt x="46" y="10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defTabSz="1088078"/>
                <a:endParaRPr lang="en-US" sz="1600">
                  <a:solidFill>
                    <a:srgbClr val="505050"/>
                  </a:solidFill>
                  <a:latin typeface="NotesStyle-Medium" pitchFamily="2" charset="0"/>
                </a:endParaRPr>
              </a:p>
            </p:txBody>
          </p:sp>
          <p:pic>
            <p:nvPicPr>
              <p:cNvPr id="16" name="Picture 3" descr="C:\Users\Dallas - Work\Desktop\signal.png"/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670889" y="5034478"/>
                <a:ext cx="691333" cy="3757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Rectangle 13"/>
            <p:cNvSpPr/>
            <p:nvPr/>
          </p:nvSpPr>
          <p:spPr>
            <a:xfrm>
              <a:off x="10160429" y="11167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351643" y="1067908"/>
            <a:ext cx="792000" cy="792000"/>
            <a:chOff x="9626766" y="1034900"/>
            <a:chExt cx="792000" cy="792000"/>
          </a:xfrm>
        </p:grpSpPr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5052" y="1103186"/>
              <a:ext cx="655429" cy="6554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18"/>
            <p:cNvSpPr/>
            <p:nvPr/>
          </p:nvSpPr>
          <p:spPr>
            <a:xfrm>
              <a:off x="9626766" y="103490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809719" y="1001589"/>
            <a:ext cx="792000" cy="792000"/>
            <a:chOff x="3290973" y="-1251814"/>
            <a:chExt cx="792000" cy="792000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7769" y="-1156406"/>
              <a:ext cx="658409" cy="601185"/>
            </a:xfrm>
            <a:prstGeom prst="rect">
              <a:avLst/>
            </a:prstGeom>
            <a:noFill/>
          </p:spPr>
        </p:pic>
        <p:sp>
          <p:nvSpPr>
            <p:cNvPr id="22" name="Rectangle 21"/>
            <p:cNvSpPr/>
            <p:nvPr/>
          </p:nvSpPr>
          <p:spPr>
            <a:xfrm>
              <a:off x="3290973" y="-125181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616023" y="311659"/>
            <a:ext cx="792000" cy="792000"/>
            <a:chOff x="1846486" y="-1200403"/>
            <a:chExt cx="792000" cy="792000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956185" y="-1090704"/>
              <a:ext cx="572602" cy="572602"/>
            </a:xfrm>
            <a:prstGeom prst="rect">
              <a:avLst/>
            </a:prstGeom>
          </p:spPr>
        </p:pic>
        <p:sp>
          <p:nvSpPr>
            <p:cNvPr id="25" name="Rectangle 24"/>
            <p:cNvSpPr/>
            <p:nvPr/>
          </p:nvSpPr>
          <p:spPr>
            <a:xfrm>
              <a:off x="1846486" y="-120040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382238" y="311659"/>
            <a:ext cx="792000" cy="792000"/>
            <a:chOff x="3054366" y="-1636631"/>
            <a:chExt cx="792000" cy="792000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3119" y="-1609681"/>
              <a:ext cx="734494" cy="738101"/>
            </a:xfrm>
            <a:prstGeom prst="rect">
              <a:avLst/>
            </a:prstGeom>
            <a:noFill/>
          </p:spPr>
        </p:pic>
        <p:sp>
          <p:nvSpPr>
            <p:cNvPr id="28" name="Rectangle 27"/>
            <p:cNvSpPr/>
            <p:nvPr/>
          </p:nvSpPr>
          <p:spPr>
            <a:xfrm>
              <a:off x="3054366" y="-163663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809944" y="311659"/>
            <a:ext cx="792000" cy="792000"/>
            <a:chOff x="3383961" y="-1617810"/>
            <a:chExt cx="792000" cy="79200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412568" y="-1477388"/>
              <a:ext cx="734787" cy="511156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>
            <a:xfrm>
              <a:off x="3383961" y="-161781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34" name="Picture 11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59" t="11852" r="9259" b="6666"/>
          <a:stretch/>
        </p:blipFill>
        <p:spPr bwMode="auto">
          <a:xfrm>
            <a:off x="8221197" y="344976"/>
            <a:ext cx="792000" cy="79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6" name="Group 35"/>
          <p:cNvGrpSpPr/>
          <p:nvPr/>
        </p:nvGrpSpPr>
        <p:grpSpPr>
          <a:xfrm>
            <a:off x="7268564" y="267494"/>
            <a:ext cx="792000" cy="792000"/>
            <a:chOff x="10351301" y="435800"/>
            <a:chExt cx="792000" cy="792000"/>
          </a:xfrm>
        </p:grpSpPr>
        <p:sp>
          <p:nvSpPr>
            <p:cNvPr id="38" name="Freeform 37"/>
            <p:cNvSpPr/>
            <p:nvPr/>
          </p:nvSpPr>
          <p:spPr>
            <a:xfrm>
              <a:off x="10381682" y="505107"/>
              <a:ext cx="731238" cy="653387"/>
            </a:xfrm>
            <a:custGeom>
              <a:avLst/>
              <a:gdLst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68592 w 4606169"/>
                <a:gd name="connsiteY0" fmla="*/ 2038634 h 4309179"/>
                <a:gd name="connsiteX1" fmla="*/ 2320086 w 4606169"/>
                <a:gd name="connsiteY1" fmla="*/ 11427 h 4309179"/>
                <a:gd name="connsiteX2" fmla="*/ 3458773 w 4606169"/>
                <a:gd name="connsiteY2" fmla="*/ 1175993 h 4309179"/>
                <a:gd name="connsiteX3" fmla="*/ 3458773 w 4606169"/>
                <a:gd name="connsiteY3" fmla="*/ 304725 h 4309179"/>
                <a:gd name="connsiteX4" fmla="*/ 4045369 w 4606169"/>
                <a:gd name="connsiteY4" fmla="*/ 304725 h 4309179"/>
                <a:gd name="connsiteX5" fmla="*/ 4019490 w 4606169"/>
                <a:gd name="connsiteY5" fmla="*/ 1477917 h 4309179"/>
                <a:gd name="connsiteX6" fmla="*/ 4606086 w 4606169"/>
                <a:gd name="connsiteY6" fmla="*/ 2021382 h 4309179"/>
                <a:gd name="connsiteX7" fmla="*/ 4062622 w 4606169"/>
                <a:gd name="connsiteY7" fmla="*/ 2055887 h 4309179"/>
                <a:gd name="connsiteX8" fmla="*/ 4045369 w 4606169"/>
                <a:gd name="connsiteY8" fmla="*/ 4048589 h 4309179"/>
                <a:gd name="connsiteX9" fmla="*/ 2906683 w 4606169"/>
                <a:gd name="connsiteY9" fmla="*/ 4065842 h 4309179"/>
                <a:gd name="connsiteX10" fmla="*/ 2889430 w 4606169"/>
                <a:gd name="connsiteY10" fmla="*/ 2030008 h 4309179"/>
                <a:gd name="connsiteX11" fmla="*/ 1785249 w 4606169"/>
                <a:gd name="connsiteY11" fmla="*/ 2030008 h 4309179"/>
                <a:gd name="connsiteX12" fmla="*/ 1759369 w 4606169"/>
                <a:gd name="connsiteY12" fmla="*/ 4065842 h 4309179"/>
                <a:gd name="connsiteX13" fmla="*/ 629309 w 4606169"/>
                <a:gd name="connsiteY13" fmla="*/ 4031336 h 4309179"/>
                <a:gd name="connsiteX14" fmla="*/ 586177 w 4606169"/>
                <a:gd name="connsiteY14" fmla="*/ 2073140 h 4309179"/>
                <a:gd name="connsiteX15" fmla="*/ 68592 w 4606169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73140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17585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309179"/>
                <a:gd name="connsiteX1" fmla="*/ 2251494 w 4537577"/>
                <a:gd name="connsiteY1" fmla="*/ 11427 h 4309179"/>
                <a:gd name="connsiteX2" fmla="*/ 3390181 w 4537577"/>
                <a:gd name="connsiteY2" fmla="*/ 1175993 h 4309179"/>
                <a:gd name="connsiteX3" fmla="*/ 3390181 w 4537577"/>
                <a:gd name="connsiteY3" fmla="*/ 304725 h 4309179"/>
                <a:gd name="connsiteX4" fmla="*/ 3976777 w 4537577"/>
                <a:gd name="connsiteY4" fmla="*/ 304725 h 4309179"/>
                <a:gd name="connsiteX5" fmla="*/ 3950898 w 4537577"/>
                <a:gd name="connsiteY5" fmla="*/ 1477917 h 4309179"/>
                <a:gd name="connsiteX6" fmla="*/ 4537494 w 4537577"/>
                <a:gd name="connsiteY6" fmla="*/ 2021382 h 4309179"/>
                <a:gd name="connsiteX7" fmla="*/ 3994030 w 4537577"/>
                <a:gd name="connsiteY7" fmla="*/ 2055887 h 4309179"/>
                <a:gd name="connsiteX8" fmla="*/ 3976777 w 4537577"/>
                <a:gd name="connsiteY8" fmla="*/ 4048589 h 4309179"/>
                <a:gd name="connsiteX9" fmla="*/ 2838091 w 4537577"/>
                <a:gd name="connsiteY9" fmla="*/ 4065842 h 4309179"/>
                <a:gd name="connsiteX10" fmla="*/ 2820838 w 4537577"/>
                <a:gd name="connsiteY10" fmla="*/ 2030008 h 4309179"/>
                <a:gd name="connsiteX11" fmla="*/ 1716657 w 4537577"/>
                <a:gd name="connsiteY11" fmla="*/ 2030008 h 4309179"/>
                <a:gd name="connsiteX12" fmla="*/ 1690777 w 4537577"/>
                <a:gd name="connsiteY12" fmla="*/ 4065842 h 4309179"/>
                <a:gd name="connsiteX13" fmla="*/ 560717 w 4537577"/>
                <a:gd name="connsiteY13" fmla="*/ 4031336 h 4309179"/>
                <a:gd name="connsiteX14" fmla="*/ 560717 w 4537577"/>
                <a:gd name="connsiteY14" fmla="*/ 2030008 h 4309179"/>
                <a:gd name="connsiteX15" fmla="*/ 0 w 4537577"/>
                <a:gd name="connsiteY15" fmla="*/ 2038634 h 4309179"/>
                <a:gd name="connsiteX0" fmla="*/ 0 w 4537577"/>
                <a:gd name="connsiteY0" fmla="*/ 2038634 h 4196198"/>
                <a:gd name="connsiteX1" fmla="*/ 2251494 w 4537577"/>
                <a:gd name="connsiteY1" fmla="*/ 11427 h 4196198"/>
                <a:gd name="connsiteX2" fmla="*/ 3390181 w 4537577"/>
                <a:gd name="connsiteY2" fmla="*/ 1175993 h 4196198"/>
                <a:gd name="connsiteX3" fmla="*/ 3390181 w 4537577"/>
                <a:gd name="connsiteY3" fmla="*/ 304725 h 4196198"/>
                <a:gd name="connsiteX4" fmla="*/ 3976777 w 4537577"/>
                <a:gd name="connsiteY4" fmla="*/ 304725 h 4196198"/>
                <a:gd name="connsiteX5" fmla="*/ 3950898 w 4537577"/>
                <a:gd name="connsiteY5" fmla="*/ 1477917 h 4196198"/>
                <a:gd name="connsiteX6" fmla="*/ 4537494 w 4537577"/>
                <a:gd name="connsiteY6" fmla="*/ 2021382 h 4196198"/>
                <a:gd name="connsiteX7" fmla="*/ 3994030 w 4537577"/>
                <a:gd name="connsiteY7" fmla="*/ 2055887 h 4196198"/>
                <a:gd name="connsiteX8" fmla="*/ 3976777 w 4537577"/>
                <a:gd name="connsiteY8" fmla="*/ 4048589 h 4196198"/>
                <a:gd name="connsiteX9" fmla="*/ 2838091 w 4537577"/>
                <a:gd name="connsiteY9" fmla="*/ 4065842 h 4196198"/>
                <a:gd name="connsiteX10" fmla="*/ 2820838 w 4537577"/>
                <a:gd name="connsiteY10" fmla="*/ 2030008 h 4196198"/>
                <a:gd name="connsiteX11" fmla="*/ 1716657 w 4537577"/>
                <a:gd name="connsiteY11" fmla="*/ 2030008 h 4196198"/>
                <a:gd name="connsiteX12" fmla="*/ 1690777 w 4537577"/>
                <a:gd name="connsiteY12" fmla="*/ 4065842 h 4196198"/>
                <a:gd name="connsiteX13" fmla="*/ 560717 w 4537577"/>
                <a:gd name="connsiteY13" fmla="*/ 4031336 h 4196198"/>
                <a:gd name="connsiteX14" fmla="*/ 560717 w 4537577"/>
                <a:gd name="connsiteY14" fmla="*/ 2030008 h 4196198"/>
                <a:gd name="connsiteX15" fmla="*/ 0 w 4537577"/>
                <a:gd name="connsiteY15" fmla="*/ 2038634 h 4196198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76777 w 4537577"/>
                <a:gd name="connsiteY8" fmla="*/ 4048589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76777 w 4537577"/>
                <a:gd name="connsiteY8" fmla="*/ 4048589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37577"/>
                <a:gd name="connsiteY0" fmla="*/ 2038634 h 4074468"/>
                <a:gd name="connsiteX1" fmla="*/ 2251494 w 4537577"/>
                <a:gd name="connsiteY1" fmla="*/ 11427 h 4074468"/>
                <a:gd name="connsiteX2" fmla="*/ 3390181 w 4537577"/>
                <a:gd name="connsiteY2" fmla="*/ 1175993 h 4074468"/>
                <a:gd name="connsiteX3" fmla="*/ 3390181 w 4537577"/>
                <a:gd name="connsiteY3" fmla="*/ 304725 h 4074468"/>
                <a:gd name="connsiteX4" fmla="*/ 3976777 w 4537577"/>
                <a:gd name="connsiteY4" fmla="*/ 304725 h 4074468"/>
                <a:gd name="connsiteX5" fmla="*/ 3950898 w 4537577"/>
                <a:gd name="connsiteY5" fmla="*/ 1477917 h 4074468"/>
                <a:gd name="connsiteX6" fmla="*/ 4537494 w 4537577"/>
                <a:gd name="connsiteY6" fmla="*/ 2021382 h 4074468"/>
                <a:gd name="connsiteX7" fmla="*/ 3994030 w 4537577"/>
                <a:gd name="connsiteY7" fmla="*/ 2055887 h 4074468"/>
                <a:gd name="connsiteX8" fmla="*/ 3994030 w 4537577"/>
                <a:gd name="connsiteY8" fmla="*/ 4074468 h 4074468"/>
                <a:gd name="connsiteX9" fmla="*/ 2838091 w 4537577"/>
                <a:gd name="connsiteY9" fmla="*/ 4065842 h 4074468"/>
                <a:gd name="connsiteX10" fmla="*/ 2820838 w 4537577"/>
                <a:gd name="connsiteY10" fmla="*/ 2030008 h 4074468"/>
                <a:gd name="connsiteX11" fmla="*/ 1716657 w 4537577"/>
                <a:gd name="connsiteY11" fmla="*/ 2030008 h 4074468"/>
                <a:gd name="connsiteX12" fmla="*/ 1690777 w 4537577"/>
                <a:gd name="connsiteY12" fmla="*/ 4065842 h 4074468"/>
                <a:gd name="connsiteX13" fmla="*/ 560717 w 4537577"/>
                <a:gd name="connsiteY13" fmla="*/ 4031336 h 4074468"/>
                <a:gd name="connsiteX14" fmla="*/ 560717 w 4537577"/>
                <a:gd name="connsiteY14" fmla="*/ 2030008 h 4074468"/>
                <a:gd name="connsiteX15" fmla="*/ 0 w 4537577"/>
                <a:gd name="connsiteY15" fmla="*/ 2038634 h 4074468"/>
                <a:gd name="connsiteX0" fmla="*/ 0 w 4537577"/>
                <a:gd name="connsiteY0" fmla="*/ 2038634 h 4074468"/>
                <a:gd name="connsiteX1" fmla="*/ 2251494 w 4537577"/>
                <a:gd name="connsiteY1" fmla="*/ 11427 h 4074468"/>
                <a:gd name="connsiteX2" fmla="*/ 3390181 w 4537577"/>
                <a:gd name="connsiteY2" fmla="*/ 1175993 h 4074468"/>
                <a:gd name="connsiteX3" fmla="*/ 3390181 w 4537577"/>
                <a:gd name="connsiteY3" fmla="*/ 304725 h 4074468"/>
                <a:gd name="connsiteX4" fmla="*/ 3976777 w 4537577"/>
                <a:gd name="connsiteY4" fmla="*/ 304725 h 4074468"/>
                <a:gd name="connsiteX5" fmla="*/ 3950898 w 4537577"/>
                <a:gd name="connsiteY5" fmla="*/ 1477917 h 4074468"/>
                <a:gd name="connsiteX6" fmla="*/ 4537494 w 4537577"/>
                <a:gd name="connsiteY6" fmla="*/ 2021382 h 4074468"/>
                <a:gd name="connsiteX7" fmla="*/ 3994030 w 4537577"/>
                <a:gd name="connsiteY7" fmla="*/ 2055887 h 4074468"/>
                <a:gd name="connsiteX8" fmla="*/ 3994030 w 4537577"/>
                <a:gd name="connsiteY8" fmla="*/ 4074468 h 4074468"/>
                <a:gd name="connsiteX9" fmla="*/ 2838091 w 4537577"/>
                <a:gd name="connsiteY9" fmla="*/ 4065842 h 4074468"/>
                <a:gd name="connsiteX10" fmla="*/ 2820838 w 4537577"/>
                <a:gd name="connsiteY10" fmla="*/ 2030008 h 4074468"/>
                <a:gd name="connsiteX11" fmla="*/ 1716657 w 4537577"/>
                <a:gd name="connsiteY11" fmla="*/ 2030008 h 4074468"/>
                <a:gd name="connsiteX12" fmla="*/ 1690777 w 4537577"/>
                <a:gd name="connsiteY12" fmla="*/ 4065842 h 4074468"/>
                <a:gd name="connsiteX13" fmla="*/ 560717 w 4537577"/>
                <a:gd name="connsiteY13" fmla="*/ 4031336 h 4074468"/>
                <a:gd name="connsiteX14" fmla="*/ 560717 w 4537577"/>
                <a:gd name="connsiteY14" fmla="*/ 2030008 h 4074468"/>
                <a:gd name="connsiteX15" fmla="*/ 0 w 4537577"/>
                <a:gd name="connsiteY15" fmla="*/ 2038634 h 4074468"/>
                <a:gd name="connsiteX0" fmla="*/ 0 w 4537577"/>
                <a:gd name="connsiteY0" fmla="*/ 2038634 h 4065842"/>
                <a:gd name="connsiteX1" fmla="*/ 2251494 w 4537577"/>
                <a:gd name="connsiteY1" fmla="*/ 11427 h 4065842"/>
                <a:gd name="connsiteX2" fmla="*/ 3390181 w 4537577"/>
                <a:gd name="connsiteY2" fmla="*/ 1175993 h 4065842"/>
                <a:gd name="connsiteX3" fmla="*/ 3390181 w 4537577"/>
                <a:gd name="connsiteY3" fmla="*/ 304725 h 4065842"/>
                <a:gd name="connsiteX4" fmla="*/ 3976777 w 4537577"/>
                <a:gd name="connsiteY4" fmla="*/ 304725 h 4065842"/>
                <a:gd name="connsiteX5" fmla="*/ 3950898 w 4537577"/>
                <a:gd name="connsiteY5" fmla="*/ 1477917 h 4065842"/>
                <a:gd name="connsiteX6" fmla="*/ 4537494 w 4537577"/>
                <a:gd name="connsiteY6" fmla="*/ 2021382 h 4065842"/>
                <a:gd name="connsiteX7" fmla="*/ 3994030 w 4537577"/>
                <a:gd name="connsiteY7" fmla="*/ 2055887 h 4065842"/>
                <a:gd name="connsiteX8" fmla="*/ 3994030 w 4537577"/>
                <a:gd name="connsiteY8" fmla="*/ 4065841 h 4065842"/>
                <a:gd name="connsiteX9" fmla="*/ 2838091 w 4537577"/>
                <a:gd name="connsiteY9" fmla="*/ 4065842 h 4065842"/>
                <a:gd name="connsiteX10" fmla="*/ 2820838 w 4537577"/>
                <a:gd name="connsiteY10" fmla="*/ 2030008 h 4065842"/>
                <a:gd name="connsiteX11" fmla="*/ 1716657 w 4537577"/>
                <a:gd name="connsiteY11" fmla="*/ 2030008 h 4065842"/>
                <a:gd name="connsiteX12" fmla="*/ 1690777 w 4537577"/>
                <a:gd name="connsiteY12" fmla="*/ 4065842 h 4065842"/>
                <a:gd name="connsiteX13" fmla="*/ 560717 w 4537577"/>
                <a:gd name="connsiteY13" fmla="*/ 4031336 h 4065842"/>
                <a:gd name="connsiteX14" fmla="*/ 560717 w 4537577"/>
                <a:gd name="connsiteY14" fmla="*/ 2030008 h 4065842"/>
                <a:gd name="connsiteX15" fmla="*/ 0 w 4537577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55887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47260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72281"/>
                <a:gd name="connsiteY0" fmla="*/ 2038634 h 4065842"/>
                <a:gd name="connsiteX1" fmla="*/ 2251494 w 4572281"/>
                <a:gd name="connsiteY1" fmla="*/ 11427 h 4065842"/>
                <a:gd name="connsiteX2" fmla="*/ 3390181 w 4572281"/>
                <a:gd name="connsiteY2" fmla="*/ 1175993 h 4065842"/>
                <a:gd name="connsiteX3" fmla="*/ 3390181 w 4572281"/>
                <a:gd name="connsiteY3" fmla="*/ 304725 h 4065842"/>
                <a:gd name="connsiteX4" fmla="*/ 3976777 w 4572281"/>
                <a:gd name="connsiteY4" fmla="*/ 304725 h 4065842"/>
                <a:gd name="connsiteX5" fmla="*/ 3950898 w 4572281"/>
                <a:gd name="connsiteY5" fmla="*/ 1477917 h 4065842"/>
                <a:gd name="connsiteX6" fmla="*/ 4537494 w 4572281"/>
                <a:gd name="connsiteY6" fmla="*/ 2021382 h 4065842"/>
                <a:gd name="connsiteX7" fmla="*/ 3994030 w 4572281"/>
                <a:gd name="connsiteY7" fmla="*/ 2047260 h 4065842"/>
                <a:gd name="connsiteX8" fmla="*/ 3994030 w 4572281"/>
                <a:gd name="connsiteY8" fmla="*/ 4065841 h 4065842"/>
                <a:gd name="connsiteX9" fmla="*/ 2838091 w 4572281"/>
                <a:gd name="connsiteY9" fmla="*/ 4065842 h 4065842"/>
                <a:gd name="connsiteX10" fmla="*/ 2820838 w 4572281"/>
                <a:gd name="connsiteY10" fmla="*/ 2030008 h 4065842"/>
                <a:gd name="connsiteX11" fmla="*/ 1716657 w 4572281"/>
                <a:gd name="connsiteY11" fmla="*/ 2030008 h 4065842"/>
                <a:gd name="connsiteX12" fmla="*/ 1690777 w 4572281"/>
                <a:gd name="connsiteY12" fmla="*/ 4065842 h 4065842"/>
                <a:gd name="connsiteX13" fmla="*/ 560717 w 4572281"/>
                <a:gd name="connsiteY13" fmla="*/ 4031336 h 4065842"/>
                <a:gd name="connsiteX14" fmla="*/ 560717 w 4572281"/>
                <a:gd name="connsiteY14" fmla="*/ 2030008 h 4065842"/>
                <a:gd name="connsiteX15" fmla="*/ 0 w 4572281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38634 h 4065842"/>
                <a:gd name="connsiteX1" fmla="*/ 2251494 w 4537494"/>
                <a:gd name="connsiteY1" fmla="*/ 11427 h 4065842"/>
                <a:gd name="connsiteX2" fmla="*/ 3390181 w 4537494"/>
                <a:gd name="connsiteY2" fmla="*/ 1175993 h 4065842"/>
                <a:gd name="connsiteX3" fmla="*/ 3390181 w 4537494"/>
                <a:gd name="connsiteY3" fmla="*/ 304725 h 4065842"/>
                <a:gd name="connsiteX4" fmla="*/ 3976777 w 4537494"/>
                <a:gd name="connsiteY4" fmla="*/ 304725 h 4065842"/>
                <a:gd name="connsiteX5" fmla="*/ 3950898 w 4537494"/>
                <a:gd name="connsiteY5" fmla="*/ 1477917 h 4065842"/>
                <a:gd name="connsiteX6" fmla="*/ 4537494 w 4537494"/>
                <a:gd name="connsiteY6" fmla="*/ 2021382 h 4065842"/>
                <a:gd name="connsiteX7" fmla="*/ 3994030 w 4537494"/>
                <a:gd name="connsiteY7" fmla="*/ 2047260 h 4065842"/>
                <a:gd name="connsiteX8" fmla="*/ 3994030 w 4537494"/>
                <a:gd name="connsiteY8" fmla="*/ 4065841 h 4065842"/>
                <a:gd name="connsiteX9" fmla="*/ 2838091 w 4537494"/>
                <a:gd name="connsiteY9" fmla="*/ 4065842 h 4065842"/>
                <a:gd name="connsiteX10" fmla="*/ 2820838 w 4537494"/>
                <a:gd name="connsiteY10" fmla="*/ 2030008 h 4065842"/>
                <a:gd name="connsiteX11" fmla="*/ 1716657 w 4537494"/>
                <a:gd name="connsiteY11" fmla="*/ 2030008 h 4065842"/>
                <a:gd name="connsiteX12" fmla="*/ 1690777 w 4537494"/>
                <a:gd name="connsiteY12" fmla="*/ 4065842 h 4065842"/>
                <a:gd name="connsiteX13" fmla="*/ 560717 w 4537494"/>
                <a:gd name="connsiteY13" fmla="*/ 4031336 h 4065842"/>
                <a:gd name="connsiteX14" fmla="*/ 560717 w 4537494"/>
                <a:gd name="connsiteY14" fmla="*/ 2030008 h 4065842"/>
                <a:gd name="connsiteX15" fmla="*/ 0 w 4537494"/>
                <a:gd name="connsiteY15" fmla="*/ 2038634 h 4065842"/>
                <a:gd name="connsiteX0" fmla="*/ 0 w 4537494"/>
                <a:gd name="connsiteY0" fmla="*/ 2078099 h 4105307"/>
                <a:gd name="connsiteX1" fmla="*/ 2251494 w 4537494"/>
                <a:gd name="connsiteY1" fmla="*/ 50892 h 4105307"/>
                <a:gd name="connsiteX2" fmla="*/ 3390181 w 4537494"/>
                <a:gd name="connsiteY2" fmla="*/ 1215458 h 4105307"/>
                <a:gd name="connsiteX3" fmla="*/ 3390181 w 4537494"/>
                <a:gd name="connsiteY3" fmla="*/ 344190 h 4105307"/>
                <a:gd name="connsiteX4" fmla="*/ 3976777 w 4537494"/>
                <a:gd name="connsiteY4" fmla="*/ 344190 h 4105307"/>
                <a:gd name="connsiteX5" fmla="*/ 3950898 w 4537494"/>
                <a:gd name="connsiteY5" fmla="*/ 1517382 h 4105307"/>
                <a:gd name="connsiteX6" fmla="*/ 4537494 w 4537494"/>
                <a:gd name="connsiteY6" fmla="*/ 2060847 h 4105307"/>
                <a:gd name="connsiteX7" fmla="*/ 3994030 w 4537494"/>
                <a:gd name="connsiteY7" fmla="*/ 2086725 h 4105307"/>
                <a:gd name="connsiteX8" fmla="*/ 3994030 w 4537494"/>
                <a:gd name="connsiteY8" fmla="*/ 4105306 h 4105307"/>
                <a:gd name="connsiteX9" fmla="*/ 2838091 w 4537494"/>
                <a:gd name="connsiteY9" fmla="*/ 4105307 h 4105307"/>
                <a:gd name="connsiteX10" fmla="*/ 2820838 w 4537494"/>
                <a:gd name="connsiteY10" fmla="*/ 2069473 h 4105307"/>
                <a:gd name="connsiteX11" fmla="*/ 1716657 w 4537494"/>
                <a:gd name="connsiteY11" fmla="*/ 2069473 h 4105307"/>
                <a:gd name="connsiteX12" fmla="*/ 1690777 w 4537494"/>
                <a:gd name="connsiteY12" fmla="*/ 4105307 h 4105307"/>
                <a:gd name="connsiteX13" fmla="*/ 560717 w 4537494"/>
                <a:gd name="connsiteY13" fmla="*/ 4070801 h 4105307"/>
                <a:gd name="connsiteX14" fmla="*/ 560717 w 4537494"/>
                <a:gd name="connsiteY14" fmla="*/ 2069473 h 4105307"/>
                <a:gd name="connsiteX15" fmla="*/ 0 w 4537494"/>
                <a:gd name="connsiteY15" fmla="*/ 2078099 h 4105307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64566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50898 w 4537494"/>
                <a:gd name="connsiteY5" fmla="*/ 1466490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  <a:gd name="connsiteX0" fmla="*/ 0 w 4537494"/>
                <a:gd name="connsiteY0" fmla="*/ 2027207 h 4054415"/>
                <a:gd name="connsiteX1" fmla="*/ 2251494 w 4537494"/>
                <a:gd name="connsiteY1" fmla="*/ 0 h 4054415"/>
                <a:gd name="connsiteX2" fmla="*/ 3390181 w 4537494"/>
                <a:gd name="connsiteY2" fmla="*/ 1112807 h 4054415"/>
                <a:gd name="connsiteX3" fmla="*/ 3390181 w 4537494"/>
                <a:gd name="connsiteY3" fmla="*/ 293298 h 4054415"/>
                <a:gd name="connsiteX4" fmla="*/ 3976777 w 4537494"/>
                <a:gd name="connsiteY4" fmla="*/ 293298 h 4054415"/>
                <a:gd name="connsiteX5" fmla="*/ 3976778 w 4537494"/>
                <a:gd name="connsiteY5" fmla="*/ 1500996 h 4054415"/>
                <a:gd name="connsiteX6" fmla="*/ 4537494 w 4537494"/>
                <a:gd name="connsiteY6" fmla="*/ 2009955 h 4054415"/>
                <a:gd name="connsiteX7" fmla="*/ 3994030 w 4537494"/>
                <a:gd name="connsiteY7" fmla="*/ 2035833 h 4054415"/>
                <a:gd name="connsiteX8" fmla="*/ 3994030 w 4537494"/>
                <a:gd name="connsiteY8" fmla="*/ 4054414 h 4054415"/>
                <a:gd name="connsiteX9" fmla="*/ 2838091 w 4537494"/>
                <a:gd name="connsiteY9" fmla="*/ 4054415 h 4054415"/>
                <a:gd name="connsiteX10" fmla="*/ 2820838 w 4537494"/>
                <a:gd name="connsiteY10" fmla="*/ 2018581 h 4054415"/>
                <a:gd name="connsiteX11" fmla="*/ 1716657 w 4537494"/>
                <a:gd name="connsiteY11" fmla="*/ 2018581 h 4054415"/>
                <a:gd name="connsiteX12" fmla="*/ 1690777 w 4537494"/>
                <a:gd name="connsiteY12" fmla="*/ 4054415 h 4054415"/>
                <a:gd name="connsiteX13" fmla="*/ 560717 w 4537494"/>
                <a:gd name="connsiteY13" fmla="*/ 4019909 h 4054415"/>
                <a:gd name="connsiteX14" fmla="*/ 560717 w 4537494"/>
                <a:gd name="connsiteY14" fmla="*/ 2018581 h 4054415"/>
                <a:gd name="connsiteX15" fmla="*/ 0 w 4537494"/>
                <a:gd name="connsiteY15" fmla="*/ 2027207 h 405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37494" h="4054415">
                  <a:moveTo>
                    <a:pt x="0" y="2027207"/>
                  </a:moveTo>
                  <a:cubicBezTo>
                    <a:pt x="2281687" y="-41695"/>
                    <a:pt x="-73325" y="2084717"/>
                    <a:pt x="2251494" y="0"/>
                  </a:cubicBezTo>
                  <a:cubicBezTo>
                    <a:pt x="3472131" y="1193321"/>
                    <a:pt x="2173856" y="-83389"/>
                    <a:pt x="3390181" y="1112807"/>
                  </a:cubicBezTo>
                  <a:cubicBezTo>
                    <a:pt x="3390181" y="48882"/>
                    <a:pt x="3387306" y="1378788"/>
                    <a:pt x="3390181" y="293298"/>
                  </a:cubicBezTo>
                  <a:cubicBezTo>
                    <a:pt x="4333335" y="311989"/>
                    <a:pt x="3305354" y="270295"/>
                    <a:pt x="3976777" y="293298"/>
                  </a:cubicBezTo>
                  <a:cubicBezTo>
                    <a:pt x="3958086" y="1653396"/>
                    <a:pt x="3969590" y="257354"/>
                    <a:pt x="3976778" y="1500996"/>
                  </a:cubicBezTo>
                  <a:cubicBezTo>
                    <a:pt x="4751718" y="2209799"/>
                    <a:pt x="3917830" y="1449238"/>
                    <a:pt x="4537494" y="2009955"/>
                  </a:cubicBezTo>
                  <a:cubicBezTo>
                    <a:pt x="3820065" y="2027208"/>
                    <a:pt x="4766094" y="2022893"/>
                    <a:pt x="3994030" y="2035833"/>
                  </a:cubicBezTo>
                  <a:cubicBezTo>
                    <a:pt x="3989717" y="4222629"/>
                    <a:pt x="3971026" y="1959634"/>
                    <a:pt x="3994030" y="4054414"/>
                  </a:cubicBezTo>
                  <a:cubicBezTo>
                    <a:pt x="2792084" y="4044349"/>
                    <a:pt x="4221194" y="4028536"/>
                    <a:pt x="2838091" y="4054415"/>
                  </a:cubicBezTo>
                  <a:cubicBezTo>
                    <a:pt x="2826588" y="1958196"/>
                    <a:pt x="2835216" y="4247072"/>
                    <a:pt x="2820838" y="2018581"/>
                  </a:cubicBezTo>
                  <a:cubicBezTo>
                    <a:pt x="1572882" y="2015705"/>
                    <a:pt x="2957423" y="2015705"/>
                    <a:pt x="1716657" y="2018581"/>
                  </a:cubicBezTo>
                  <a:cubicBezTo>
                    <a:pt x="1692216" y="4298831"/>
                    <a:pt x="1719532" y="2012830"/>
                    <a:pt x="1690777" y="4054415"/>
                  </a:cubicBezTo>
                  <a:cubicBezTo>
                    <a:pt x="462950" y="4017034"/>
                    <a:pt x="1843177" y="4032848"/>
                    <a:pt x="560717" y="4019909"/>
                  </a:cubicBezTo>
                  <a:cubicBezTo>
                    <a:pt x="563592" y="1953883"/>
                    <a:pt x="543465" y="4153619"/>
                    <a:pt x="560717" y="2018581"/>
                  </a:cubicBezTo>
                  <a:cubicBezTo>
                    <a:pt x="25879" y="2022894"/>
                    <a:pt x="737558" y="1999890"/>
                    <a:pt x="0" y="202720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0351301" y="43580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218799" y="940634"/>
            <a:ext cx="850856" cy="792000"/>
            <a:chOff x="7877985" y="1841308"/>
            <a:chExt cx="850856" cy="792000"/>
          </a:xfrm>
        </p:grpSpPr>
        <p:pic>
          <p:nvPicPr>
            <p:cNvPr id="35" name="Picture 3" descr="\\MAGNUM\Projects\Microsoft\Cloud Power FY12\Design\Icons\PNGs\Storefront.png"/>
            <p:cNvPicPr>
              <a:picLocks noChangeAspect="1" noChangeArrowheads="1"/>
            </p:cNvPicPr>
            <p:nvPr/>
          </p:nvPicPr>
          <p:blipFill rotWithShape="1">
            <a:blip r:embed="rId20" cstate="print">
              <a:lum bright="100000"/>
            </a:blip>
            <a:srcRect l="6224" t="15790" r="3813" b="19871"/>
            <a:stretch/>
          </p:blipFill>
          <p:spPr bwMode="auto">
            <a:xfrm>
              <a:off x="7877985" y="1933008"/>
              <a:ext cx="850856" cy="608600"/>
            </a:xfrm>
            <a:prstGeom prst="rect">
              <a:avLst/>
            </a:prstGeom>
            <a:noFill/>
          </p:spPr>
        </p:pic>
        <p:sp>
          <p:nvSpPr>
            <p:cNvPr id="42" name="Rectangle 41"/>
            <p:cNvSpPr/>
            <p:nvPr/>
          </p:nvSpPr>
          <p:spPr>
            <a:xfrm>
              <a:off x="7907413" y="184130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142113" y="1753760"/>
            <a:ext cx="792000" cy="792000"/>
            <a:chOff x="4673186" y="-1386126"/>
            <a:chExt cx="792000" cy="792000"/>
          </a:xfrm>
        </p:grpSpPr>
        <p:sp>
          <p:nvSpPr>
            <p:cNvPr id="44" name="Freeform 119"/>
            <p:cNvSpPr>
              <a:spLocks noChangeAspect="1" noEditPoints="1"/>
            </p:cNvSpPr>
            <p:nvPr/>
          </p:nvSpPr>
          <p:spPr bwMode="auto">
            <a:xfrm>
              <a:off x="4704967" y="-1330799"/>
              <a:ext cx="728438" cy="681346"/>
            </a:xfrm>
            <a:custGeom>
              <a:avLst/>
              <a:gdLst>
                <a:gd name="T0" fmla="*/ 1438 w 2955"/>
                <a:gd name="T1" fmla="*/ 1625 h 2764"/>
                <a:gd name="T2" fmla="*/ 0 w 2955"/>
                <a:gd name="T3" fmla="*/ 1779 h 2764"/>
                <a:gd name="T4" fmla="*/ 845 w 2955"/>
                <a:gd name="T5" fmla="*/ 1531 h 2764"/>
                <a:gd name="T6" fmla="*/ 1438 w 2955"/>
                <a:gd name="T7" fmla="*/ 2764 h 2764"/>
                <a:gd name="T8" fmla="*/ 2955 w 2955"/>
                <a:gd name="T9" fmla="*/ 0 h 2764"/>
                <a:gd name="T10" fmla="*/ 1977 w 2955"/>
                <a:gd name="T11" fmla="*/ 2339 h 2764"/>
                <a:gd name="T12" fmla="*/ 1764 w 2955"/>
                <a:gd name="T13" fmla="*/ 2126 h 2764"/>
                <a:gd name="T14" fmla="*/ 1977 w 2955"/>
                <a:gd name="T15" fmla="*/ 2339 h 2764"/>
                <a:gd name="T16" fmla="*/ 1764 w 2955"/>
                <a:gd name="T17" fmla="*/ 1913 h 2764"/>
                <a:gd name="T18" fmla="*/ 1977 w 2955"/>
                <a:gd name="T19" fmla="*/ 1701 h 2764"/>
                <a:gd name="T20" fmla="*/ 1977 w 2955"/>
                <a:gd name="T21" fmla="*/ 1488 h 2764"/>
                <a:gd name="T22" fmla="*/ 1764 w 2955"/>
                <a:gd name="T23" fmla="*/ 1276 h 2764"/>
                <a:gd name="T24" fmla="*/ 1977 w 2955"/>
                <a:gd name="T25" fmla="*/ 1488 h 2764"/>
                <a:gd name="T26" fmla="*/ 1764 w 2955"/>
                <a:gd name="T27" fmla="*/ 1063 h 2764"/>
                <a:gd name="T28" fmla="*/ 1977 w 2955"/>
                <a:gd name="T29" fmla="*/ 850 h 2764"/>
                <a:gd name="T30" fmla="*/ 1977 w 2955"/>
                <a:gd name="T31" fmla="*/ 638 h 2764"/>
                <a:gd name="T32" fmla="*/ 1764 w 2955"/>
                <a:gd name="T33" fmla="*/ 425 h 2764"/>
                <a:gd name="T34" fmla="*/ 1977 w 2955"/>
                <a:gd name="T35" fmla="*/ 638 h 2764"/>
                <a:gd name="T36" fmla="*/ 2090 w 2955"/>
                <a:gd name="T37" fmla="*/ 2339 h 2764"/>
                <a:gd name="T38" fmla="*/ 2303 w 2955"/>
                <a:gd name="T39" fmla="*/ 2126 h 2764"/>
                <a:gd name="T40" fmla="*/ 2303 w 2955"/>
                <a:gd name="T41" fmla="*/ 1913 h 2764"/>
                <a:gd name="T42" fmla="*/ 2090 w 2955"/>
                <a:gd name="T43" fmla="*/ 1701 h 2764"/>
                <a:gd name="T44" fmla="*/ 2303 w 2955"/>
                <a:gd name="T45" fmla="*/ 1913 h 2764"/>
                <a:gd name="T46" fmla="*/ 2090 w 2955"/>
                <a:gd name="T47" fmla="*/ 1488 h 2764"/>
                <a:gd name="T48" fmla="*/ 2303 w 2955"/>
                <a:gd name="T49" fmla="*/ 1276 h 2764"/>
                <a:gd name="T50" fmla="*/ 2303 w 2955"/>
                <a:gd name="T51" fmla="*/ 1063 h 2764"/>
                <a:gd name="T52" fmla="*/ 2090 w 2955"/>
                <a:gd name="T53" fmla="*/ 850 h 2764"/>
                <a:gd name="T54" fmla="*/ 2303 w 2955"/>
                <a:gd name="T55" fmla="*/ 1063 h 2764"/>
                <a:gd name="T56" fmla="*/ 2090 w 2955"/>
                <a:gd name="T57" fmla="*/ 638 h 2764"/>
                <a:gd name="T58" fmla="*/ 2303 w 2955"/>
                <a:gd name="T59" fmla="*/ 425 h 2764"/>
                <a:gd name="T60" fmla="*/ 2629 w 2955"/>
                <a:gd name="T61" fmla="*/ 2339 h 2764"/>
                <a:gd name="T62" fmla="*/ 2416 w 2955"/>
                <a:gd name="T63" fmla="*/ 2126 h 2764"/>
                <a:gd name="T64" fmla="*/ 2629 w 2955"/>
                <a:gd name="T65" fmla="*/ 2339 h 2764"/>
                <a:gd name="T66" fmla="*/ 2416 w 2955"/>
                <a:gd name="T67" fmla="*/ 1913 h 2764"/>
                <a:gd name="T68" fmla="*/ 2629 w 2955"/>
                <a:gd name="T69" fmla="*/ 1701 h 2764"/>
                <a:gd name="T70" fmla="*/ 2629 w 2955"/>
                <a:gd name="T71" fmla="*/ 1488 h 2764"/>
                <a:gd name="T72" fmla="*/ 2416 w 2955"/>
                <a:gd name="T73" fmla="*/ 1276 h 2764"/>
                <a:gd name="T74" fmla="*/ 2629 w 2955"/>
                <a:gd name="T75" fmla="*/ 1488 h 2764"/>
                <a:gd name="T76" fmla="*/ 2416 w 2955"/>
                <a:gd name="T77" fmla="*/ 1063 h 2764"/>
                <a:gd name="T78" fmla="*/ 2629 w 2955"/>
                <a:gd name="T79" fmla="*/ 850 h 2764"/>
                <a:gd name="T80" fmla="*/ 2629 w 2955"/>
                <a:gd name="T81" fmla="*/ 638 h 2764"/>
                <a:gd name="T82" fmla="*/ 2416 w 2955"/>
                <a:gd name="T83" fmla="*/ 425 h 2764"/>
                <a:gd name="T84" fmla="*/ 2629 w 2955"/>
                <a:gd name="T85" fmla="*/ 638 h 2764"/>
                <a:gd name="T86" fmla="*/ 1370 w 2955"/>
                <a:gd name="T87" fmla="*/ 1921 h 2764"/>
                <a:gd name="T88" fmla="*/ 1003 w 2955"/>
                <a:gd name="T89" fmla="*/ 2764 h 2764"/>
                <a:gd name="T90" fmla="*/ 685 w 2955"/>
                <a:gd name="T91" fmla="*/ 2183 h 2764"/>
                <a:gd name="T92" fmla="*/ 318 w 2955"/>
                <a:gd name="T93" fmla="*/ 2764 h 2764"/>
                <a:gd name="T94" fmla="*/ 845 w 2955"/>
                <a:gd name="T95" fmla="*/ 1602 h 2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55" h="2764">
                  <a:moveTo>
                    <a:pt x="1438" y="0"/>
                  </a:moveTo>
                  <a:lnTo>
                    <a:pt x="1438" y="1625"/>
                  </a:lnTo>
                  <a:lnTo>
                    <a:pt x="845" y="1266"/>
                  </a:lnTo>
                  <a:lnTo>
                    <a:pt x="0" y="1779"/>
                  </a:lnTo>
                  <a:lnTo>
                    <a:pt x="134" y="1961"/>
                  </a:lnTo>
                  <a:lnTo>
                    <a:pt x="845" y="1531"/>
                  </a:lnTo>
                  <a:lnTo>
                    <a:pt x="1438" y="1890"/>
                  </a:lnTo>
                  <a:lnTo>
                    <a:pt x="1438" y="2764"/>
                  </a:lnTo>
                  <a:lnTo>
                    <a:pt x="2955" y="2764"/>
                  </a:lnTo>
                  <a:lnTo>
                    <a:pt x="2955" y="0"/>
                  </a:lnTo>
                  <a:lnTo>
                    <a:pt x="1438" y="0"/>
                  </a:lnTo>
                  <a:close/>
                  <a:moveTo>
                    <a:pt x="1977" y="2339"/>
                  </a:moveTo>
                  <a:lnTo>
                    <a:pt x="1764" y="2339"/>
                  </a:lnTo>
                  <a:lnTo>
                    <a:pt x="1764" y="2126"/>
                  </a:lnTo>
                  <a:lnTo>
                    <a:pt x="1977" y="2126"/>
                  </a:lnTo>
                  <a:lnTo>
                    <a:pt x="1977" y="2339"/>
                  </a:lnTo>
                  <a:close/>
                  <a:moveTo>
                    <a:pt x="1977" y="1913"/>
                  </a:moveTo>
                  <a:lnTo>
                    <a:pt x="1764" y="1913"/>
                  </a:lnTo>
                  <a:lnTo>
                    <a:pt x="1764" y="1701"/>
                  </a:lnTo>
                  <a:lnTo>
                    <a:pt x="1977" y="1701"/>
                  </a:lnTo>
                  <a:lnTo>
                    <a:pt x="1977" y="1913"/>
                  </a:lnTo>
                  <a:close/>
                  <a:moveTo>
                    <a:pt x="1977" y="1488"/>
                  </a:moveTo>
                  <a:lnTo>
                    <a:pt x="1764" y="1488"/>
                  </a:lnTo>
                  <a:lnTo>
                    <a:pt x="1764" y="1276"/>
                  </a:lnTo>
                  <a:lnTo>
                    <a:pt x="1977" y="1276"/>
                  </a:lnTo>
                  <a:lnTo>
                    <a:pt x="1977" y="1488"/>
                  </a:lnTo>
                  <a:close/>
                  <a:moveTo>
                    <a:pt x="1977" y="1063"/>
                  </a:moveTo>
                  <a:lnTo>
                    <a:pt x="1764" y="1063"/>
                  </a:lnTo>
                  <a:lnTo>
                    <a:pt x="1764" y="850"/>
                  </a:lnTo>
                  <a:lnTo>
                    <a:pt x="1977" y="850"/>
                  </a:lnTo>
                  <a:lnTo>
                    <a:pt x="1977" y="1063"/>
                  </a:lnTo>
                  <a:close/>
                  <a:moveTo>
                    <a:pt x="1977" y="638"/>
                  </a:moveTo>
                  <a:lnTo>
                    <a:pt x="1764" y="638"/>
                  </a:lnTo>
                  <a:lnTo>
                    <a:pt x="1764" y="425"/>
                  </a:lnTo>
                  <a:lnTo>
                    <a:pt x="1977" y="425"/>
                  </a:lnTo>
                  <a:lnTo>
                    <a:pt x="1977" y="638"/>
                  </a:lnTo>
                  <a:close/>
                  <a:moveTo>
                    <a:pt x="2303" y="2339"/>
                  </a:moveTo>
                  <a:lnTo>
                    <a:pt x="2090" y="2339"/>
                  </a:lnTo>
                  <a:lnTo>
                    <a:pt x="2090" y="2126"/>
                  </a:lnTo>
                  <a:lnTo>
                    <a:pt x="2303" y="2126"/>
                  </a:lnTo>
                  <a:lnTo>
                    <a:pt x="2303" y="2339"/>
                  </a:lnTo>
                  <a:close/>
                  <a:moveTo>
                    <a:pt x="2303" y="1913"/>
                  </a:moveTo>
                  <a:lnTo>
                    <a:pt x="2090" y="1913"/>
                  </a:lnTo>
                  <a:lnTo>
                    <a:pt x="2090" y="1701"/>
                  </a:lnTo>
                  <a:lnTo>
                    <a:pt x="2303" y="1701"/>
                  </a:lnTo>
                  <a:lnTo>
                    <a:pt x="2303" y="1913"/>
                  </a:lnTo>
                  <a:close/>
                  <a:moveTo>
                    <a:pt x="2303" y="1488"/>
                  </a:moveTo>
                  <a:lnTo>
                    <a:pt x="2090" y="1488"/>
                  </a:lnTo>
                  <a:lnTo>
                    <a:pt x="2090" y="1276"/>
                  </a:lnTo>
                  <a:lnTo>
                    <a:pt x="2303" y="1276"/>
                  </a:lnTo>
                  <a:lnTo>
                    <a:pt x="2303" y="1488"/>
                  </a:lnTo>
                  <a:close/>
                  <a:moveTo>
                    <a:pt x="2303" y="1063"/>
                  </a:moveTo>
                  <a:lnTo>
                    <a:pt x="2090" y="1063"/>
                  </a:lnTo>
                  <a:lnTo>
                    <a:pt x="2090" y="850"/>
                  </a:lnTo>
                  <a:lnTo>
                    <a:pt x="2303" y="850"/>
                  </a:lnTo>
                  <a:lnTo>
                    <a:pt x="2303" y="1063"/>
                  </a:lnTo>
                  <a:close/>
                  <a:moveTo>
                    <a:pt x="2303" y="638"/>
                  </a:moveTo>
                  <a:lnTo>
                    <a:pt x="2090" y="638"/>
                  </a:lnTo>
                  <a:lnTo>
                    <a:pt x="2090" y="425"/>
                  </a:lnTo>
                  <a:lnTo>
                    <a:pt x="2303" y="425"/>
                  </a:lnTo>
                  <a:lnTo>
                    <a:pt x="2303" y="638"/>
                  </a:lnTo>
                  <a:close/>
                  <a:moveTo>
                    <a:pt x="2629" y="2339"/>
                  </a:moveTo>
                  <a:lnTo>
                    <a:pt x="2416" y="2339"/>
                  </a:lnTo>
                  <a:lnTo>
                    <a:pt x="2416" y="2126"/>
                  </a:lnTo>
                  <a:lnTo>
                    <a:pt x="2629" y="2126"/>
                  </a:lnTo>
                  <a:lnTo>
                    <a:pt x="2629" y="2339"/>
                  </a:lnTo>
                  <a:close/>
                  <a:moveTo>
                    <a:pt x="2629" y="1913"/>
                  </a:moveTo>
                  <a:lnTo>
                    <a:pt x="2416" y="1913"/>
                  </a:lnTo>
                  <a:lnTo>
                    <a:pt x="2416" y="1701"/>
                  </a:lnTo>
                  <a:lnTo>
                    <a:pt x="2629" y="1701"/>
                  </a:lnTo>
                  <a:lnTo>
                    <a:pt x="2629" y="1913"/>
                  </a:lnTo>
                  <a:close/>
                  <a:moveTo>
                    <a:pt x="2629" y="1488"/>
                  </a:moveTo>
                  <a:lnTo>
                    <a:pt x="2416" y="1488"/>
                  </a:lnTo>
                  <a:lnTo>
                    <a:pt x="2416" y="1276"/>
                  </a:lnTo>
                  <a:lnTo>
                    <a:pt x="2629" y="1276"/>
                  </a:lnTo>
                  <a:lnTo>
                    <a:pt x="2629" y="1488"/>
                  </a:lnTo>
                  <a:close/>
                  <a:moveTo>
                    <a:pt x="2629" y="1063"/>
                  </a:moveTo>
                  <a:lnTo>
                    <a:pt x="2416" y="1063"/>
                  </a:lnTo>
                  <a:lnTo>
                    <a:pt x="2416" y="850"/>
                  </a:lnTo>
                  <a:lnTo>
                    <a:pt x="2629" y="850"/>
                  </a:lnTo>
                  <a:lnTo>
                    <a:pt x="2629" y="1063"/>
                  </a:lnTo>
                  <a:close/>
                  <a:moveTo>
                    <a:pt x="2629" y="638"/>
                  </a:moveTo>
                  <a:lnTo>
                    <a:pt x="2416" y="638"/>
                  </a:lnTo>
                  <a:lnTo>
                    <a:pt x="2416" y="425"/>
                  </a:lnTo>
                  <a:lnTo>
                    <a:pt x="2629" y="425"/>
                  </a:lnTo>
                  <a:lnTo>
                    <a:pt x="2629" y="638"/>
                  </a:lnTo>
                  <a:close/>
                  <a:moveTo>
                    <a:pt x="845" y="1602"/>
                  </a:moveTo>
                  <a:lnTo>
                    <a:pt x="1370" y="1921"/>
                  </a:lnTo>
                  <a:lnTo>
                    <a:pt x="1370" y="2764"/>
                  </a:lnTo>
                  <a:lnTo>
                    <a:pt x="1003" y="2764"/>
                  </a:lnTo>
                  <a:lnTo>
                    <a:pt x="1003" y="2183"/>
                  </a:lnTo>
                  <a:lnTo>
                    <a:pt x="685" y="2183"/>
                  </a:lnTo>
                  <a:lnTo>
                    <a:pt x="685" y="2764"/>
                  </a:lnTo>
                  <a:lnTo>
                    <a:pt x="318" y="2764"/>
                  </a:lnTo>
                  <a:lnTo>
                    <a:pt x="318" y="1921"/>
                  </a:lnTo>
                  <a:lnTo>
                    <a:pt x="845" y="16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68" tIns="143256" rIns="179068" bIns="14325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299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673186" y="-138612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7238183" y="1479103"/>
            <a:ext cx="792000" cy="792000"/>
            <a:chOff x="1918376" y="-1309538"/>
            <a:chExt cx="792000" cy="792000"/>
          </a:xfrm>
        </p:grpSpPr>
        <p:sp>
          <p:nvSpPr>
            <p:cNvPr id="47" name="Rectangle 73"/>
            <p:cNvSpPr/>
            <p:nvPr/>
          </p:nvSpPr>
          <p:spPr bwMode="auto">
            <a:xfrm rot="5400000">
              <a:off x="2117502" y="-1263931"/>
              <a:ext cx="393748" cy="700786"/>
            </a:xfrm>
            <a:custGeom>
              <a:avLst/>
              <a:gdLst/>
              <a:ahLst/>
              <a:cxnLst/>
              <a:rect l="l" t="t" r="r" b="b"/>
              <a:pathLst>
                <a:path w="1906013" h="2081213">
                  <a:moveTo>
                    <a:pt x="1447225" y="473849"/>
                  </a:moveTo>
                  <a:lnTo>
                    <a:pt x="1906012" y="473849"/>
                  </a:lnTo>
                  <a:lnTo>
                    <a:pt x="1906012" y="225142"/>
                  </a:lnTo>
                  <a:lnTo>
                    <a:pt x="1447225" y="225142"/>
                  </a:lnTo>
                  <a:close/>
                  <a:moveTo>
                    <a:pt x="1256359" y="1719312"/>
                  </a:moveTo>
                  <a:lnTo>
                    <a:pt x="1375231" y="1719312"/>
                  </a:lnTo>
                  <a:lnTo>
                    <a:pt x="1375231" y="1534257"/>
                  </a:lnTo>
                  <a:lnTo>
                    <a:pt x="1256359" y="1534257"/>
                  </a:lnTo>
                  <a:close/>
                  <a:moveTo>
                    <a:pt x="1256359" y="1956654"/>
                  </a:moveTo>
                  <a:lnTo>
                    <a:pt x="1375231" y="1956654"/>
                  </a:lnTo>
                  <a:lnTo>
                    <a:pt x="1375231" y="1771599"/>
                  </a:lnTo>
                  <a:lnTo>
                    <a:pt x="1256359" y="1771599"/>
                  </a:lnTo>
                  <a:close/>
                  <a:moveTo>
                    <a:pt x="1250439" y="315966"/>
                  </a:moveTo>
                  <a:lnTo>
                    <a:pt x="1369311" y="315966"/>
                  </a:lnTo>
                  <a:lnTo>
                    <a:pt x="1369311" y="130911"/>
                  </a:lnTo>
                  <a:lnTo>
                    <a:pt x="1250439" y="130911"/>
                  </a:lnTo>
                  <a:close/>
                  <a:moveTo>
                    <a:pt x="1250439" y="553308"/>
                  </a:moveTo>
                  <a:lnTo>
                    <a:pt x="1369311" y="553308"/>
                  </a:lnTo>
                  <a:lnTo>
                    <a:pt x="1369311" y="368253"/>
                  </a:lnTo>
                  <a:lnTo>
                    <a:pt x="1250439" y="368253"/>
                  </a:lnTo>
                  <a:close/>
                  <a:moveTo>
                    <a:pt x="1242568" y="1014462"/>
                  </a:moveTo>
                  <a:lnTo>
                    <a:pt x="1361440" y="1014462"/>
                  </a:lnTo>
                  <a:lnTo>
                    <a:pt x="1361440" y="829407"/>
                  </a:lnTo>
                  <a:lnTo>
                    <a:pt x="1242568" y="829407"/>
                  </a:lnTo>
                  <a:close/>
                  <a:moveTo>
                    <a:pt x="1242568" y="1251804"/>
                  </a:moveTo>
                  <a:lnTo>
                    <a:pt x="1361440" y="1251804"/>
                  </a:lnTo>
                  <a:lnTo>
                    <a:pt x="1361440" y="1066749"/>
                  </a:lnTo>
                  <a:lnTo>
                    <a:pt x="1242568" y="1066749"/>
                  </a:lnTo>
                  <a:close/>
                  <a:moveTo>
                    <a:pt x="1052142" y="1719312"/>
                  </a:moveTo>
                  <a:lnTo>
                    <a:pt x="1171014" y="1719312"/>
                  </a:lnTo>
                  <a:lnTo>
                    <a:pt x="1171014" y="1534257"/>
                  </a:lnTo>
                  <a:lnTo>
                    <a:pt x="1052142" y="1534257"/>
                  </a:lnTo>
                  <a:close/>
                  <a:moveTo>
                    <a:pt x="1052142" y="1956654"/>
                  </a:moveTo>
                  <a:lnTo>
                    <a:pt x="1171014" y="1956654"/>
                  </a:lnTo>
                  <a:lnTo>
                    <a:pt x="1171014" y="1771599"/>
                  </a:lnTo>
                  <a:lnTo>
                    <a:pt x="1052142" y="1771599"/>
                  </a:lnTo>
                  <a:close/>
                  <a:moveTo>
                    <a:pt x="1040908" y="315966"/>
                  </a:moveTo>
                  <a:lnTo>
                    <a:pt x="1159780" y="315966"/>
                  </a:lnTo>
                  <a:lnTo>
                    <a:pt x="1159780" y="130911"/>
                  </a:lnTo>
                  <a:lnTo>
                    <a:pt x="1040908" y="130911"/>
                  </a:lnTo>
                  <a:close/>
                  <a:moveTo>
                    <a:pt x="1040908" y="553308"/>
                  </a:moveTo>
                  <a:lnTo>
                    <a:pt x="1159780" y="553308"/>
                  </a:lnTo>
                  <a:lnTo>
                    <a:pt x="1159780" y="368253"/>
                  </a:lnTo>
                  <a:lnTo>
                    <a:pt x="1040908" y="368253"/>
                  </a:lnTo>
                  <a:close/>
                  <a:moveTo>
                    <a:pt x="1038352" y="1014462"/>
                  </a:moveTo>
                  <a:lnTo>
                    <a:pt x="1157224" y="1014462"/>
                  </a:lnTo>
                  <a:lnTo>
                    <a:pt x="1157224" y="829407"/>
                  </a:lnTo>
                  <a:lnTo>
                    <a:pt x="1038352" y="829407"/>
                  </a:lnTo>
                  <a:close/>
                  <a:moveTo>
                    <a:pt x="1038352" y="1251804"/>
                  </a:moveTo>
                  <a:lnTo>
                    <a:pt x="1157224" y="1251804"/>
                  </a:lnTo>
                  <a:lnTo>
                    <a:pt x="1157224" y="1066749"/>
                  </a:lnTo>
                  <a:lnTo>
                    <a:pt x="1038352" y="1066749"/>
                  </a:lnTo>
                  <a:close/>
                  <a:moveTo>
                    <a:pt x="847926" y="1719312"/>
                  </a:moveTo>
                  <a:lnTo>
                    <a:pt x="966798" y="1719312"/>
                  </a:lnTo>
                  <a:lnTo>
                    <a:pt x="966798" y="1534257"/>
                  </a:lnTo>
                  <a:lnTo>
                    <a:pt x="847926" y="1534257"/>
                  </a:lnTo>
                  <a:close/>
                  <a:moveTo>
                    <a:pt x="847926" y="1956654"/>
                  </a:moveTo>
                  <a:lnTo>
                    <a:pt x="966798" y="1956654"/>
                  </a:lnTo>
                  <a:lnTo>
                    <a:pt x="966798" y="1771599"/>
                  </a:lnTo>
                  <a:lnTo>
                    <a:pt x="847926" y="1771599"/>
                  </a:lnTo>
                  <a:close/>
                  <a:moveTo>
                    <a:pt x="834136" y="1014462"/>
                  </a:moveTo>
                  <a:lnTo>
                    <a:pt x="953008" y="1014462"/>
                  </a:lnTo>
                  <a:lnTo>
                    <a:pt x="953008" y="829407"/>
                  </a:lnTo>
                  <a:lnTo>
                    <a:pt x="834136" y="829407"/>
                  </a:lnTo>
                  <a:close/>
                  <a:moveTo>
                    <a:pt x="834136" y="1251804"/>
                  </a:moveTo>
                  <a:lnTo>
                    <a:pt x="953008" y="1251804"/>
                  </a:lnTo>
                  <a:lnTo>
                    <a:pt x="953008" y="1066749"/>
                  </a:lnTo>
                  <a:lnTo>
                    <a:pt x="834136" y="1066749"/>
                  </a:lnTo>
                  <a:close/>
                  <a:moveTo>
                    <a:pt x="831377" y="315966"/>
                  </a:moveTo>
                  <a:lnTo>
                    <a:pt x="950249" y="315966"/>
                  </a:lnTo>
                  <a:lnTo>
                    <a:pt x="950249" y="130911"/>
                  </a:lnTo>
                  <a:lnTo>
                    <a:pt x="831377" y="130911"/>
                  </a:lnTo>
                  <a:close/>
                  <a:moveTo>
                    <a:pt x="831377" y="553308"/>
                  </a:moveTo>
                  <a:lnTo>
                    <a:pt x="950249" y="553308"/>
                  </a:lnTo>
                  <a:lnTo>
                    <a:pt x="950249" y="368253"/>
                  </a:lnTo>
                  <a:lnTo>
                    <a:pt x="831377" y="368253"/>
                  </a:lnTo>
                  <a:close/>
                  <a:moveTo>
                    <a:pt x="737560" y="1376363"/>
                  </a:moveTo>
                  <a:lnTo>
                    <a:pt x="737560" y="704850"/>
                  </a:lnTo>
                  <a:lnTo>
                    <a:pt x="1906013" y="704850"/>
                  </a:lnTo>
                  <a:lnTo>
                    <a:pt x="1906013" y="916252"/>
                  </a:lnTo>
                  <a:lnTo>
                    <a:pt x="1447226" y="916252"/>
                  </a:lnTo>
                  <a:lnTo>
                    <a:pt x="1447226" y="1164960"/>
                  </a:lnTo>
                  <a:lnTo>
                    <a:pt x="1906013" y="1164960"/>
                  </a:lnTo>
                  <a:lnTo>
                    <a:pt x="1906013" y="1376363"/>
                  </a:lnTo>
                  <a:close/>
                  <a:moveTo>
                    <a:pt x="643710" y="1719312"/>
                  </a:moveTo>
                  <a:lnTo>
                    <a:pt x="762582" y="1719312"/>
                  </a:lnTo>
                  <a:lnTo>
                    <a:pt x="762582" y="1534257"/>
                  </a:lnTo>
                  <a:lnTo>
                    <a:pt x="643710" y="1534257"/>
                  </a:lnTo>
                  <a:close/>
                  <a:moveTo>
                    <a:pt x="643710" y="1956654"/>
                  </a:moveTo>
                  <a:lnTo>
                    <a:pt x="762582" y="1956654"/>
                  </a:lnTo>
                  <a:lnTo>
                    <a:pt x="762582" y="1771599"/>
                  </a:lnTo>
                  <a:lnTo>
                    <a:pt x="643710" y="1771599"/>
                  </a:lnTo>
                  <a:close/>
                  <a:moveTo>
                    <a:pt x="621846" y="315966"/>
                  </a:moveTo>
                  <a:lnTo>
                    <a:pt x="740718" y="315966"/>
                  </a:lnTo>
                  <a:lnTo>
                    <a:pt x="740718" y="130911"/>
                  </a:lnTo>
                  <a:lnTo>
                    <a:pt x="621846" y="130911"/>
                  </a:lnTo>
                  <a:close/>
                  <a:moveTo>
                    <a:pt x="621846" y="553308"/>
                  </a:moveTo>
                  <a:lnTo>
                    <a:pt x="740718" y="553308"/>
                  </a:lnTo>
                  <a:lnTo>
                    <a:pt x="740718" y="368253"/>
                  </a:lnTo>
                  <a:lnTo>
                    <a:pt x="621846" y="368253"/>
                  </a:lnTo>
                  <a:close/>
                  <a:moveTo>
                    <a:pt x="467686" y="2081213"/>
                  </a:moveTo>
                  <a:lnTo>
                    <a:pt x="467686" y="1409701"/>
                  </a:lnTo>
                  <a:lnTo>
                    <a:pt x="1906013" y="1409701"/>
                  </a:lnTo>
                  <a:lnTo>
                    <a:pt x="1906013" y="1621103"/>
                  </a:lnTo>
                  <a:lnTo>
                    <a:pt x="1447226" y="1621103"/>
                  </a:lnTo>
                  <a:lnTo>
                    <a:pt x="1447226" y="1869810"/>
                  </a:lnTo>
                  <a:lnTo>
                    <a:pt x="1906013" y="1869810"/>
                  </a:lnTo>
                  <a:lnTo>
                    <a:pt x="1906013" y="2081213"/>
                  </a:lnTo>
                  <a:close/>
                  <a:moveTo>
                    <a:pt x="412315" y="315966"/>
                  </a:moveTo>
                  <a:lnTo>
                    <a:pt x="531187" y="315966"/>
                  </a:lnTo>
                  <a:lnTo>
                    <a:pt x="531187" y="130911"/>
                  </a:lnTo>
                  <a:lnTo>
                    <a:pt x="412315" y="130911"/>
                  </a:lnTo>
                  <a:close/>
                  <a:moveTo>
                    <a:pt x="412315" y="553308"/>
                  </a:moveTo>
                  <a:lnTo>
                    <a:pt x="531187" y="553308"/>
                  </a:lnTo>
                  <a:lnTo>
                    <a:pt x="531187" y="368253"/>
                  </a:lnTo>
                  <a:lnTo>
                    <a:pt x="412315" y="368253"/>
                  </a:lnTo>
                  <a:close/>
                  <a:moveTo>
                    <a:pt x="202784" y="315966"/>
                  </a:moveTo>
                  <a:lnTo>
                    <a:pt x="321656" y="315966"/>
                  </a:lnTo>
                  <a:lnTo>
                    <a:pt x="321656" y="130911"/>
                  </a:lnTo>
                  <a:lnTo>
                    <a:pt x="202784" y="130911"/>
                  </a:lnTo>
                  <a:close/>
                  <a:moveTo>
                    <a:pt x="202784" y="553308"/>
                  </a:moveTo>
                  <a:lnTo>
                    <a:pt x="321656" y="553308"/>
                  </a:lnTo>
                  <a:lnTo>
                    <a:pt x="321656" y="368253"/>
                  </a:lnTo>
                  <a:lnTo>
                    <a:pt x="202784" y="368253"/>
                  </a:lnTo>
                  <a:close/>
                  <a:moveTo>
                    <a:pt x="0" y="671512"/>
                  </a:moveTo>
                  <a:lnTo>
                    <a:pt x="0" y="0"/>
                  </a:lnTo>
                  <a:lnTo>
                    <a:pt x="1906013" y="0"/>
                  </a:lnTo>
                  <a:lnTo>
                    <a:pt x="1906013" y="671512"/>
                  </a:lnTo>
                  <a:close/>
                </a:path>
              </a:pathLst>
            </a:custGeom>
            <a:solidFill>
              <a:schemeClr val="bg1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979" tIns="46489" rIns="46489" bIns="92979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293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1" dirty="0" err="1">
                <a:solidFill>
                  <a:srgbClr val="44546A"/>
                </a:soli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918376" y="-13095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8227191" y="1004387"/>
            <a:ext cx="792000" cy="792000"/>
            <a:chOff x="4985352" y="-1266983"/>
            <a:chExt cx="792000" cy="792000"/>
          </a:xfrm>
        </p:grpSpPr>
        <p:sp>
          <p:nvSpPr>
            <p:cNvPr id="53" name="Freeform 40"/>
            <p:cNvSpPr>
              <a:spLocks noEditPoints="1"/>
            </p:cNvSpPr>
            <p:nvPr/>
          </p:nvSpPr>
          <p:spPr bwMode="auto">
            <a:xfrm>
              <a:off x="5124016" y="-1203867"/>
              <a:ext cx="514673" cy="665769"/>
            </a:xfrm>
            <a:custGeom>
              <a:avLst/>
              <a:gdLst>
                <a:gd name="T0" fmla="*/ 152 w 159"/>
                <a:gd name="T1" fmla="*/ 189 h 196"/>
                <a:gd name="T2" fmla="*/ 143 w 159"/>
                <a:gd name="T3" fmla="*/ 46 h 196"/>
                <a:gd name="T4" fmla="*/ 116 w 159"/>
                <a:gd name="T5" fmla="*/ 49 h 196"/>
                <a:gd name="T6" fmla="*/ 95 w 159"/>
                <a:gd name="T7" fmla="*/ 109 h 196"/>
                <a:gd name="T8" fmla="*/ 93 w 159"/>
                <a:gd name="T9" fmla="*/ 90 h 196"/>
                <a:gd name="T10" fmla="*/ 60 w 159"/>
                <a:gd name="T11" fmla="*/ 106 h 196"/>
                <a:gd name="T12" fmla="*/ 45 w 159"/>
                <a:gd name="T13" fmla="*/ 109 h 196"/>
                <a:gd name="T14" fmla="*/ 43 w 159"/>
                <a:gd name="T15" fmla="*/ 90 h 196"/>
                <a:gd name="T16" fmla="*/ 13 w 159"/>
                <a:gd name="T17" fmla="*/ 106 h 196"/>
                <a:gd name="T18" fmla="*/ 2 w 159"/>
                <a:gd name="T19" fmla="*/ 189 h 196"/>
                <a:gd name="T20" fmla="*/ 0 w 159"/>
                <a:gd name="T21" fmla="*/ 196 h 196"/>
                <a:gd name="T22" fmla="*/ 159 w 159"/>
                <a:gd name="T23" fmla="*/ 191 h 196"/>
                <a:gd name="T24" fmla="*/ 44 w 159"/>
                <a:gd name="T25" fmla="*/ 143 h 196"/>
                <a:gd name="T26" fmla="*/ 27 w 159"/>
                <a:gd name="T27" fmla="*/ 147 h 196"/>
                <a:gd name="T28" fmla="*/ 23 w 159"/>
                <a:gd name="T29" fmla="*/ 130 h 196"/>
                <a:gd name="T30" fmla="*/ 40 w 159"/>
                <a:gd name="T31" fmla="*/ 126 h 196"/>
                <a:gd name="T32" fmla="*/ 44 w 159"/>
                <a:gd name="T33" fmla="*/ 143 h 196"/>
                <a:gd name="T34" fmla="*/ 71 w 159"/>
                <a:gd name="T35" fmla="*/ 147 h 196"/>
                <a:gd name="T36" fmla="*/ 54 w 159"/>
                <a:gd name="T37" fmla="*/ 143 h 196"/>
                <a:gd name="T38" fmla="*/ 57 w 159"/>
                <a:gd name="T39" fmla="*/ 126 h 196"/>
                <a:gd name="T40" fmla="*/ 75 w 159"/>
                <a:gd name="T41" fmla="*/ 130 h 196"/>
                <a:gd name="T42" fmla="*/ 106 w 159"/>
                <a:gd name="T43" fmla="*/ 143 h 196"/>
                <a:gd name="T44" fmla="*/ 88 w 159"/>
                <a:gd name="T45" fmla="*/ 147 h 196"/>
                <a:gd name="T46" fmla="*/ 84 w 159"/>
                <a:gd name="T47" fmla="*/ 130 h 196"/>
                <a:gd name="T48" fmla="*/ 102 w 159"/>
                <a:gd name="T49" fmla="*/ 126 h 196"/>
                <a:gd name="T50" fmla="*/ 106 w 159"/>
                <a:gd name="T51" fmla="*/ 143 h 196"/>
                <a:gd name="T52" fmla="*/ 133 w 159"/>
                <a:gd name="T53" fmla="*/ 147 h 196"/>
                <a:gd name="T54" fmla="*/ 115 w 159"/>
                <a:gd name="T55" fmla="*/ 143 h 196"/>
                <a:gd name="T56" fmla="*/ 119 w 159"/>
                <a:gd name="T57" fmla="*/ 126 h 196"/>
                <a:gd name="T58" fmla="*/ 136 w 159"/>
                <a:gd name="T59" fmla="*/ 130 h 196"/>
                <a:gd name="T60" fmla="*/ 86 w 159"/>
                <a:gd name="T61" fmla="*/ 12 h 196"/>
                <a:gd name="T62" fmla="*/ 113 w 159"/>
                <a:gd name="T63" fmla="*/ 17 h 196"/>
                <a:gd name="T64" fmla="*/ 114 w 159"/>
                <a:gd name="T65" fmla="*/ 17 h 196"/>
                <a:gd name="T66" fmla="*/ 133 w 159"/>
                <a:gd name="T67" fmla="*/ 30 h 196"/>
                <a:gd name="T68" fmla="*/ 138 w 159"/>
                <a:gd name="T69" fmla="*/ 28 h 196"/>
                <a:gd name="T70" fmla="*/ 116 w 159"/>
                <a:gd name="T71" fmla="*/ 10 h 196"/>
                <a:gd name="T72" fmla="*/ 115 w 159"/>
                <a:gd name="T73" fmla="*/ 10 h 196"/>
                <a:gd name="T74" fmla="*/ 114 w 159"/>
                <a:gd name="T75" fmla="*/ 9 h 196"/>
                <a:gd name="T76" fmla="*/ 80 w 159"/>
                <a:gd name="T77" fmla="*/ 1 h 196"/>
                <a:gd name="T78" fmla="*/ 86 w 159"/>
                <a:gd name="T79" fmla="*/ 12 h 196"/>
                <a:gd name="T80" fmla="*/ 92 w 159"/>
                <a:gd name="T81" fmla="*/ 31 h 196"/>
                <a:gd name="T82" fmla="*/ 93 w 159"/>
                <a:gd name="T83" fmla="*/ 31 h 196"/>
                <a:gd name="T84" fmla="*/ 94 w 159"/>
                <a:gd name="T85" fmla="*/ 31 h 196"/>
                <a:gd name="T86" fmla="*/ 115 w 159"/>
                <a:gd name="T87" fmla="*/ 32 h 196"/>
                <a:gd name="T88" fmla="*/ 118 w 159"/>
                <a:gd name="T89" fmla="*/ 28 h 196"/>
                <a:gd name="T90" fmla="*/ 93 w 159"/>
                <a:gd name="T91" fmla="*/ 24 h 196"/>
                <a:gd name="T92" fmla="*/ 92 w 159"/>
                <a:gd name="T93" fmla="*/ 24 h 196"/>
                <a:gd name="T94" fmla="*/ 91 w 159"/>
                <a:gd name="T95" fmla="*/ 24 h 196"/>
                <a:gd name="T96" fmla="*/ 70 w 159"/>
                <a:gd name="T97" fmla="*/ 20 h 196"/>
                <a:gd name="T98" fmla="*/ 67 w 159"/>
                <a:gd name="T99" fmla="*/ 2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9" h="196">
                  <a:moveTo>
                    <a:pt x="157" y="189"/>
                  </a:moveTo>
                  <a:cubicBezTo>
                    <a:pt x="152" y="189"/>
                    <a:pt x="152" y="189"/>
                    <a:pt x="152" y="189"/>
                  </a:cubicBezTo>
                  <a:cubicBezTo>
                    <a:pt x="146" y="49"/>
                    <a:pt x="146" y="49"/>
                    <a:pt x="146" y="49"/>
                  </a:cubicBezTo>
                  <a:cubicBezTo>
                    <a:pt x="146" y="47"/>
                    <a:pt x="145" y="46"/>
                    <a:pt x="143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8" y="46"/>
                    <a:pt x="116" y="47"/>
                    <a:pt x="116" y="49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5" y="90"/>
                    <a:pt x="94" y="89"/>
                    <a:pt x="93" y="90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1" y="102"/>
                    <a:pt x="60" y="104"/>
                    <a:pt x="60" y="106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0"/>
                    <a:pt x="44" y="89"/>
                    <a:pt x="43" y="90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5" y="102"/>
                    <a:pt x="13" y="104"/>
                    <a:pt x="13" y="10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2" y="189"/>
                    <a:pt x="2" y="189"/>
                    <a:pt x="2" y="189"/>
                  </a:cubicBezTo>
                  <a:cubicBezTo>
                    <a:pt x="1" y="189"/>
                    <a:pt x="0" y="190"/>
                    <a:pt x="0" y="19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59" y="196"/>
                    <a:pt x="159" y="196"/>
                    <a:pt x="159" y="196"/>
                  </a:cubicBezTo>
                  <a:cubicBezTo>
                    <a:pt x="159" y="191"/>
                    <a:pt x="159" y="191"/>
                    <a:pt x="159" y="191"/>
                  </a:cubicBezTo>
                  <a:cubicBezTo>
                    <a:pt x="159" y="190"/>
                    <a:pt x="158" y="189"/>
                    <a:pt x="157" y="189"/>
                  </a:cubicBezTo>
                  <a:close/>
                  <a:moveTo>
                    <a:pt x="44" y="143"/>
                  </a:moveTo>
                  <a:cubicBezTo>
                    <a:pt x="44" y="145"/>
                    <a:pt x="42" y="147"/>
                    <a:pt x="40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5" y="147"/>
                    <a:pt x="23" y="145"/>
                    <a:pt x="23" y="143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27"/>
                    <a:pt x="25" y="126"/>
                    <a:pt x="27" y="126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26"/>
                    <a:pt x="44" y="127"/>
                    <a:pt x="44" y="130"/>
                  </a:cubicBezTo>
                  <a:lnTo>
                    <a:pt x="44" y="143"/>
                  </a:lnTo>
                  <a:close/>
                  <a:moveTo>
                    <a:pt x="75" y="143"/>
                  </a:moveTo>
                  <a:cubicBezTo>
                    <a:pt x="75" y="145"/>
                    <a:pt x="73" y="147"/>
                    <a:pt x="71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5" y="147"/>
                    <a:pt x="54" y="145"/>
                    <a:pt x="54" y="143"/>
                  </a:cubicBezTo>
                  <a:cubicBezTo>
                    <a:pt x="54" y="130"/>
                    <a:pt x="54" y="130"/>
                    <a:pt x="54" y="130"/>
                  </a:cubicBezTo>
                  <a:cubicBezTo>
                    <a:pt x="54" y="127"/>
                    <a:pt x="55" y="126"/>
                    <a:pt x="57" y="126"/>
                  </a:cubicBezTo>
                  <a:cubicBezTo>
                    <a:pt x="71" y="126"/>
                    <a:pt x="71" y="126"/>
                    <a:pt x="71" y="126"/>
                  </a:cubicBezTo>
                  <a:cubicBezTo>
                    <a:pt x="73" y="126"/>
                    <a:pt x="75" y="127"/>
                    <a:pt x="75" y="130"/>
                  </a:cubicBezTo>
                  <a:lnTo>
                    <a:pt x="75" y="143"/>
                  </a:lnTo>
                  <a:close/>
                  <a:moveTo>
                    <a:pt x="106" y="143"/>
                  </a:moveTo>
                  <a:cubicBezTo>
                    <a:pt x="106" y="145"/>
                    <a:pt x="104" y="147"/>
                    <a:pt x="102" y="147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86" y="147"/>
                    <a:pt x="84" y="145"/>
                    <a:pt x="84" y="143"/>
                  </a:cubicBezTo>
                  <a:cubicBezTo>
                    <a:pt x="84" y="130"/>
                    <a:pt x="84" y="130"/>
                    <a:pt x="84" y="130"/>
                  </a:cubicBezTo>
                  <a:cubicBezTo>
                    <a:pt x="84" y="127"/>
                    <a:pt x="86" y="126"/>
                    <a:pt x="88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4" y="126"/>
                    <a:pt x="106" y="127"/>
                    <a:pt x="106" y="130"/>
                  </a:cubicBezTo>
                  <a:lnTo>
                    <a:pt x="106" y="143"/>
                  </a:lnTo>
                  <a:close/>
                  <a:moveTo>
                    <a:pt x="136" y="143"/>
                  </a:moveTo>
                  <a:cubicBezTo>
                    <a:pt x="136" y="145"/>
                    <a:pt x="135" y="147"/>
                    <a:pt x="133" y="147"/>
                  </a:cubicBezTo>
                  <a:cubicBezTo>
                    <a:pt x="119" y="147"/>
                    <a:pt x="119" y="147"/>
                    <a:pt x="119" y="147"/>
                  </a:cubicBezTo>
                  <a:cubicBezTo>
                    <a:pt x="117" y="147"/>
                    <a:pt x="115" y="145"/>
                    <a:pt x="115" y="143"/>
                  </a:cubicBezTo>
                  <a:cubicBezTo>
                    <a:pt x="115" y="130"/>
                    <a:pt x="115" y="130"/>
                    <a:pt x="115" y="130"/>
                  </a:cubicBezTo>
                  <a:cubicBezTo>
                    <a:pt x="115" y="127"/>
                    <a:pt x="117" y="126"/>
                    <a:pt x="119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5" y="126"/>
                    <a:pt x="136" y="127"/>
                    <a:pt x="136" y="130"/>
                  </a:cubicBezTo>
                  <a:lnTo>
                    <a:pt x="136" y="143"/>
                  </a:lnTo>
                  <a:close/>
                  <a:moveTo>
                    <a:pt x="86" y="12"/>
                  </a:moveTo>
                  <a:cubicBezTo>
                    <a:pt x="94" y="16"/>
                    <a:pt x="104" y="15"/>
                    <a:pt x="113" y="17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3" y="19"/>
                    <a:pt x="129" y="24"/>
                    <a:pt x="133" y="30"/>
                  </a:cubicBezTo>
                  <a:cubicBezTo>
                    <a:pt x="137" y="36"/>
                    <a:pt x="139" y="40"/>
                    <a:pt x="140" y="40"/>
                  </a:cubicBezTo>
                  <a:cubicBezTo>
                    <a:pt x="141" y="39"/>
                    <a:pt x="141" y="35"/>
                    <a:pt x="138" y="28"/>
                  </a:cubicBezTo>
                  <a:cubicBezTo>
                    <a:pt x="136" y="24"/>
                    <a:pt x="134" y="20"/>
                    <a:pt x="130" y="17"/>
                  </a:cubicBezTo>
                  <a:cubicBezTo>
                    <a:pt x="126" y="13"/>
                    <a:pt x="121" y="11"/>
                    <a:pt x="116" y="10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04" y="8"/>
                    <a:pt x="94" y="9"/>
                    <a:pt x="89" y="7"/>
                  </a:cubicBezTo>
                  <a:cubicBezTo>
                    <a:pt x="83" y="5"/>
                    <a:pt x="81" y="0"/>
                    <a:pt x="80" y="1"/>
                  </a:cubicBezTo>
                  <a:cubicBezTo>
                    <a:pt x="80" y="1"/>
                    <a:pt x="80" y="2"/>
                    <a:pt x="80" y="4"/>
                  </a:cubicBezTo>
                  <a:cubicBezTo>
                    <a:pt x="81" y="6"/>
                    <a:pt x="83" y="10"/>
                    <a:pt x="86" y="12"/>
                  </a:cubicBezTo>
                  <a:close/>
                  <a:moveTo>
                    <a:pt x="78" y="30"/>
                  </a:moveTo>
                  <a:cubicBezTo>
                    <a:pt x="83" y="31"/>
                    <a:pt x="88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8" y="30"/>
                    <a:pt x="102" y="29"/>
                    <a:pt x="106" y="29"/>
                  </a:cubicBezTo>
                  <a:cubicBezTo>
                    <a:pt x="110" y="30"/>
                    <a:pt x="113" y="31"/>
                    <a:pt x="115" y="32"/>
                  </a:cubicBezTo>
                  <a:cubicBezTo>
                    <a:pt x="120" y="35"/>
                    <a:pt x="123" y="39"/>
                    <a:pt x="124" y="38"/>
                  </a:cubicBezTo>
                  <a:cubicBezTo>
                    <a:pt x="124" y="38"/>
                    <a:pt x="124" y="33"/>
                    <a:pt x="118" y="28"/>
                  </a:cubicBezTo>
                  <a:cubicBezTo>
                    <a:pt x="116" y="26"/>
                    <a:pt x="111" y="24"/>
                    <a:pt x="107" y="23"/>
                  </a:cubicBezTo>
                  <a:cubicBezTo>
                    <a:pt x="102" y="23"/>
                    <a:pt x="97" y="23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87" y="24"/>
                    <a:pt x="83" y="25"/>
                    <a:pt x="79" y="24"/>
                  </a:cubicBezTo>
                  <a:cubicBezTo>
                    <a:pt x="76" y="23"/>
                    <a:pt x="73" y="22"/>
                    <a:pt x="70" y="20"/>
                  </a:cubicBezTo>
                  <a:cubicBezTo>
                    <a:pt x="66" y="16"/>
                    <a:pt x="63" y="13"/>
                    <a:pt x="62" y="13"/>
                  </a:cubicBezTo>
                  <a:cubicBezTo>
                    <a:pt x="62" y="14"/>
                    <a:pt x="62" y="18"/>
                    <a:pt x="67" y="24"/>
                  </a:cubicBezTo>
                  <a:cubicBezTo>
                    <a:pt x="70" y="26"/>
                    <a:pt x="73" y="29"/>
                    <a:pt x="78" y="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390" tIns="45696" rIns="91390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292929"/>
                </a:solidFill>
                <a:latin typeface="NotesStyle-Medium" pitchFamily="2" charset="0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985352" y="-126698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7133" y="348778"/>
            <a:ext cx="792000" cy="792000"/>
            <a:chOff x="3342078" y="-1683234"/>
            <a:chExt cx="792000" cy="792000"/>
          </a:xfrm>
        </p:grpSpPr>
        <p:grpSp>
          <p:nvGrpSpPr>
            <p:cNvPr id="56" name="Group 55"/>
            <p:cNvGrpSpPr/>
            <p:nvPr/>
          </p:nvGrpSpPr>
          <p:grpSpPr>
            <a:xfrm flipH="1">
              <a:off x="3478609" y="-1536484"/>
              <a:ext cx="518938" cy="498501"/>
              <a:chOff x="466342" y="659172"/>
              <a:chExt cx="2867877" cy="2754933"/>
            </a:xfrm>
          </p:grpSpPr>
          <p:sp>
            <p:nvSpPr>
              <p:cNvPr id="58" name="Rounded Rectangle 57"/>
              <p:cNvSpPr/>
              <p:nvPr/>
            </p:nvSpPr>
            <p:spPr bwMode="auto">
              <a:xfrm>
                <a:off x="466342" y="659172"/>
                <a:ext cx="2867877" cy="2145650"/>
              </a:xfrm>
              <a:prstGeom prst="roundRect">
                <a:avLst>
                  <a:gd name="adj" fmla="val 1704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44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sp>
            <p:nvSpPr>
              <p:cNvPr id="59" name="Right Triangle 58"/>
              <p:cNvSpPr/>
              <p:nvPr/>
            </p:nvSpPr>
            <p:spPr bwMode="auto">
              <a:xfrm rot="10800000" flipH="1">
                <a:off x="969262" y="2804822"/>
                <a:ext cx="609283" cy="609283"/>
              </a:xfrm>
              <a:prstGeom prst="rtTriangl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44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</p:grpSp>
        <p:sp>
          <p:nvSpPr>
            <p:cNvPr id="57" name="Rectangle 56"/>
            <p:cNvSpPr/>
            <p:nvPr/>
          </p:nvSpPr>
          <p:spPr>
            <a:xfrm>
              <a:off x="3342078" y="-168323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831582" y="381528"/>
            <a:ext cx="792000" cy="792000"/>
            <a:chOff x="10079690" y="596849"/>
            <a:chExt cx="792000" cy="792000"/>
          </a:xfrm>
        </p:grpSpPr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113651" y="721320"/>
              <a:ext cx="724078" cy="543059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>
            <a:xfrm>
              <a:off x="10079690" y="59684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50101" y="974390"/>
            <a:ext cx="792000" cy="792000"/>
            <a:chOff x="10319379" y="598363"/>
            <a:chExt cx="792000" cy="792000"/>
          </a:xfrm>
        </p:grpSpPr>
        <p:sp>
          <p:nvSpPr>
            <p:cNvPr id="64" name="Freeform 31"/>
            <p:cNvSpPr>
              <a:spLocks noEditPoints="1"/>
            </p:cNvSpPr>
            <p:nvPr/>
          </p:nvSpPr>
          <p:spPr bwMode="auto">
            <a:xfrm>
              <a:off x="10437834" y="663407"/>
              <a:ext cx="555091" cy="661913"/>
            </a:xfrm>
            <a:custGeom>
              <a:avLst/>
              <a:gdLst>
                <a:gd name="T0" fmla="*/ 455 w 971"/>
                <a:gd name="T1" fmla="*/ 0 h 912"/>
                <a:gd name="T2" fmla="*/ 911 w 971"/>
                <a:gd name="T3" fmla="*/ 268 h 912"/>
                <a:gd name="T4" fmla="*/ 825 w 971"/>
                <a:gd name="T5" fmla="*/ 425 h 912"/>
                <a:gd name="T6" fmla="*/ 971 w 971"/>
                <a:gd name="T7" fmla="*/ 617 h 912"/>
                <a:gd name="T8" fmla="*/ 629 w 971"/>
                <a:gd name="T9" fmla="*/ 516 h 912"/>
                <a:gd name="T10" fmla="*/ 455 w 971"/>
                <a:gd name="T11" fmla="*/ 536 h 912"/>
                <a:gd name="T12" fmla="*/ 0 w 971"/>
                <a:gd name="T13" fmla="*/ 268 h 912"/>
                <a:gd name="T14" fmla="*/ 455 w 971"/>
                <a:gd name="T15" fmla="*/ 0 h 912"/>
                <a:gd name="T16" fmla="*/ 291 w 971"/>
                <a:gd name="T17" fmla="*/ 565 h 912"/>
                <a:gd name="T18" fmla="*/ 34 w 971"/>
                <a:gd name="T19" fmla="*/ 716 h 912"/>
                <a:gd name="T20" fmla="*/ 82 w 971"/>
                <a:gd name="T21" fmla="*/ 804 h 912"/>
                <a:gd name="T22" fmla="*/ 0 w 971"/>
                <a:gd name="T23" fmla="*/ 912 h 912"/>
                <a:gd name="T24" fmla="*/ 193 w 971"/>
                <a:gd name="T25" fmla="*/ 855 h 912"/>
                <a:gd name="T26" fmla="*/ 291 w 971"/>
                <a:gd name="T27" fmla="*/ 867 h 912"/>
                <a:gd name="T28" fmla="*/ 547 w 971"/>
                <a:gd name="T29" fmla="*/ 716 h 912"/>
                <a:gd name="T30" fmla="*/ 291 w 971"/>
                <a:gd name="T31" fmla="*/ 565 h 912"/>
                <a:gd name="T32" fmla="*/ 565 w 971"/>
                <a:gd name="T33" fmla="*/ 686 h 912"/>
                <a:gd name="T34" fmla="*/ 727 w 971"/>
                <a:gd name="T35" fmla="*/ 781 h 912"/>
                <a:gd name="T36" fmla="*/ 789 w 971"/>
                <a:gd name="T37" fmla="*/ 774 h 912"/>
                <a:gd name="T38" fmla="*/ 911 w 971"/>
                <a:gd name="T39" fmla="*/ 810 h 912"/>
                <a:gd name="T40" fmla="*/ 859 w 971"/>
                <a:gd name="T41" fmla="*/ 741 h 912"/>
                <a:gd name="T42" fmla="*/ 889 w 971"/>
                <a:gd name="T43" fmla="*/ 686 h 912"/>
                <a:gd name="T44" fmla="*/ 727 w 971"/>
                <a:gd name="T45" fmla="*/ 590 h 912"/>
                <a:gd name="T46" fmla="*/ 565 w 971"/>
                <a:gd name="T47" fmla="*/ 686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1" h="912">
                  <a:moveTo>
                    <a:pt x="455" y="0"/>
                  </a:moveTo>
                  <a:cubicBezTo>
                    <a:pt x="707" y="0"/>
                    <a:pt x="911" y="120"/>
                    <a:pt x="911" y="268"/>
                  </a:cubicBezTo>
                  <a:cubicBezTo>
                    <a:pt x="911" y="327"/>
                    <a:pt x="879" y="381"/>
                    <a:pt x="825" y="425"/>
                  </a:cubicBezTo>
                  <a:cubicBezTo>
                    <a:pt x="971" y="617"/>
                    <a:pt x="971" y="617"/>
                    <a:pt x="971" y="617"/>
                  </a:cubicBezTo>
                  <a:cubicBezTo>
                    <a:pt x="629" y="516"/>
                    <a:pt x="629" y="516"/>
                    <a:pt x="629" y="516"/>
                  </a:cubicBezTo>
                  <a:cubicBezTo>
                    <a:pt x="575" y="529"/>
                    <a:pt x="517" y="536"/>
                    <a:pt x="455" y="536"/>
                  </a:cubicBezTo>
                  <a:cubicBezTo>
                    <a:pt x="204" y="536"/>
                    <a:pt x="0" y="416"/>
                    <a:pt x="0" y="268"/>
                  </a:cubicBezTo>
                  <a:cubicBezTo>
                    <a:pt x="0" y="120"/>
                    <a:pt x="204" y="0"/>
                    <a:pt x="455" y="0"/>
                  </a:cubicBezTo>
                  <a:close/>
                  <a:moveTo>
                    <a:pt x="291" y="565"/>
                  </a:moveTo>
                  <a:cubicBezTo>
                    <a:pt x="149" y="565"/>
                    <a:pt x="34" y="633"/>
                    <a:pt x="34" y="716"/>
                  </a:cubicBezTo>
                  <a:cubicBezTo>
                    <a:pt x="34" y="749"/>
                    <a:pt x="52" y="779"/>
                    <a:pt x="82" y="804"/>
                  </a:cubicBezTo>
                  <a:cubicBezTo>
                    <a:pt x="0" y="912"/>
                    <a:pt x="0" y="912"/>
                    <a:pt x="0" y="912"/>
                  </a:cubicBezTo>
                  <a:cubicBezTo>
                    <a:pt x="193" y="855"/>
                    <a:pt x="193" y="855"/>
                    <a:pt x="193" y="855"/>
                  </a:cubicBezTo>
                  <a:cubicBezTo>
                    <a:pt x="223" y="863"/>
                    <a:pt x="256" y="867"/>
                    <a:pt x="291" y="867"/>
                  </a:cubicBezTo>
                  <a:cubicBezTo>
                    <a:pt x="432" y="867"/>
                    <a:pt x="547" y="799"/>
                    <a:pt x="547" y="716"/>
                  </a:cubicBezTo>
                  <a:cubicBezTo>
                    <a:pt x="547" y="633"/>
                    <a:pt x="432" y="565"/>
                    <a:pt x="291" y="565"/>
                  </a:cubicBezTo>
                  <a:close/>
                  <a:moveTo>
                    <a:pt x="565" y="686"/>
                  </a:moveTo>
                  <a:cubicBezTo>
                    <a:pt x="565" y="738"/>
                    <a:pt x="638" y="781"/>
                    <a:pt x="727" y="781"/>
                  </a:cubicBezTo>
                  <a:cubicBezTo>
                    <a:pt x="749" y="781"/>
                    <a:pt x="770" y="779"/>
                    <a:pt x="789" y="774"/>
                  </a:cubicBezTo>
                  <a:cubicBezTo>
                    <a:pt x="911" y="810"/>
                    <a:pt x="911" y="810"/>
                    <a:pt x="911" y="810"/>
                  </a:cubicBezTo>
                  <a:cubicBezTo>
                    <a:pt x="859" y="741"/>
                    <a:pt x="859" y="741"/>
                    <a:pt x="859" y="741"/>
                  </a:cubicBezTo>
                  <a:cubicBezTo>
                    <a:pt x="878" y="726"/>
                    <a:pt x="889" y="707"/>
                    <a:pt x="889" y="686"/>
                  </a:cubicBezTo>
                  <a:cubicBezTo>
                    <a:pt x="889" y="633"/>
                    <a:pt x="817" y="590"/>
                    <a:pt x="727" y="590"/>
                  </a:cubicBezTo>
                  <a:cubicBezTo>
                    <a:pt x="638" y="590"/>
                    <a:pt x="565" y="633"/>
                    <a:pt x="565" y="6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7199" tIns="33599" rIns="67199" bIns="33599" numCol="1" anchor="t" anchorCtr="0" compatLnSpc="1">
              <a:prstTxWarp prst="textNoShape">
                <a:avLst/>
              </a:prstTxWarp>
            </a:bodyPr>
            <a:lstStyle/>
            <a:p>
              <a:pPr defTabSz="671919">
                <a:defRPr/>
              </a:pPr>
              <a:endParaRPr lang="en-US" sz="1600" b="1" kern="0" dirty="0">
                <a:solidFill>
                  <a:sysClr val="windowText" lastClr="000000"/>
                </a:solidFill>
                <a:latin typeface="NotesStyle-Medium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10319379" y="5983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823690" y="1009769"/>
            <a:ext cx="792000" cy="792000"/>
            <a:chOff x="9831001" y="583371"/>
            <a:chExt cx="792000" cy="792000"/>
          </a:xfrm>
        </p:grpSpPr>
        <p:pic>
          <p:nvPicPr>
            <p:cNvPr id="67" name="Picture 2" descr="C:\Users\RKoning\Desktop\Overige\clap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7520" y="613086"/>
              <a:ext cx="538963" cy="732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Rectangle 67"/>
            <p:cNvSpPr/>
            <p:nvPr/>
          </p:nvSpPr>
          <p:spPr>
            <a:xfrm>
              <a:off x="9831001" y="58337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488849" y="396385"/>
            <a:ext cx="792000" cy="792000"/>
            <a:chOff x="10204188" y="787763"/>
            <a:chExt cx="792000" cy="792000"/>
          </a:xfrm>
        </p:grpSpPr>
        <p:grpSp>
          <p:nvGrpSpPr>
            <p:cNvPr id="70" name="Group 69"/>
            <p:cNvGrpSpPr>
              <a:grpSpLocks noChangeAspect="1"/>
            </p:cNvGrpSpPr>
            <p:nvPr/>
          </p:nvGrpSpPr>
          <p:grpSpPr bwMode="black">
            <a:xfrm>
              <a:off x="10417643" y="796648"/>
              <a:ext cx="365090" cy="774231"/>
              <a:chOff x="8920162" y="3943878"/>
              <a:chExt cx="419101" cy="889001"/>
            </a:xfrm>
            <a:solidFill>
              <a:srgbClr val="FFFFFF"/>
            </a:solidFill>
          </p:grpSpPr>
          <p:sp>
            <p:nvSpPr>
              <p:cNvPr id="72" name="Oval 16"/>
              <p:cNvSpPr>
                <a:spLocks noChangeArrowheads="1"/>
              </p:cNvSpPr>
              <p:nvPr/>
            </p:nvSpPr>
            <p:spPr bwMode="black">
              <a:xfrm>
                <a:off x="9148762" y="3943878"/>
                <a:ext cx="149225" cy="146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3" name="Freeform 17"/>
              <p:cNvSpPr>
                <a:spLocks/>
              </p:cNvSpPr>
              <p:nvPr/>
            </p:nvSpPr>
            <p:spPr bwMode="black">
              <a:xfrm>
                <a:off x="9017000" y="4123266"/>
                <a:ext cx="322263" cy="709613"/>
              </a:xfrm>
              <a:custGeom>
                <a:avLst/>
                <a:gdLst>
                  <a:gd name="T0" fmla="*/ 76 w 86"/>
                  <a:gd name="T1" fmla="*/ 0 h 189"/>
                  <a:gd name="T2" fmla="*/ 80 w 86"/>
                  <a:gd name="T3" fmla="*/ 3 h 189"/>
                  <a:gd name="T4" fmla="*/ 83 w 86"/>
                  <a:gd name="T5" fmla="*/ 11 h 189"/>
                  <a:gd name="T6" fmla="*/ 78 w 86"/>
                  <a:gd name="T7" fmla="*/ 21 h 189"/>
                  <a:gd name="T8" fmla="*/ 44 w 86"/>
                  <a:gd name="T9" fmla="*/ 47 h 189"/>
                  <a:gd name="T10" fmla="*/ 39 w 86"/>
                  <a:gd name="T11" fmla="*/ 50 h 189"/>
                  <a:gd name="T12" fmla="*/ 39 w 86"/>
                  <a:gd name="T13" fmla="*/ 81 h 189"/>
                  <a:gd name="T14" fmla="*/ 2 w 86"/>
                  <a:gd name="T15" fmla="*/ 173 h 189"/>
                  <a:gd name="T16" fmla="*/ 9 w 86"/>
                  <a:gd name="T17" fmla="*/ 188 h 189"/>
                  <a:gd name="T18" fmla="*/ 13 w 86"/>
                  <a:gd name="T19" fmla="*/ 189 h 189"/>
                  <a:gd name="T20" fmla="*/ 24 w 86"/>
                  <a:gd name="T21" fmla="*/ 181 h 189"/>
                  <a:gd name="T22" fmla="*/ 63 w 86"/>
                  <a:gd name="T23" fmla="*/ 83 h 189"/>
                  <a:gd name="T24" fmla="*/ 63 w 86"/>
                  <a:gd name="T25" fmla="*/ 177 h 189"/>
                  <a:gd name="T26" fmla="*/ 74 w 86"/>
                  <a:gd name="T27" fmla="*/ 189 h 189"/>
                  <a:gd name="T28" fmla="*/ 86 w 86"/>
                  <a:gd name="T29" fmla="*/ 177 h 189"/>
                  <a:gd name="T30" fmla="*/ 86 w 86"/>
                  <a:gd name="T31" fmla="*/ 72 h 189"/>
                  <a:gd name="T32" fmla="*/ 86 w 86"/>
                  <a:gd name="T33" fmla="*/ 17 h 189"/>
                  <a:gd name="T34" fmla="*/ 76 w 86"/>
                  <a:gd name="T35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6" h="189">
                    <a:moveTo>
                      <a:pt x="76" y="0"/>
                    </a:moveTo>
                    <a:cubicBezTo>
                      <a:pt x="78" y="1"/>
                      <a:pt x="79" y="2"/>
                      <a:pt x="80" y="3"/>
                    </a:cubicBezTo>
                    <a:cubicBezTo>
                      <a:pt x="82" y="6"/>
                      <a:pt x="83" y="8"/>
                      <a:pt x="83" y="11"/>
                    </a:cubicBezTo>
                    <a:cubicBezTo>
                      <a:pt x="83" y="15"/>
                      <a:pt x="81" y="18"/>
                      <a:pt x="78" y="21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2" y="49"/>
                      <a:pt x="40" y="49"/>
                      <a:pt x="39" y="50"/>
                    </a:cubicBezTo>
                    <a:cubicBezTo>
                      <a:pt x="39" y="81"/>
                      <a:pt x="39" y="81"/>
                      <a:pt x="39" y="81"/>
                    </a:cubicBezTo>
                    <a:cubicBezTo>
                      <a:pt x="2" y="173"/>
                      <a:pt x="2" y="173"/>
                      <a:pt x="2" y="173"/>
                    </a:cubicBezTo>
                    <a:cubicBezTo>
                      <a:pt x="0" y="179"/>
                      <a:pt x="3" y="186"/>
                      <a:pt x="9" y="188"/>
                    </a:cubicBezTo>
                    <a:cubicBezTo>
                      <a:pt x="10" y="189"/>
                      <a:pt x="12" y="189"/>
                      <a:pt x="13" y="189"/>
                    </a:cubicBezTo>
                    <a:cubicBezTo>
                      <a:pt x="18" y="189"/>
                      <a:pt x="22" y="186"/>
                      <a:pt x="24" y="181"/>
                    </a:cubicBezTo>
                    <a:cubicBezTo>
                      <a:pt x="63" y="83"/>
                      <a:pt x="63" y="83"/>
                      <a:pt x="63" y="83"/>
                    </a:cubicBezTo>
                    <a:cubicBezTo>
                      <a:pt x="63" y="177"/>
                      <a:pt x="63" y="177"/>
                      <a:pt x="63" y="177"/>
                    </a:cubicBezTo>
                    <a:cubicBezTo>
                      <a:pt x="63" y="184"/>
                      <a:pt x="68" y="189"/>
                      <a:pt x="74" y="189"/>
                    </a:cubicBezTo>
                    <a:cubicBezTo>
                      <a:pt x="81" y="189"/>
                      <a:pt x="86" y="184"/>
                      <a:pt x="86" y="177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6" y="8"/>
                      <a:pt x="83" y="2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Freeform 18"/>
              <p:cNvSpPr>
                <a:spLocks/>
              </p:cNvSpPr>
              <p:nvPr/>
            </p:nvSpPr>
            <p:spPr bwMode="black">
              <a:xfrm>
                <a:off x="9051925" y="4089928"/>
                <a:ext cx="265113" cy="206375"/>
              </a:xfrm>
              <a:custGeom>
                <a:avLst/>
                <a:gdLst>
                  <a:gd name="T0" fmla="*/ 30 w 71"/>
                  <a:gd name="T1" fmla="*/ 33 h 55"/>
                  <a:gd name="T2" fmla="*/ 18 w 71"/>
                  <a:gd name="T3" fmla="*/ 6 h 55"/>
                  <a:gd name="T4" fmla="*/ 6 w 71"/>
                  <a:gd name="T5" fmla="*/ 2 h 55"/>
                  <a:gd name="T6" fmla="*/ 2 w 71"/>
                  <a:gd name="T7" fmla="*/ 14 h 55"/>
                  <a:gd name="T8" fmla="*/ 20 w 71"/>
                  <a:gd name="T9" fmla="*/ 50 h 55"/>
                  <a:gd name="T10" fmla="*/ 25 w 71"/>
                  <a:gd name="T11" fmla="*/ 55 h 55"/>
                  <a:gd name="T12" fmla="*/ 27 w 71"/>
                  <a:gd name="T13" fmla="*/ 55 h 55"/>
                  <a:gd name="T14" fmla="*/ 33 w 71"/>
                  <a:gd name="T15" fmla="*/ 53 h 55"/>
                  <a:gd name="T16" fmla="*/ 67 w 71"/>
                  <a:gd name="T17" fmla="*/ 27 h 55"/>
                  <a:gd name="T18" fmla="*/ 69 w 71"/>
                  <a:gd name="T19" fmla="*/ 15 h 55"/>
                  <a:gd name="T20" fmla="*/ 56 w 71"/>
                  <a:gd name="T21" fmla="*/ 13 h 55"/>
                  <a:gd name="T22" fmla="*/ 30 w 71"/>
                  <a:gd name="T23" fmla="*/ 3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1" h="55">
                    <a:moveTo>
                      <a:pt x="30" y="33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6" y="2"/>
                      <a:pt x="10" y="0"/>
                      <a:pt x="6" y="2"/>
                    </a:cubicBezTo>
                    <a:cubicBezTo>
                      <a:pt x="2" y="4"/>
                      <a:pt x="0" y="10"/>
                      <a:pt x="2" y="14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3"/>
                      <a:pt x="23" y="54"/>
                      <a:pt x="25" y="55"/>
                    </a:cubicBezTo>
                    <a:cubicBezTo>
                      <a:pt x="26" y="55"/>
                      <a:pt x="27" y="55"/>
                      <a:pt x="27" y="55"/>
                    </a:cubicBezTo>
                    <a:cubicBezTo>
                      <a:pt x="29" y="55"/>
                      <a:pt x="31" y="55"/>
                      <a:pt x="33" y="53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71" y="24"/>
                      <a:pt x="71" y="18"/>
                      <a:pt x="69" y="15"/>
                    </a:cubicBezTo>
                    <a:cubicBezTo>
                      <a:pt x="66" y="11"/>
                      <a:pt x="60" y="10"/>
                      <a:pt x="56" y="13"/>
                    </a:cubicBezTo>
                    <a:lnTo>
                      <a:pt x="30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5" name="Freeform 19"/>
              <p:cNvSpPr>
                <a:spLocks/>
              </p:cNvSpPr>
              <p:nvPr/>
            </p:nvSpPr>
            <p:spPr bwMode="black">
              <a:xfrm>
                <a:off x="8953500" y="3958166"/>
                <a:ext cx="90488" cy="165100"/>
              </a:xfrm>
              <a:custGeom>
                <a:avLst/>
                <a:gdLst>
                  <a:gd name="T0" fmla="*/ 24 w 24"/>
                  <a:gd name="T1" fmla="*/ 27 h 44"/>
                  <a:gd name="T2" fmla="*/ 24 w 24"/>
                  <a:gd name="T3" fmla="*/ 17 h 44"/>
                  <a:gd name="T4" fmla="*/ 24 w 24"/>
                  <a:gd name="T5" fmla="*/ 16 h 44"/>
                  <a:gd name="T6" fmla="*/ 0 w 24"/>
                  <a:gd name="T7" fmla="*/ 0 h 44"/>
                  <a:gd name="T8" fmla="*/ 0 w 24"/>
                  <a:gd name="T9" fmla="*/ 44 h 44"/>
                  <a:gd name="T10" fmla="*/ 24 w 24"/>
                  <a:gd name="T11" fmla="*/ 28 h 44"/>
                  <a:gd name="T12" fmla="*/ 24 w 24"/>
                  <a:gd name="T13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44">
                    <a:moveTo>
                      <a:pt x="24" y="27"/>
                    </a:moveTo>
                    <a:cubicBezTo>
                      <a:pt x="24" y="17"/>
                      <a:pt x="24" y="17"/>
                      <a:pt x="24" y="17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7"/>
                      <a:pt x="24" y="27"/>
                      <a:pt x="24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Freeform 20"/>
              <p:cNvSpPr>
                <a:spLocks/>
              </p:cNvSpPr>
              <p:nvPr/>
            </p:nvSpPr>
            <p:spPr bwMode="black">
              <a:xfrm>
                <a:off x="9055100" y="4010553"/>
                <a:ext cx="68263" cy="60325"/>
              </a:xfrm>
              <a:custGeom>
                <a:avLst/>
                <a:gdLst>
                  <a:gd name="T0" fmla="*/ 3 w 18"/>
                  <a:gd name="T1" fmla="*/ 16 h 16"/>
                  <a:gd name="T2" fmla="*/ 15 w 18"/>
                  <a:gd name="T3" fmla="*/ 16 h 16"/>
                  <a:gd name="T4" fmla="*/ 18 w 18"/>
                  <a:gd name="T5" fmla="*/ 13 h 16"/>
                  <a:gd name="T6" fmla="*/ 18 w 18"/>
                  <a:gd name="T7" fmla="*/ 3 h 16"/>
                  <a:gd name="T8" fmla="*/ 15 w 18"/>
                  <a:gd name="T9" fmla="*/ 0 h 16"/>
                  <a:gd name="T10" fmla="*/ 3 w 18"/>
                  <a:gd name="T11" fmla="*/ 0 h 16"/>
                  <a:gd name="T12" fmla="*/ 0 w 18"/>
                  <a:gd name="T13" fmla="*/ 3 h 16"/>
                  <a:gd name="T14" fmla="*/ 0 w 18"/>
                  <a:gd name="T15" fmla="*/ 13 h 16"/>
                  <a:gd name="T16" fmla="*/ 3 w 1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6">
                    <a:moveTo>
                      <a:pt x="3" y="16"/>
                    </a:move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6"/>
                      <a:pt x="18" y="15"/>
                      <a:pt x="18" y="1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1"/>
                      <a:pt x="17" y="0"/>
                      <a:pt x="15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1" y="16"/>
                      <a:pt x="3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Freeform 21"/>
              <p:cNvSpPr>
                <a:spLocks/>
              </p:cNvSpPr>
              <p:nvPr/>
            </p:nvSpPr>
            <p:spPr bwMode="black">
              <a:xfrm>
                <a:off x="8920162" y="3943878"/>
                <a:ext cx="19050" cy="195263"/>
              </a:xfrm>
              <a:custGeom>
                <a:avLst/>
                <a:gdLst>
                  <a:gd name="T0" fmla="*/ 3 w 5"/>
                  <a:gd name="T1" fmla="*/ 0 h 52"/>
                  <a:gd name="T2" fmla="*/ 2 w 5"/>
                  <a:gd name="T3" fmla="*/ 0 h 52"/>
                  <a:gd name="T4" fmla="*/ 0 w 5"/>
                  <a:gd name="T5" fmla="*/ 2 h 52"/>
                  <a:gd name="T6" fmla="*/ 0 w 5"/>
                  <a:gd name="T7" fmla="*/ 50 h 52"/>
                  <a:gd name="T8" fmla="*/ 2 w 5"/>
                  <a:gd name="T9" fmla="*/ 52 h 52"/>
                  <a:gd name="T10" fmla="*/ 3 w 5"/>
                  <a:gd name="T11" fmla="*/ 52 h 52"/>
                  <a:gd name="T12" fmla="*/ 5 w 5"/>
                  <a:gd name="T13" fmla="*/ 50 h 52"/>
                  <a:gd name="T14" fmla="*/ 5 w 5"/>
                  <a:gd name="T15" fmla="*/ 2 h 52"/>
                  <a:gd name="T16" fmla="*/ 3 w 5"/>
                  <a:gd name="T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2">
                    <a:moveTo>
                      <a:pt x="3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1"/>
                      <a:pt x="1" y="52"/>
                      <a:pt x="2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4" y="52"/>
                      <a:pt x="5" y="51"/>
                      <a:pt x="5" y="5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en-US" sz="1600" b="1" dirty="0">
                  <a:solidFill>
                    <a:srgbClr val="FFFFFF"/>
                  </a:solidFill>
                  <a:latin typeface="NotesStyle-Medium" pitchFamily="2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1" name="Rectangle 70"/>
            <p:cNvSpPr/>
            <p:nvPr/>
          </p:nvSpPr>
          <p:spPr>
            <a:xfrm>
              <a:off x="10204188" y="78776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638448" y="1005607"/>
            <a:ext cx="792000" cy="792000"/>
            <a:chOff x="9806864" y="833392"/>
            <a:chExt cx="792000" cy="792000"/>
          </a:xfrm>
        </p:grpSpPr>
        <p:sp>
          <p:nvSpPr>
            <p:cNvPr id="79" name="Rectangle 3"/>
            <p:cNvSpPr/>
            <p:nvPr>
              <p:custDataLst>
                <p:tags r:id="rId8"/>
              </p:custDataLst>
            </p:nvPr>
          </p:nvSpPr>
          <p:spPr>
            <a:xfrm>
              <a:off x="9943870" y="859400"/>
              <a:ext cx="517989" cy="739985"/>
            </a:xfrm>
            <a:custGeom>
              <a:avLst/>
              <a:gdLst/>
              <a:ahLst/>
              <a:cxnLst/>
              <a:rect l="l" t="t" r="r" b="b"/>
              <a:pathLst>
                <a:path w="2054383" h="2910922">
                  <a:moveTo>
                    <a:pt x="1416893" y="2072251"/>
                  </a:moveTo>
                  <a:cubicBezTo>
                    <a:pt x="1482822" y="2072877"/>
                    <a:pt x="1541613" y="2085113"/>
                    <a:pt x="1586990" y="2122499"/>
                  </a:cubicBezTo>
                  <a:cubicBezTo>
                    <a:pt x="1581963" y="2141083"/>
                    <a:pt x="1579593" y="2162835"/>
                    <a:pt x="1579900" y="2188601"/>
                  </a:cubicBezTo>
                  <a:cubicBezTo>
                    <a:pt x="1521904" y="2131027"/>
                    <a:pt x="1319025" y="2094648"/>
                    <a:pt x="1147147" y="2129130"/>
                  </a:cubicBezTo>
                  <a:lnTo>
                    <a:pt x="1129432" y="2159498"/>
                  </a:lnTo>
                  <a:lnTo>
                    <a:pt x="944690" y="2159498"/>
                  </a:lnTo>
                  <a:lnTo>
                    <a:pt x="911790" y="2134191"/>
                  </a:lnTo>
                  <a:cubicBezTo>
                    <a:pt x="797697" y="2120272"/>
                    <a:pt x="586804" y="2094965"/>
                    <a:pt x="484099" y="2194928"/>
                  </a:cubicBezTo>
                  <a:cubicBezTo>
                    <a:pt x="487550" y="2165021"/>
                    <a:pt x="487236" y="2139255"/>
                    <a:pt x="478582" y="2113403"/>
                  </a:cubicBezTo>
                  <a:cubicBezTo>
                    <a:pt x="607741" y="2023922"/>
                    <a:pt x="830997" y="2109822"/>
                    <a:pt x="1024724" y="2103148"/>
                  </a:cubicBezTo>
                  <a:lnTo>
                    <a:pt x="1024724" y="2103190"/>
                  </a:lnTo>
                  <a:cubicBezTo>
                    <a:pt x="1154265" y="2108172"/>
                    <a:pt x="1297318" y="2071116"/>
                    <a:pt x="1416893" y="2072251"/>
                  </a:cubicBezTo>
                  <a:close/>
                  <a:moveTo>
                    <a:pt x="1416893" y="2041625"/>
                  </a:moveTo>
                  <a:cubicBezTo>
                    <a:pt x="1487192" y="2039357"/>
                    <a:pt x="1549376" y="2050536"/>
                    <a:pt x="1595431" y="2093318"/>
                  </a:cubicBezTo>
                  <a:cubicBezTo>
                    <a:pt x="1591950" y="2100818"/>
                    <a:pt x="1589337" y="2109102"/>
                    <a:pt x="1587958" y="2118281"/>
                  </a:cubicBezTo>
                  <a:cubicBezTo>
                    <a:pt x="1539454" y="2078935"/>
                    <a:pt x="1466268" y="2067602"/>
                    <a:pt x="1387992" y="2067899"/>
                  </a:cubicBezTo>
                  <a:cubicBezTo>
                    <a:pt x="1247290" y="2068432"/>
                    <a:pt x="1090140" y="2106542"/>
                    <a:pt x="1027570" y="2090343"/>
                  </a:cubicBezTo>
                  <a:cubicBezTo>
                    <a:pt x="1027570" y="2090196"/>
                    <a:pt x="1027570" y="2090050"/>
                    <a:pt x="1027570" y="2089904"/>
                  </a:cubicBezTo>
                  <a:lnTo>
                    <a:pt x="1026147" y="2090123"/>
                  </a:lnTo>
                  <a:lnTo>
                    <a:pt x="1024723" y="2089904"/>
                  </a:lnTo>
                  <a:cubicBezTo>
                    <a:pt x="1024723" y="2090050"/>
                    <a:pt x="1024723" y="2090196"/>
                    <a:pt x="1024723" y="2090343"/>
                  </a:cubicBezTo>
                  <a:cubicBezTo>
                    <a:pt x="962154" y="2106542"/>
                    <a:pt x="805004" y="2068432"/>
                    <a:pt x="664301" y="2067899"/>
                  </a:cubicBezTo>
                  <a:cubicBezTo>
                    <a:pt x="592633" y="2067627"/>
                    <a:pt x="525232" y="2077104"/>
                    <a:pt x="477006" y="2108812"/>
                  </a:cubicBezTo>
                  <a:cubicBezTo>
                    <a:pt x="474420" y="2100797"/>
                    <a:pt x="470793" y="2092840"/>
                    <a:pt x="466219" y="2084748"/>
                  </a:cubicBezTo>
                  <a:cubicBezTo>
                    <a:pt x="593560" y="1984764"/>
                    <a:pt x="824863" y="2089973"/>
                    <a:pt x="1024730" y="2083192"/>
                  </a:cubicBezTo>
                  <a:lnTo>
                    <a:pt x="1024724" y="2083261"/>
                  </a:lnTo>
                  <a:cubicBezTo>
                    <a:pt x="1154265" y="2088243"/>
                    <a:pt x="1297318" y="2045481"/>
                    <a:pt x="1416893" y="2041625"/>
                  </a:cubicBezTo>
                  <a:close/>
                  <a:moveTo>
                    <a:pt x="633098" y="1999258"/>
                  </a:moveTo>
                  <a:cubicBezTo>
                    <a:pt x="767607" y="1997339"/>
                    <a:pt x="899155" y="2043662"/>
                    <a:pt x="1008417" y="2049485"/>
                  </a:cubicBezTo>
                  <a:cubicBezTo>
                    <a:pt x="1017100" y="2052715"/>
                    <a:pt x="1024354" y="2056655"/>
                    <a:pt x="1027191" y="2062383"/>
                  </a:cubicBezTo>
                  <a:cubicBezTo>
                    <a:pt x="1028613" y="2056445"/>
                    <a:pt x="1034909" y="2052576"/>
                    <a:pt x="1043069" y="2049759"/>
                  </a:cubicBezTo>
                  <a:cubicBezTo>
                    <a:pt x="1229717" y="2045403"/>
                    <a:pt x="1397585" y="1944639"/>
                    <a:pt x="1620391" y="2045616"/>
                  </a:cubicBezTo>
                  <a:cubicBezTo>
                    <a:pt x="1612660" y="2056765"/>
                    <a:pt x="1605245" y="2069015"/>
                    <a:pt x="1599534" y="2083580"/>
                  </a:cubicBezTo>
                  <a:cubicBezTo>
                    <a:pt x="1556828" y="2043901"/>
                    <a:pt x="1483909" y="2033856"/>
                    <a:pt x="1403442" y="2036240"/>
                  </a:cubicBezTo>
                  <a:cubicBezTo>
                    <a:pt x="1259853" y="2040493"/>
                    <a:pt x="1092228" y="2084322"/>
                    <a:pt x="1026626" y="2072888"/>
                  </a:cubicBezTo>
                  <a:lnTo>
                    <a:pt x="1026620" y="2072821"/>
                  </a:lnTo>
                  <a:lnTo>
                    <a:pt x="1026147" y="2072854"/>
                  </a:lnTo>
                  <a:lnTo>
                    <a:pt x="1025673" y="2072821"/>
                  </a:lnTo>
                  <a:lnTo>
                    <a:pt x="1025667" y="2072888"/>
                  </a:lnTo>
                  <a:cubicBezTo>
                    <a:pt x="960065" y="2084322"/>
                    <a:pt x="792440" y="2040493"/>
                    <a:pt x="648851" y="2036240"/>
                  </a:cubicBezTo>
                  <a:cubicBezTo>
                    <a:pt x="573411" y="2034005"/>
                    <a:pt x="504606" y="2042695"/>
                    <a:pt x="461233" y="2076730"/>
                  </a:cubicBezTo>
                  <a:cubicBezTo>
                    <a:pt x="455267" y="2066629"/>
                    <a:pt x="447698" y="2056378"/>
                    <a:pt x="438546" y="2045616"/>
                  </a:cubicBezTo>
                  <a:cubicBezTo>
                    <a:pt x="502638" y="2012334"/>
                    <a:pt x="568213" y="2000183"/>
                    <a:pt x="633098" y="1999258"/>
                  </a:cubicBezTo>
                  <a:close/>
                  <a:moveTo>
                    <a:pt x="1425916" y="1357361"/>
                  </a:moveTo>
                  <a:cubicBezTo>
                    <a:pt x="1319532" y="1362116"/>
                    <a:pt x="1218086" y="1399701"/>
                    <a:pt x="1110768" y="1390844"/>
                  </a:cubicBezTo>
                  <a:lnTo>
                    <a:pt x="1112982" y="1419947"/>
                  </a:lnTo>
                  <a:cubicBezTo>
                    <a:pt x="1296881" y="1423005"/>
                    <a:pt x="1402960" y="1352988"/>
                    <a:pt x="1532765" y="1393058"/>
                  </a:cubicBezTo>
                  <a:lnTo>
                    <a:pt x="1534347" y="1366486"/>
                  </a:lnTo>
                  <a:cubicBezTo>
                    <a:pt x="1497388" y="1357839"/>
                    <a:pt x="1461377" y="1355776"/>
                    <a:pt x="1425916" y="1357361"/>
                  </a:cubicBezTo>
                  <a:close/>
                  <a:moveTo>
                    <a:pt x="616888" y="1357361"/>
                  </a:moveTo>
                  <a:cubicBezTo>
                    <a:pt x="581427" y="1355776"/>
                    <a:pt x="545417" y="1357839"/>
                    <a:pt x="508457" y="1366486"/>
                  </a:cubicBezTo>
                  <a:lnTo>
                    <a:pt x="510039" y="1393058"/>
                  </a:lnTo>
                  <a:cubicBezTo>
                    <a:pt x="639844" y="1352988"/>
                    <a:pt x="745923" y="1423005"/>
                    <a:pt x="929822" y="1419947"/>
                  </a:cubicBezTo>
                  <a:lnTo>
                    <a:pt x="932036" y="1390844"/>
                  </a:lnTo>
                  <a:cubicBezTo>
                    <a:pt x="824718" y="1399701"/>
                    <a:pt x="723272" y="1362116"/>
                    <a:pt x="616888" y="1357361"/>
                  </a:cubicBezTo>
                  <a:close/>
                  <a:moveTo>
                    <a:pt x="1425916" y="1282339"/>
                  </a:moveTo>
                  <a:cubicBezTo>
                    <a:pt x="1319532" y="1287094"/>
                    <a:pt x="1218086" y="1324679"/>
                    <a:pt x="1110768" y="1315821"/>
                  </a:cubicBezTo>
                  <a:lnTo>
                    <a:pt x="1112982" y="1344924"/>
                  </a:lnTo>
                  <a:cubicBezTo>
                    <a:pt x="1296881" y="1347982"/>
                    <a:pt x="1402960" y="1277965"/>
                    <a:pt x="1532765" y="1318035"/>
                  </a:cubicBezTo>
                  <a:lnTo>
                    <a:pt x="1534347" y="1291463"/>
                  </a:lnTo>
                  <a:cubicBezTo>
                    <a:pt x="1497388" y="1282816"/>
                    <a:pt x="1461377" y="1280754"/>
                    <a:pt x="1425916" y="1282339"/>
                  </a:cubicBezTo>
                  <a:close/>
                  <a:moveTo>
                    <a:pt x="616888" y="1282339"/>
                  </a:moveTo>
                  <a:cubicBezTo>
                    <a:pt x="581427" y="1280754"/>
                    <a:pt x="545417" y="1282816"/>
                    <a:pt x="508457" y="1291463"/>
                  </a:cubicBezTo>
                  <a:lnTo>
                    <a:pt x="510039" y="1318035"/>
                  </a:lnTo>
                  <a:cubicBezTo>
                    <a:pt x="639844" y="1277965"/>
                    <a:pt x="745923" y="1347982"/>
                    <a:pt x="929822" y="1344924"/>
                  </a:cubicBezTo>
                  <a:lnTo>
                    <a:pt x="932036" y="1315821"/>
                  </a:lnTo>
                  <a:cubicBezTo>
                    <a:pt x="824718" y="1324679"/>
                    <a:pt x="723272" y="1287094"/>
                    <a:pt x="616888" y="1282339"/>
                  </a:cubicBezTo>
                  <a:close/>
                  <a:moveTo>
                    <a:pt x="1418290" y="1128477"/>
                  </a:moveTo>
                  <a:cubicBezTo>
                    <a:pt x="1475240" y="1130686"/>
                    <a:pt x="1533105" y="1148604"/>
                    <a:pt x="1593565" y="1196055"/>
                  </a:cubicBezTo>
                  <a:lnTo>
                    <a:pt x="1623934" y="2036000"/>
                  </a:lnTo>
                  <a:cubicBezTo>
                    <a:pt x="1301394" y="1897443"/>
                    <a:pt x="1233191" y="2036000"/>
                    <a:pt x="1037820" y="2036000"/>
                  </a:cubicBezTo>
                  <a:lnTo>
                    <a:pt x="1037820" y="1194789"/>
                  </a:lnTo>
                  <a:cubicBezTo>
                    <a:pt x="1172138" y="1194789"/>
                    <a:pt x="1292999" y="1123618"/>
                    <a:pt x="1418290" y="1128477"/>
                  </a:cubicBezTo>
                  <a:close/>
                  <a:moveTo>
                    <a:pt x="636093" y="1128477"/>
                  </a:moveTo>
                  <a:cubicBezTo>
                    <a:pt x="761383" y="1123618"/>
                    <a:pt x="882244" y="1194789"/>
                    <a:pt x="1016562" y="1194789"/>
                  </a:cubicBezTo>
                  <a:lnTo>
                    <a:pt x="1016562" y="2036000"/>
                  </a:lnTo>
                  <a:cubicBezTo>
                    <a:pt x="821191" y="2036000"/>
                    <a:pt x="752988" y="1897443"/>
                    <a:pt x="430448" y="2036000"/>
                  </a:cubicBezTo>
                  <a:lnTo>
                    <a:pt x="460817" y="1196055"/>
                  </a:lnTo>
                  <a:cubicBezTo>
                    <a:pt x="521277" y="1148604"/>
                    <a:pt x="579143" y="1130686"/>
                    <a:pt x="636093" y="1128477"/>
                  </a:cubicBezTo>
                  <a:close/>
                  <a:moveTo>
                    <a:pt x="152065" y="206751"/>
                  </a:moveTo>
                  <a:lnTo>
                    <a:pt x="815751" y="206751"/>
                  </a:lnTo>
                  <a:cubicBezTo>
                    <a:pt x="801205" y="215681"/>
                    <a:pt x="783240" y="222603"/>
                    <a:pt x="761392" y="229833"/>
                  </a:cubicBezTo>
                  <a:lnTo>
                    <a:pt x="757670" y="229833"/>
                  </a:lnTo>
                  <a:lnTo>
                    <a:pt x="757670" y="231285"/>
                  </a:lnTo>
                  <a:lnTo>
                    <a:pt x="755461" y="232147"/>
                  </a:lnTo>
                  <a:lnTo>
                    <a:pt x="757670" y="232138"/>
                  </a:lnTo>
                  <a:lnTo>
                    <a:pt x="757670" y="410220"/>
                  </a:lnTo>
                  <a:lnTo>
                    <a:pt x="136193" y="410220"/>
                  </a:lnTo>
                  <a:lnTo>
                    <a:pt x="136193" y="2662330"/>
                  </a:lnTo>
                  <a:lnTo>
                    <a:pt x="1924754" y="2662330"/>
                  </a:lnTo>
                  <a:lnTo>
                    <a:pt x="1924754" y="410220"/>
                  </a:lnTo>
                  <a:lnTo>
                    <a:pt x="1296714" y="410220"/>
                  </a:lnTo>
                  <a:lnTo>
                    <a:pt x="1296714" y="232138"/>
                  </a:lnTo>
                  <a:lnTo>
                    <a:pt x="1298921" y="232147"/>
                  </a:lnTo>
                  <a:lnTo>
                    <a:pt x="1296714" y="231285"/>
                  </a:lnTo>
                  <a:lnTo>
                    <a:pt x="1296714" y="229833"/>
                  </a:lnTo>
                  <a:lnTo>
                    <a:pt x="1292992" y="229833"/>
                  </a:lnTo>
                  <a:cubicBezTo>
                    <a:pt x="1271144" y="222603"/>
                    <a:pt x="1253177" y="215681"/>
                    <a:pt x="1238633" y="206751"/>
                  </a:cubicBezTo>
                  <a:lnTo>
                    <a:pt x="1902318" y="206751"/>
                  </a:lnTo>
                  <a:cubicBezTo>
                    <a:pt x="1986301" y="206751"/>
                    <a:pt x="2054383" y="274833"/>
                    <a:pt x="2054383" y="358817"/>
                  </a:cubicBezTo>
                  <a:lnTo>
                    <a:pt x="2054383" y="2758857"/>
                  </a:lnTo>
                  <a:cubicBezTo>
                    <a:pt x="2054383" y="2842840"/>
                    <a:pt x="1986301" y="2910922"/>
                    <a:pt x="1902318" y="2910922"/>
                  </a:cubicBezTo>
                  <a:lnTo>
                    <a:pt x="152065" y="2910922"/>
                  </a:lnTo>
                  <a:cubicBezTo>
                    <a:pt x="68083" y="2910922"/>
                    <a:pt x="0" y="2842840"/>
                    <a:pt x="0" y="2758857"/>
                  </a:cubicBezTo>
                  <a:lnTo>
                    <a:pt x="0" y="358817"/>
                  </a:lnTo>
                  <a:cubicBezTo>
                    <a:pt x="0" y="274833"/>
                    <a:pt x="68083" y="206751"/>
                    <a:pt x="152065" y="206751"/>
                  </a:cubicBezTo>
                  <a:close/>
                  <a:moveTo>
                    <a:pt x="1027192" y="65635"/>
                  </a:moveTo>
                  <a:cubicBezTo>
                    <a:pt x="991510" y="65635"/>
                    <a:pt x="962583" y="94562"/>
                    <a:pt x="962583" y="130245"/>
                  </a:cubicBezTo>
                  <a:cubicBezTo>
                    <a:pt x="962583" y="165927"/>
                    <a:pt x="991510" y="194854"/>
                    <a:pt x="1027192" y="194854"/>
                  </a:cubicBezTo>
                  <a:cubicBezTo>
                    <a:pt x="1062874" y="194854"/>
                    <a:pt x="1091801" y="165927"/>
                    <a:pt x="1091801" y="130245"/>
                  </a:cubicBezTo>
                  <a:cubicBezTo>
                    <a:pt x="1091801" y="94562"/>
                    <a:pt x="1062874" y="65635"/>
                    <a:pt x="1027192" y="65635"/>
                  </a:cubicBezTo>
                  <a:close/>
                  <a:moveTo>
                    <a:pt x="1022052" y="0"/>
                  </a:moveTo>
                  <a:lnTo>
                    <a:pt x="1027192" y="952"/>
                  </a:lnTo>
                  <a:lnTo>
                    <a:pt x="1032330" y="0"/>
                  </a:lnTo>
                  <a:cubicBezTo>
                    <a:pt x="1099144" y="0"/>
                    <a:pt x="1154151" y="49992"/>
                    <a:pt x="1159147" y="114435"/>
                  </a:cubicBezTo>
                  <a:lnTo>
                    <a:pt x="1159834" y="114487"/>
                  </a:lnTo>
                  <a:cubicBezTo>
                    <a:pt x="1173754" y="205539"/>
                    <a:pt x="1199690" y="225374"/>
                    <a:pt x="1273971" y="248867"/>
                  </a:cubicBezTo>
                  <a:lnTo>
                    <a:pt x="1277426" y="248867"/>
                  </a:lnTo>
                  <a:lnTo>
                    <a:pt x="1277426" y="250155"/>
                  </a:lnTo>
                  <a:lnTo>
                    <a:pt x="1279476" y="250921"/>
                  </a:lnTo>
                  <a:lnTo>
                    <a:pt x="1277426" y="250912"/>
                  </a:lnTo>
                  <a:lnTo>
                    <a:pt x="1277426" y="435368"/>
                  </a:lnTo>
                  <a:cubicBezTo>
                    <a:pt x="1289733" y="435939"/>
                    <a:pt x="1301388" y="436707"/>
                    <a:pt x="1312282" y="437568"/>
                  </a:cubicBezTo>
                  <a:cubicBezTo>
                    <a:pt x="1462358" y="449418"/>
                    <a:pt x="1558113" y="470385"/>
                    <a:pt x="1624404" y="508672"/>
                  </a:cubicBezTo>
                  <a:cubicBezTo>
                    <a:pt x="1690696" y="546959"/>
                    <a:pt x="1698983" y="592996"/>
                    <a:pt x="1696221" y="645412"/>
                  </a:cubicBezTo>
                  <a:cubicBezTo>
                    <a:pt x="1690737" y="646104"/>
                    <a:pt x="1671055" y="647063"/>
                    <a:pt x="1640233" y="648148"/>
                  </a:cubicBezTo>
                  <a:lnTo>
                    <a:pt x="354130" y="648148"/>
                  </a:lnTo>
                  <a:cubicBezTo>
                    <a:pt x="354675" y="582341"/>
                    <a:pt x="386879" y="526881"/>
                    <a:pt x="447729" y="492263"/>
                  </a:cubicBezTo>
                  <a:cubicBezTo>
                    <a:pt x="509421" y="457166"/>
                    <a:pt x="579852" y="449418"/>
                    <a:pt x="723944" y="440302"/>
                  </a:cubicBezTo>
                  <a:lnTo>
                    <a:pt x="776956" y="437595"/>
                  </a:lnTo>
                  <a:lnTo>
                    <a:pt x="776956" y="250912"/>
                  </a:lnTo>
                  <a:lnTo>
                    <a:pt x="774906" y="250921"/>
                  </a:lnTo>
                  <a:lnTo>
                    <a:pt x="776956" y="250155"/>
                  </a:lnTo>
                  <a:lnTo>
                    <a:pt x="776956" y="248867"/>
                  </a:lnTo>
                  <a:lnTo>
                    <a:pt x="780411" y="248867"/>
                  </a:lnTo>
                  <a:cubicBezTo>
                    <a:pt x="854692" y="225374"/>
                    <a:pt x="880630" y="205539"/>
                    <a:pt x="894550" y="114487"/>
                  </a:cubicBezTo>
                  <a:lnTo>
                    <a:pt x="895237" y="114435"/>
                  </a:lnTo>
                  <a:cubicBezTo>
                    <a:pt x="900233" y="49992"/>
                    <a:pt x="955239" y="0"/>
                    <a:pt x="1022052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9806864" y="83339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6405373" y="1063210"/>
            <a:ext cx="792000" cy="792000"/>
            <a:chOff x="9936796" y="460584"/>
            <a:chExt cx="792000" cy="792000"/>
          </a:xfrm>
        </p:grpSpPr>
        <p:sp>
          <p:nvSpPr>
            <p:cNvPr id="82" name="Freeform 81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black">
            <a:xfrm>
              <a:off x="10088246" y="558156"/>
              <a:ext cx="489100" cy="596857"/>
            </a:xfrm>
            <a:custGeom>
              <a:avLst/>
              <a:gdLst>
                <a:gd name="T0" fmla="*/ 129 w 246"/>
                <a:gd name="T1" fmla="*/ 192 h 300"/>
                <a:gd name="T2" fmla="*/ 43 w 246"/>
                <a:gd name="T3" fmla="*/ 202 h 300"/>
                <a:gd name="T4" fmla="*/ 129 w 246"/>
                <a:gd name="T5" fmla="*/ 126 h 300"/>
                <a:gd name="T6" fmla="*/ 43 w 246"/>
                <a:gd name="T7" fmla="*/ 135 h 300"/>
                <a:gd name="T8" fmla="*/ 129 w 246"/>
                <a:gd name="T9" fmla="*/ 126 h 300"/>
                <a:gd name="T10" fmla="*/ 215 w 246"/>
                <a:gd name="T11" fmla="*/ 101 h 300"/>
                <a:gd name="T12" fmla="*/ 219 w 246"/>
                <a:gd name="T13" fmla="*/ 90 h 300"/>
                <a:gd name="T14" fmla="*/ 208 w 246"/>
                <a:gd name="T15" fmla="*/ 111 h 300"/>
                <a:gd name="T16" fmla="*/ 43 w 246"/>
                <a:gd name="T17" fmla="*/ 92 h 300"/>
                <a:gd name="T18" fmla="*/ 117 w 246"/>
                <a:gd name="T19" fmla="*/ 102 h 300"/>
                <a:gd name="T20" fmla="*/ 43 w 246"/>
                <a:gd name="T21" fmla="*/ 235 h 300"/>
                <a:gd name="T22" fmla="*/ 117 w 246"/>
                <a:gd name="T23" fmla="*/ 226 h 300"/>
                <a:gd name="T24" fmla="*/ 43 w 246"/>
                <a:gd name="T25" fmla="*/ 235 h 300"/>
                <a:gd name="T26" fmla="*/ 11 w 246"/>
                <a:gd name="T27" fmla="*/ 287 h 300"/>
                <a:gd name="T28" fmla="*/ 35 w 246"/>
                <a:gd name="T29" fmla="*/ 36 h 300"/>
                <a:gd name="T30" fmla="*/ 0 w 246"/>
                <a:gd name="T31" fmla="*/ 22 h 300"/>
                <a:gd name="T32" fmla="*/ 219 w 246"/>
                <a:gd name="T33" fmla="*/ 300 h 300"/>
                <a:gd name="T34" fmla="*/ 208 w 246"/>
                <a:gd name="T35" fmla="*/ 173 h 300"/>
                <a:gd name="T36" fmla="*/ 117 w 246"/>
                <a:gd name="T37" fmla="*/ 159 h 300"/>
                <a:gd name="T38" fmla="*/ 43 w 246"/>
                <a:gd name="T39" fmla="*/ 169 h 300"/>
                <a:gd name="T40" fmla="*/ 117 w 246"/>
                <a:gd name="T41" fmla="*/ 159 h 300"/>
                <a:gd name="T42" fmla="*/ 57 w 246"/>
                <a:gd name="T43" fmla="*/ 22 h 300"/>
                <a:gd name="T44" fmla="*/ 86 w 246"/>
                <a:gd name="T45" fmla="*/ 20 h 300"/>
                <a:gd name="T46" fmla="*/ 110 w 246"/>
                <a:gd name="T47" fmla="*/ 0 h 300"/>
                <a:gd name="T48" fmla="*/ 133 w 246"/>
                <a:gd name="T49" fmla="*/ 20 h 300"/>
                <a:gd name="T50" fmla="*/ 162 w 246"/>
                <a:gd name="T51" fmla="*/ 22 h 300"/>
                <a:gd name="T52" fmla="*/ 179 w 246"/>
                <a:gd name="T53" fmla="*/ 43 h 300"/>
                <a:gd name="T54" fmla="*/ 41 w 246"/>
                <a:gd name="T55" fmla="*/ 36 h 300"/>
                <a:gd name="T56" fmla="*/ 110 w 246"/>
                <a:gd name="T57" fmla="*/ 20 h 300"/>
                <a:gd name="T58" fmla="*/ 110 w 246"/>
                <a:gd name="T59" fmla="*/ 11 h 300"/>
                <a:gd name="T60" fmla="*/ 190 w 246"/>
                <a:gd name="T61" fmla="*/ 269 h 300"/>
                <a:gd name="T62" fmla="*/ 29 w 246"/>
                <a:gd name="T63" fmla="*/ 59 h 300"/>
                <a:gd name="T64" fmla="*/ 190 w 246"/>
                <a:gd name="T65" fmla="*/ 71 h 300"/>
                <a:gd name="T66" fmla="*/ 200 w 246"/>
                <a:gd name="T67" fmla="*/ 49 h 300"/>
                <a:gd name="T68" fmla="*/ 19 w 246"/>
                <a:gd name="T69" fmla="*/ 278 h 300"/>
                <a:gd name="T70" fmla="*/ 200 w 246"/>
                <a:gd name="T71" fmla="*/ 185 h 300"/>
                <a:gd name="T72" fmla="*/ 190 w 246"/>
                <a:gd name="T73" fmla="*/ 269 h 300"/>
                <a:gd name="T74" fmla="*/ 190 w 246"/>
                <a:gd name="T75" fmla="*/ 133 h 300"/>
                <a:gd name="T76" fmla="*/ 200 w 246"/>
                <a:gd name="T77" fmla="*/ 124 h 300"/>
                <a:gd name="T78" fmla="*/ 215 w 246"/>
                <a:gd name="T79" fmla="*/ 35 h 300"/>
                <a:gd name="T80" fmla="*/ 219 w 246"/>
                <a:gd name="T81" fmla="*/ 22 h 300"/>
                <a:gd name="T82" fmla="*/ 184 w 246"/>
                <a:gd name="T83" fmla="*/ 36 h 300"/>
                <a:gd name="T84" fmla="*/ 208 w 246"/>
                <a:gd name="T85" fmla="*/ 44 h 300"/>
                <a:gd name="T86" fmla="*/ 246 w 246"/>
                <a:gd name="T87" fmla="*/ 41 h 300"/>
                <a:gd name="T88" fmla="*/ 155 w 246"/>
                <a:gd name="T89" fmla="*/ 134 h 300"/>
                <a:gd name="T90" fmla="*/ 156 w 246"/>
                <a:gd name="T91" fmla="*/ 92 h 300"/>
                <a:gd name="T92" fmla="*/ 218 w 246"/>
                <a:gd name="T93" fmla="*/ 41 h 300"/>
                <a:gd name="T94" fmla="*/ 246 w 246"/>
                <a:gd name="T95" fmla="*/ 107 h 300"/>
                <a:gd name="T96" fmla="*/ 155 w 246"/>
                <a:gd name="T97" fmla="*/ 201 h 300"/>
                <a:gd name="T98" fmla="*/ 156 w 246"/>
                <a:gd name="T99" fmla="*/ 159 h 300"/>
                <a:gd name="T100" fmla="*/ 218 w 246"/>
                <a:gd name="T101" fmla="*/ 10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6" h="300">
                  <a:moveTo>
                    <a:pt x="43" y="192"/>
                  </a:moveTo>
                  <a:cubicBezTo>
                    <a:pt x="129" y="192"/>
                    <a:pt x="129" y="192"/>
                    <a:pt x="129" y="192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43" y="202"/>
                    <a:pt x="43" y="202"/>
                    <a:pt x="43" y="202"/>
                  </a:cubicBezTo>
                  <a:lnTo>
                    <a:pt x="43" y="192"/>
                  </a:lnTo>
                  <a:close/>
                  <a:moveTo>
                    <a:pt x="129" y="126"/>
                  </a:moveTo>
                  <a:cubicBezTo>
                    <a:pt x="43" y="126"/>
                    <a:pt x="43" y="126"/>
                    <a:pt x="43" y="126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129" y="135"/>
                    <a:pt x="129" y="135"/>
                    <a:pt x="129" y="135"/>
                  </a:cubicBezTo>
                  <a:lnTo>
                    <a:pt x="129" y="126"/>
                  </a:lnTo>
                  <a:close/>
                  <a:moveTo>
                    <a:pt x="208" y="111"/>
                  </a:moveTo>
                  <a:cubicBezTo>
                    <a:pt x="215" y="101"/>
                    <a:pt x="215" y="101"/>
                    <a:pt x="215" y="101"/>
                  </a:cubicBezTo>
                  <a:cubicBezTo>
                    <a:pt x="219" y="101"/>
                    <a:pt x="219" y="101"/>
                    <a:pt x="219" y="101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08" y="106"/>
                    <a:pt x="208" y="106"/>
                    <a:pt x="208" y="106"/>
                  </a:cubicBezTo>
                  <a:lnTo>
                    <a:pt x="208" y="111"/>
                  </a:lnTo>
                  <a:close/>
                  <a:moveTo>
                    <a:pt x="117" y="92"/>
                  </a:moveTo>
                  <a:cubicBezTo>
                    <a:pt x="43" y="92"/>
                    <a:pt x="43" y="92"/>
                    <a:pt x="43" y="9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17" y="102"/>
                    <a:pt x="117" y="102"/>
                    <a:pt x="117" y="102"/>
                  </a:cubicBezTo>
                  <a:lnTo>
                    <a:pt x="117" y="92"/>
                  </a:lnTo>
                  <a:close/>
                  <a:moveTo>
                    <a:pt x="43" y="235"/>
                  </a:moveTo>
                  <a:cubicBezTo>
                    <a:pt x="117" y="235"/>
                    <a:pt x="117" y="235"/>
                    <a:pt x="117" y="235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43" y="226"/>
                    <a:pt x="43" y="226"/>
                    <a:pt x="43" y="226"/>
                  </a:cubicBezTo>
                  <a:lnTo>
                    <a:pt x="43" y="235"/>
                  </a:lnTo>
                  <a:close/>
                  <a:moveTo>
                    <a:pt x="208" y="287"/>
                  </a:moveTo>
                  <a:cubicBezTo>
                    <a:pt x="11" y="287"/>
                    <a:pt x="11" y="287"/>
                    <a:pt x="11" y="28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7" y="31"/>
                    <a:pt x="40" y="26"/>
                    <a:pt x="44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219" y="300"/>
                    <a:pt x="219" y="300"/>
                    <a:pt x="219" y="300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08" y="173"/>
                    <a:pt x="208" y="173"/>
                    <a:pt x="208" y="173"/>
                  </a:cubicBezTo>
                  <a:lnTo>
                    <a:pt x="208" y="287"/>
                  </a:lnTo>
                  <a:close/>
                  <a:moveTo>
                    <a:pt x="117" y="159"/>
                  </a:moveTo>
                  <a:cubicBezTo>
                    <a:pt x="43" y="159"/>
                    <a:pt x="43" y="159"/>
                    <a:pt x="43" y="159"/>
                  </a:cubicBezTo>
                  <a:cubicBezTo>
                    <a:pt x="43" y="169"/>
                    <a:pt x="43" y="169"/>
                    <a:pt x="43" y="169"/>
                  </a:cubicBezTo>
                  <a:cubicBezTo>
                    <a:pt x="117" y="169"/>
                    <a:pt x="117" y="169"/>
                    <a:pt x="117" y="169"/>
                  </a:cubicBezTo>
                  <a:lnTo>
                    <a:pt x="117" y="159"/>
                  </a:lnTo>
                  <a:close/>
                  <a:moveTo>
                    <a:pt x="41" y="36"/>
                  </a:moveTo>
                  <a:cubicBezTo>
                    <a:pt x="43" y="29"/>
                    <a:pt x="50" y="25"/>
                    <a:pt x="57" y="22"/>
                  </a:cubicBezTo>
                  <a:cubicBezTo>
                    <a:pt x="63" y="21"/>
                    <a:pt x="71" y="20"/>
                    <a:pt x="77" y="20"/>
                  </a:cubicBezTo>
                  <a:cubicBezTo>
                    <a:pt x="80" y="20"/>
                    <a:pt x="83" y="20"/>
                    <a:pt x="86" y="20"/>
                  </a:cubicBezTo>
                  <a:cubicBezTo>
                    <a:pt x="87" y="20"/>
                    <a:pt x="88" y="20"/>
                    <a:pt x="89" y="20"/>
                  </a:cubicBezTo>
                  <a:cubicBezTo>
                    <a:pt x="89" y="9"/>
                    <a:pt x="98" y="0"/>
                    <a:pt x="110" y="0"/>
                  </a:cubicBezTo>
                  <a:cubicBezTo>
                    <a:pt x="121" y="0"/>
                    <a:pt x="130" y="9"/>
                    <a:pt x="130" y="20"/>
                  </a:cubicBezTo>
                  <a:cubicBezTo>
                    <a:pt x="131" y="20"/>
                    <a:pt x="132" y="20"/>
                    <a:pt x="133" y="20"/>
                  </a:cubicBezTo>
                  <a:cubicBezTo>
                    <a:pt x="136" y="20"/>
                    <a:pt x="139" y="20"/>
                    <a:pt x="142" y="20"/>
                  </a:cubicBezTo>
                  <a:cubicBezTo>
                    <a:pt x="149" y="20"/>
                    <a:pt x="156" y="21"/>
                    <a:pt x="162" y="22"/>
                  </a:cubicBezTo>
                  <a:cubicBezTo>
                    <a:pt x="170" y="25"/>
                    <a:pt x="176" y="29"/>
                    <a:pt x="178" y="36"/>
                  </a:cubicBezTo>
                  <a:cubicBezTo>
                    <a:pt x="179" y="38"/>
                    <a:pt x="179" y="41"/>
                    <a:pt x="179" y="43"/>
                  </a:cubicBezTo>
                  <a:cubicBezTo>
                    <a:pt x="145" y="43"/>
                    <a:pt x="74" y="43"/>
                    <a:pt x="40" y="43"/>
                  </a:cubicBezTo>
                  <a:cubicBezTo>
                    <a:pt x="40" y="41"/>
                    <a:pt x="41" y="38"/>
                    <a:pt x="41" y="36"/>
                  </a:cubicBezTo>
                  <a:close/>
                  <a:moveTo>
                    <a:pt x="99" y="20"/>
                  </a:moveTo>
                  <a:cubicBezTo>
                    <a:pt x="103" y="20"/>
                    <a:pt x="106" y="20"/>
                    <a:pt x="110" y="20"/>
                  </a:cubicBezTo>
                  <a:cubicBezTo>
                    <a:pt x="113" y="20"/>
                    <a:pt x="116" y="20"/>
                    <a:pt x="120" y="20"/>
                  </a:cubicBezTo>
                  <a:cubicBezTo>
                    <a:pt x="119" y="15"/>
                    <a:pt x="115" y="11"/>
                    <a:pt x="110" y="11"/>
                  </a:cubicBezTo>
                  <a:cubicBezTo>
                    <a:pt x="104" y="11"/>
                    <a:pt x="100" y="15"/>
                    <a:pt x="99" y="20"/>
                  </a:cubicBezTo>
                  <a:close/>
                  <a:moveTo>
                    <a:pt x="190" y="269"/>
                  </a:moveTo>
                  <a:cubicBezTo>
                    <a:pt x="29" y="269"/>
                    <a:pt x="29" y="269"/>
                    <a:pt x="29" y="26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190" y="59"/>
                    <a:pt x="190" y="59"/>
                    <a:pt x="190" y="59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49"/>
                    <a:pt x="200" y="49"/>
                    <a:pt x="200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278"/>
                    <a:pt x="19" y="278"/>
                    <a:pt x="19" y="278"/>
                  </a:cubicBezTo>
                  <a:cubicBezTo>
                    <a:pt x="200" y="278"/>
                    <a:pt x="200" y="278"/>
                    <a:pt x="200" y="278"/>
                  </a:cubicBezTo>
                  <a:cubicBezTo>
                    <a:pt x="200" y="185"/>
                    <a:pt x="200" y="185"/>
                    <a:pt x="200" y="185"/>
                  </a:cubicBezTo>
                  <a:cubicBezTo>
                    <a:pt x="190" y="199"/>
                    <a:pt x="190" y="199"/>
                    <a:pt x="190" y="199"/>
                  </a:cubicBezTo>
                  <a:lnTo>
                    <a:pt x="190" y="269"/>
                  </a:lnTo>
                  <a:close/>
                  <a:moveTo>
                    <a:pt x="200" y="119"/>
                  </a:moveTo>
                  <a:cubicBezTo>
                    <a:pt x="190" y="133"/>
                    <a:pt x="190" y="133"/>
                    <a:pt x="190" y="133"/>
                  </a:cubicBezTo>
                  <a:cubicBezTo>
                    <a:pt x="190" y="138"/>
                    <a:pt x="190" y="138"/>
                    <a:pt x="190" y="138"/>
                  </a:cubicBezTo>
                  <a:cubicBezTo>
                    <a:pt x="200" y="124"/>
                    <a:pt x="200" y="124"/>
                    <a:pt x="200" y="124"/>
                  </a:cubicBezTo>
                  <a:lnTo>
                    <a:pt x="200" y="119"/>
                  </a:lnTo>
                  <a:close/>
                  <a:moveTo>
                    <a:pt x="215" y="35"/>
                  </a:moveTo>
                  <a:cubicBezTo>
                    <a:pt x="219" y="35"/>
                    <a:pt x="219" y="35"/>
                    <a:pt x="219" y="35"/>
                  </a:cubicBezTo>
                  <a:cubicBezTo>
                    <a:pt x="219" y="22"/>
                    <a:pt x="219" y="22"/>
                    <a:pt x="219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9" y="26"/>
                    <a:pt x="182" y="30"/>
                    <a:pt x="184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8" y="44"/>
                    <a:pt x="208" y="44"/>
                    <a:pt x="208" y="44"/>
                  </a:cubicBezTo>
                  <a:lnTo>
                    <a:pt x="215" y="35"/>
                  </a:lnTo>
                  <a:close/>
                  <a:moveTo>
                    <a:pt x="246" y="41"/>
                  </a:moveTo>
                  <a:cubicBezTo>
                    <a:pt x="182" y="134"/>
                    <a:pt x="182" y="134"/>
                    <a:pt x="182" y="134"/>
                  </a:cubicBezTo>
                  <a:cubicBezTo>
                    <a:pt x="155" y="134"/>
                    <a:pt x="155" y="134"/>
                    <a:pt x="155" y="134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56" y="92"/>
                    <a:pt x="156" y="92"/>
                    <a:pt x="156" y="92"/>
                  </a:cubicBezTo>
                  <a:cubicBezTo>
                    <a:pt x="169" y="113"/>
                    <a:pt x="169" y="113"/>
                    <a:pt x="169" y="113"/>
                  </a:cubicBezTo>
                  <a:cubicBezTo>
                    <a:pt x="218" y="41"/>
                    <a:pt x="218" y="41"/>
                    <a:pt x="218" y="41"/>
                  </a:cubicBezTo>
                  <a:lnTo>
                    <a:pt x="246" y="41"/>
                  </a:lnTo>
                  <a:close/>
                  <a:moveTo>
                    <a:pt x="246" y="107"/>
                  </a:moveTo>
                  <a:cubicBezTo>
                    <a:pt x="182" y="201"/>
                    <a:pt x="182" y="201"/>
                    <a:pt x="182" y="201"/>
                  </a:cubicBezTo>
                  <a:cubicBezTo>
                    <a:pt x="155" y="201"/>
                    <a:pt x="155" y="201"/>
                    <a:pt x="155" y="201"/>
                  </a:cubicBezTo>
                  <a:cubicBezTo>
                    <a:pt x="129" y="159"/>
                    <a:pt x="129" y="159"/>
                    <a:pt x="129" y="159"/>
                  </a:cubicBezTo>
                  <a:cubicBezTo>
                    <a:pt x="156" y="159"/>
                    <a:pt x="156" y="159"/>
                    <a:pt x="156" y="159"/>
                  </a:cubicBezTo>
                  <a:cubicBezTo>
                    <a:pt x="169" y="180"/>
                    <a:pt x="169" y="180"/>
                    <a:pt x="169" y="180"/>
                  </a:cubicBezTo>
                  <a:cubicBezTo>
                    <a:pt x="218" y="107"/>
                    <a:pt x="218" y="107"/>
                    <a:pt x="218" y="107"/>
                  </a:cubicBezTo>
                  <a:lnTo>
                    <a:pt x="246" y="10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82271" tIns="41136" rIns="82271" bIns="41136" numCol="1" anchor="b" anchorCtr="0" compatLnSpc="1">
              <a:prstTxWarp prst="textNoShape">
                <a:avLst/>
              </a:prstTxWarp>
            </a:bodyPr>
            <a:lstStyle/>
            <a:p>
              <a:pPr algn="ctr" defTabSz="685652">
                <a:defRPr/>
              </a:pPr>
              <a:endParaRPr lang="en-US" sz="16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92929"/>
                </a:solidFill>
                <a:latin typeface="NotesStyle-Medium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9936796" y="46058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sp>
        <p:nvSpPr>
          <p:cNvPr id="86" name="TextBox 85"/>
          <p:cNvSpPr txBox="1"/>
          <p:nvPr/>
        </p:nvSpPr>
        <p:spPr>
          <a:xfrm>
            <a:off x="789702" y="2739881"/>
            <a:ext cx="7489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Money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144676" y="2739881"/>
            <a:ext cx="6383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Cloud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073424" y="2737343"/>
            <a:ext cx="15472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Charts &amp; Graphs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14582" y="4010372"/>
            <a:ext cx="120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Time / Date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4643396" y="2873596"/>
            <a:ext cx="974106" cy="963629"/>
            <a:chOff x="2303809" y="-1996481"/>
            <a:chExt cx="974106" cy="963629"/>
          </a:xfrm>
        </p:grpSpPr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3809" y="-1996481"/>
              <a:ext cx="974106" cy="963629"/>
            </a:xfrm>
            <a:prstGeom prst="rect">
              <a:avLst/>
            </a:prstGeom>
          </p:spPr>
        </p:pic>
        <p:sp>
          <p:nvSpPr>
            <p:cNvPr id="92" name="Rectangle 91"/>
            <p:cNvSpPr/>
            <p:nvPr/>
          </p:nvSpPr>
          <p:spPr>
            <a:xfrm>
              <a:off x="2394862" y="-191066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640595" y="3041437"/>
            <a:ext cx="792000" cy="792000"/>
            <a:chOff x="10037068" y="736225"/>
            <a:chExt cx="792000" cy="792000"/>
          </a:xfrm>
        </p:grpSpPr>
        <p:pic>
          <p:nvPicPr>
            <p:cNvPr id="94" name="Picture 93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3211" y="931177"/>
              <a:ext cx="759714" cy="402097"/>
            </a:xfrm>
            <a:prstGeom prst="rect">
              <a:avLst/>
            </a:prstGeom>
          </p:spPr>
        </p:pic>
        <p:sp>
          <p:nvSpPr>
            <p:cNvPr id="95" name="Rectangle 94"/>
            <p:cNvSpPr/>
            <p:nvPr/>
          </p:nvSpPr>
          <p:spPr>
            <a:xfrm>
              <a:off x="10037068" y="73622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-141709" y="2951474"/>
            <a:ext cx="792000" cy="792000"/>
            <a:chOff x="9778920" y="1030787"/>
            <a:chExt cx="792000" cy="792000"/>
          </a:xfrm>
        </p:grpSpPr>
        <p:sp>
          <p:nvSpPr>
            <p:cNvPr id="97" name="Freeform 96"/>
            <p:cNvSpPr/>
            <p:nvPr>
              <p:custDataLst>
                <p:tags r:id="rId6"/>
              </p:custDataLst>
            </p:nvPr>
          </p:nvSpPr>
          <p:spPr bwMode="auto">
            <a:xfrm>
              <a:off x="9984817" y="1077680"/>
              <a:ext cx="380206" cy="698215"/>
            </a:xfrm>
            <a:custGeom>
              <a:avLst/>
              <a:gdLst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41426"/>
                <a:gd name="connsiteY0" fmla="*/ 0 h 4914900"/>
                <a:gd name="connsiteX1" fmla="*/ 1676400 w 2641426"/>
                <a:gd name="connsiteY1" fmla="*/ 0 h 4914900"/>
                <a:gd name="connsiteX2" fmla="*/ 1676400 w 2641426"/>
                <a:gd name="connsiteY2" fmla="*/ 523875 h 4914900"/>
                <a:gd name="connsiteX3" fmla="*/ 2466975 w 2641426"/>
                <a:gd name="connsiteY3" fmla="*/ 647700 h 4914900"/>
                <a:gd name="connsiteX4" fmla="*/ 2466975 w 2641426"/>
                <a:gd name="connsiteY4" fmla="*/ 1628775 h 4914900"/>
                <a:gd name="connsiteX5" fmla="*/ 1276350 w 2641426"/>
                <a:gd name="connsiteY5" fmla="*/ 1400175 h 4914900"/>
                <a:gd name="connsiteX6" fmla="*/ 1238250 w 2641426"/>
                <a:gd name="connsiteY6" fmla="*/ 1800225 h 4914900"/>
                <a:gd name="connsiteX7" fmla="*/ 2638425 w 2641426"/>
                <a:gd name="connsiteY7" fmla="*/ 3276600 h 4914900"/>
                <a:gd name="connsiteX8" fmla="*/ 1685925 w 2641426"/>
                <a:gd name="connsiteY8" fmla="*/ 4305300 h 4914900"/>
                <a:gd name="connsiteX9" fmla="*/ 1685925 w 2641426"/>
                <a:gd name="connsiteY9" fmla="*/ 4914900 h 4914900"/>
                <a:gd name="connsiteX10" fmla="*/ 1038225 w 2641426"/>
                <a:gd name="connsiteY10" fmla="*/ 4914900 h 4914900"/>
                <a:gd name="connsiteX11" fmla="*/ 1038225 w 2641426"/>
                <a:gd name="connsiteY11" fmla="*/ 4381500 h 4914900"/>
                <a:gd name="connsiteX12" fmla="*/ 19050 w 2641426"/>
                <a:gd name="connsiteY12" fmla="*/ 4152900 h 4914900"/>
                <a:gd name="connsiteX13" fmla="*/ 19050 w 2641426"/>
                <a:gd name="connsiteY13" fmla="*/ 3133725 h 4914900"/>
                <a:gd name="connsiteX14" fmla="*/ 1181100 w 2641426"/>
                <a:gd name="connsiteY14" fmla="*/ 3533775 h 4914900"/>
                <a:gd name="connsiteX15" fmla="*/ 1333500 w 2641426"/>
                <a:gd name="connsiteY15" fmla="*/ 3086100 h 4914900"/>
                <a:gd name="connsiteX16" fmla="*/ 0 w 2641426"/>
                <a:gd name="connsiteY16" fmla="*/ 1447800 h 4914900"/>
                <a:gd name="connsiteX17" fmla="*/ 1038225 w 2641426"/>
                <a:gd name="connsiteY17" fmla="*/ 561975 h 4914900"/>
                <a:gd name="connsiteX18" fmla="*/ 1028700 w 2641426"/>
                <a:gd name="connsiteY18" fmla="*/ 0 h 4914900"/>
                <a:gd name="connsiteX0" fmla="*/ 1028700 w 2640867"/>
                <a:gd name="connsiteY0" fmla="*/ 0 h 4914900"/>
                <a:gd name="connsiteX1" fmla="*/ 1676400 w 2640867"/>
                <a:gd name="connsiteY1" fmla="*/ 0 h 4914900"/>
                <a:gd name="connsiteX2" fmla="*/ 1676400 w 2640867"/>
                <a:gd name="connsiteY2" fmla="*/ 523875 h 4914900"/>
                <a:gd name="connsiteX3" fmla="*/ 2466975 w 2640867"/>
                <a:gd name="connsiteY3" fmla="*/ 647700 h 4914900"/>
                <a:gd name="connsiteX4" fmla="*/ 2466975 w 2640867"/>
                <a:gd name="connsiteY4" fmla="*/ 1628775 h 4914900"/>
                <a:gd name="connsiteX5" fmla="*/ 1276350 w 2640867"/>
                <a:gd name="connsiteY5" fmla="*/ 1400175 h 4914900"/>
                <a:gd name="connsiteX6" fmla="*/ 1238250 w 2640867"/>
                <a:gd name="connsiteY6" fmla="*/ 1800225 h 4914900"/>
                <a:gd name="connsiteX7" fmla="*/ 2638425 w 2640867"/>
                <a:gd name="connsiteY7" fmla="*/ 3276600 h 4914900"/>
                <a:gd name="connsiteX8" fmla="*/ 1685925 w 2640867"/>
                <a:gd name="connsiteY8" fmla="*/ 4305300 h 4914900"/>
                <a:gd name="connsiteX9" fmla="*/ 1685925 w 2640867"/>
                <a:gd name="connsiteY9" fmla="*/ 4914900 h 4914900"/>
                <a:gd name="connsiteX10" fmla="*/ 1038225 w 2640867"/>
                <a:gd name="connsiteY10" fmla="*/ 4914900 h 4914900"/>
                <a:gd name="connsiteX11" fmla="*/ 1038225 w 2640867"/>
                <a:gd name="connsiteY11" fmla="*/ 4381500 h 4914900"/>
                <a:gd name="connsiteX12" fmla="*/ 19050 w 2640867"/>
                <a:gd name="connsiteY12" fmla="*/ 4152900 h 4914900"/>
                <a:gd name="connsiteX13" fmla="*/ 19050 w 2640867"/>
                <a:gd name="connsiteY13" fmla="*/ 3133725 h 4914900"/>
                <a:gd name="connsiteX14" fmla="*/ 1181100 w 2640867"/>
                <a:gd name="connsiteY14" fmla="*/ 3533775 h 4914900"/>
                <a:gd name="connsiteX15" fmla="*/ 1333500 w 2640867"/>
                <a:gd name="connsiteY15" fmla="*/ 3086100 h 4914900"/>
                <a:gd name="connsiteX16" fmla="*/ 0 w 2640867"/>
                <a:gd name="connsiteY16" fmla="*/ 1447800 h 4914900"/>
                <a:gd name="connsiteX17" fmla="*/ 1038225 w 2640867"/>
                <a:gd name="connsiteY17" fmla="*/ 561975 h 4914900"/>
                <a:gd name="connsiteX18" fmla="*/ 1028700 w 2640867"/>
                <a:gd name="connsiteY18" fmla="*/ 0 h 4914900"/>
                <a:gd name="connsiteX0" fmla="*/ 1028700 w 2646293"/>
                <a:gd name="connsiteY0" fmla="*/ 0 h 4914900"/>
                <a:gd name="connsiteX1" fmla="*/ 1676400 w 2646293"/>
                <a:gd name="connsiteY1" fmla="*/ 0 h 4914900"/>
                <a:gd name="connsiteX2" fmla="*/ 1676400 w 2646293"/>
                <a:gd name="connsiteY2" fmla="*/ 523875 h 4914900"/>
                <a:gd name="connsiteX3" fmla="*/ 2466975 w 2646293"/>
                <a:gd name="connsiteY3" fmla="*/ 647700 h 4914900"/>
                <a:gd name="connsiteX4" fmla="*/ 2466975 w 2646293"/>
                <a:gd name="connsiteY4" fmla="*/ 1628775 h 4914900"/>
                <a:gd name="connsiteX5" fmla="*/ 1276350 w 2646293"/>
                <a:gd name="connsiteY5" fmla="*/ 1400175 h 4914900"/>
                <a:gd name="connsiteX6" fmla="*/ 1238250 w 2646293"/>
                <a:gd name="connsiteY6" fmla="*/ 1800225 h 4914900"/>
                <a:gd name="connsiteX7" fmla="*/ 2638425 w 2646293"/>
                <a:gd name="connsiteY7" fmla="*/ 3276600 h 4914900"/>
                <a:gd name="connsiteX8" fmla="*/ 1685925 w 2646293"/>
                <a:gd name="connsiteY8" fmla="*/ 4305300 h 4914900"/>
                <a:gd name="connsiteX9" fmla="*/ 1685925 w 2646293"/>
                <a:gd name="connsiteY9" fmla="*/ 4914900 h 4914900"/>
                <a:gd name="connsiteX10" fmla="*/ 1038225 w 2646293"/>
                <a:gd name="connsiteY10" fmla="*/ 4914900 h 4914900"/>
                <a:gd name="connsiteX11" fmla="*/ 1038225 w 2646293"/>
                <a:gd name="connsiteY11" fmla="*/ 4381500 h 4914900"/>
                <a:gd name="connsiteX12" fmla="*/ 19050 w 2646293"/>
                <a:gd name="connsiteY12" fmla="*/ 4152900 h 4914900"/>
                <a:gd name="connsiteX13" fmla="*/ 19050 w 2646293"/>
                <a:gd name="connsiteY13" fmla="*/ 3133725 h 4914900"/>
                <a:gd name="connsiteX14" fmla="*/ 1181100 w 2646293"/>
                <a:gd name="connsiteY14" fmla="*/ 3533775 h 4914900"/>
                <a:gd name="connsiteX15" fmla="*/ 1333500 w 2646293"/>
                <a:gd name="connsiteY15" fmla="*/ 3086100 h 4914900"/>
                <a:gd name="connsiteX16" fmla="*/ 0 w 2646293"/>
                <a:gd name="connsiteY16" fmla="*/ 1447800 h 4914900"/>
                <a:gd name="connsiteX17" fmla="*/ 1038225 w 2646293"/>
                <a:gd name="connsiteY17" fmla="*/ 561975 h 4914900"/>
                <a:gd name="connsiteX18" fmla="*/ 1028700 w 2646293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64796 w 2682440"/>
                <a:gd name="connsiteY0" fmla="*/ 0 h 4914900"/>
                <a:gd name="connsiteX1" fmla="*/ 1712496 w 2682440"/>
                <a:gd name="connsiteY1" fmla="*/ 0 h 4914900"/>
                <a:gd name="connsiteX2" fmla="*/ 1712496 w 2682440"/>
                <a:gd name="connsiteY2" fmla="*/ 523875 h 4914900"/>
                <a:gd name="connsiteX3" fmla="*/ 2503071 w 2682440"/>
                <a:gd name="connsiteY3" fmla="*/ 647700 h 4914900"/>
                <a:gd name="connsiteX4" fmla="*/ 2503071 w 2682440"/>
                <a:gd name="connsiteY4" fmla="*/ 1628775 h 4914900"/>
                <a:gd name="connsiteX5" fmla="*/ 1312446 w 2682440"/>
                <a:gd name="connsiteY5" fmla="*/ 1400175 h 4914900"/>
                <a:gd name="connsiteX6" fmla="*/ 1274346 w 2682440"/>
                <a:gd name="connsiteY6" fmla="*/ 1800225 h 4914900"/>
                <a:gd name="connsiteX7" fmla="*/ 2674521 w 2682440"/>
                <a:gd name="connsiteY7" fmla="*/ 3276600 h 4914900"/>
                <a:gd name="connsiteX8" fmla="*/ 1722021 w 2682440"/>
                <a:gd name="connsiteY8" fmla="*/ 4305300 h 4914900"/>
                <a:gd name="connsiteX9" fmla="*/ 1722021 w 2682440"/>
                <a:gd name="connsiteY9" fmla="*/ 4914900 h 4914900"/>
                <a:gd name="connsiteX10" fmla="*/ 1074321 w 2682440"/>
                <a:gd name="connsiteY10" fmla="*/ 4914900 h 4914900"/>
                <a:gd name="connsiteX11" fmla="*/ 1074321 w 2682440"/>
                <a:gd name="connsiteY11" fmla="*/ 4381500 h 4914900"/>
                <a:gd name="connsiteX12" fmla="*/ 55146 w 2682440"/>
                <a:gd name="connsiteY12" fmla="*/ 4152900 h 4914900"/>
                <a:gd name="connsiteX13" fmla="*/ 55146 w 2682440"/>
                <a:gd name="connsiteY13" fmla="*/ 3133725 h 4914900"/>
                <a:gd name="connsiteX14" fmla="*/ 1217196 w 2682440"/>
                <a:gd name="connsiteY14" fmla="*/ 3533775 h 4914900"/>
                <a:gd name="connsiteX15" fmla="*/ 1369596 w 2682440"/>
                <a:gd name="connsiteY15" fmla="*/ 3086100 h 4914900"/>
                <a:gd name="connsiteX16" fmla="*/ 36096 w 2682440"/>
                <a:gd name="connsiteY16" fmla="*/ 1447800 h 4914900"/>
                <a:gd name="connsiteX17" fmla="*/ 1074321 w 2682440"/>
                <a:gd name="connsiteY17" fmla="*/ 561975 h 4914900"/>
                <a:gd name="connsiteX18" fmla="*/ 1064796 w 2682440"/>
                <a:gd name="connsiteY18" fmla="*/ 0 h 4914900"/>
                <a:gd name="connsiteX0" fmla="*/ 1065400 w 2683044"/>
                <a:gd name="connsiteY0" fmla="*/ 0 h 4914900"/>
                <a:gd name="connsiteX1" fmla="*/ 1713100 w 2683044"/>
                <a:gd name="connsiteY1" fmla="*/ 0 h 4914900"/>
                <a:gd name="connsiteX2" fmla="*/ 1713100 w 2683044"/>
                <a:gd name="connsiteY2" fmla="*/ 523875 h 4914900"/>
                <a:gd name="connsiteX3" fmla="*/ 2503675 w 2683044"/>
                <a:gd name="connsiteY3" fmla="*/ 647700 h 4914900"/>
                <a:gd name="connsiteX4" fmla="*/ 2503675 w 2683044"/>
                <a:gd name="connsiteY4" fmla="*/ 1628775 h 4914900"/>
                <a:gd name="connsiteX5" fmla="*/ 1313050 w 2683044"/>
                <a:gd name="connsiteY5" fmla="*/ 1400175 h 4914900"/>
                <a:gd name="connsiteX6" fmla="*/ 1274950 w 2683044"/>
                <a:gd name="connsiteY6" fmla="*/ 1800225 h 4914900"/>
                <a:gd name="connsiteX7" fmla="*/ 2675125 w 2683044"/>
                <a:gd name="connsiteY7" fmla="*/ 3276600 h 4914900"/>
                <a:gd name="connsiteX8" fmla="*/ 1722625 w 2683044"/>
                <a:gd name="connsiteY8" fmla="*/ 4305300 h 4914900"/>
                <a:gd name="connsiteX9" fmla="*/ 1722625 w 2683044"/>
                <a:gd name="connsiteY9" fmla="*/ 4914900 h 4914900"/>
                <a:gd name="connsiteX10" fmla="*/ 1074925 w 2683044"/>
                <a:gd name="connsiteY10" fmla="*/ 4914900 h 4914900"/>
                <a:gd name="connsiteX11" fmla="*/ 1074925 w 2683044"/>
                <a:gd name="connsiteY11" fmla="*/ 4381500 h 4914900"/>
                <a:gd name="connsiteX12" fmla="*/ 55750 w 2683044"/>
                <a:gd name="connsiteY12" fmla="*/ 4152900 h 4914900"/>
                <a:gd name="connsiteX13" fmla="*/ 55750 w 2683044"/>
                <a:gd name="connsiteY13" fmla="*/ 3133725 h 4914900"/>
                <a:gd name="connsiteX14" fmla="*/ 1217800 w 2683044"/>
                <a:gd name="connsiteY14" fmla="*/ 3533775 h 4914900"/>
                <a:gd name="connsiteX15" fmla="*/ 1370200 w 2683044"/>
                <a:gd name="connsiteY15" fmla="*/ 3086100 h 4914900"/>
                <a:gd name="connsiteX16" fmla="*/ 36700 w 2683044"/>
                <a:gd name="connsiteY16" fmla="*/ 1447800 h 4914900"/>
                <a:gd name="connsiteX17" fmla="*/ 1074925 w 2683044"/>
                <a:gd name="connsiteY17" fmla="*/ 561975 h 4914900"/>
                <a:gd name="connsiteX18" fmla="*/ 1065400 w 2683044"/>
                <a:gd name="connsiteY18" fmla="*/ 0 h 4914900"/>
                <a:gd name="connsiteX0" fmla="*/ 1061280 w 2678924"/>
                <a:gd name="connsiteY0" fmla="*/ 0 h 4914900"/>
                <a:gd name="connsiteX1" fmla="*/ 1708980 w 2678924"/>
                <a:gd name="connsiteY1" fmla="*/ 0 h 4914900"/>
                <a:gd name="connsiteX2" fmla="*/ 1708980 w 2678924"/>
                <a:gd name="connsiteY2" fmla="*/ 523875 h 4914900"/>
                <a:gd name="connsiteX3" fmla="*/ 2499555 w 2678924"/>
                <a:gd name="connsiteY3" fmla="*/ 647700 h 4914900"/>
                <a:gd name="connsiteX4" fmla="*/ 2499555 w 2678924"/>
                <a:gd name="connsiteY4" fmla="*/ 1628775 h 4914900"/>
                <a:gd name="connsiteX5" fmla="*/ 1308930 w 2678924"/>
                <a:gd name="connsiteY5" fmla="*/ 1400175 h 4914900"/>
                <a:gd name="connsiteX6" fmla="*/ 1270830 w 2678924"/>
                <a:gd name="connsiteY6" fmla="*/ 1800225 h 4914900"/>
                <a:gd name="connsiteX7" fmla="*/ 2671005 w 2678924"/>
                <a:gd name="connsiteY7" fmla="*/ 3276600 h 4914900"/>
                <a:gd name="connsiteX8" fmla="*/ 1718505 w 2678924"/>
                <a:gd name="connsiteY8" fmla="*/ 4305300 h 4914900"/>
                <a:gd name="connsiteX9" fmla="*/ 1718505 w 2678924"/>
                <a:gd name="connsiteY9" fmla="*/ 4914900 h 4914900"/>
                <a:gd name="connsiteX10" fmla="*/ 1070805 w 2678924"/>
                <a:gd name="connsiteY10" fmla="*/ 4914900 h 4914900"/>
                <a:gd name="connsiteX11" fmla="*/ 1070805 w 2678924"/>
                <a:gd name="connsiteY11" fmla="*/ 4381500 h 4914900"/>
                <a:gd name="connsiteX12" fmla="*/ 51630 w 2678924"/>
                <a:gd name="connsiteY12" fmla="*/ 4152900 h 4914900"/>
                <a:gd name="connsiteX13" fmla="*/ 51630 w 2678924"/>
                <a:gd name="connsiteY13" fmla="*/ 3133725 h 4914900"/>
                <a:gd name="connsiteX14" fmla="*/ 1213680 w 2678924"/>
                <a:gd name="connsiteY14" fmla="*/ 3533775 h 4914900"/>
                <a:gd name="connsiteX15" fmla="*/ 1366080 w 2678924"/>
                <a:gd name="connsiteY15" fmla="*/ 3086100 h 4914900"/>
                <a:gd name="connsiteX16" fmla="*/ 32580 w 2678924"/>
                <a:gd name="connsiteY16" fmla="*/ 1447800 h 4914900"/>
                <a:gd name="connsiteX17" fmla="*/ 1070805 w 2678924"/>
                <a:gd name="connsiteY17" fmla="*/ 561975 h 4914900"/>
                <a:gd name="connsiteX18" fmla="*/ 1061280 w 2678924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76383" h="4914900">
                  <a:moveTo>
                    <a:pt x="1058739" y="0"/>
                  </a:moveTo>
                  <a:lnTo>
                    <a:pt x="1706439" y="0"/>
                  </a:lnTo>
                  <a:lnTo>
                    <a:pt x="1706439" y="523875"/>
                  </a:lnTo>
                  <a:cubicBezTo>
                    <a:pt x="2008064" y="531813"/>
                    <a:pt x="2233489" y="573087"/>
                    <a:pt x="2497014" y="647700"/>
                  </a:cubicBezTo>
                  <a:lnTo>
                    <a:pt x="2497014" y="1628775"/>
                  </a:lnTo>
                  <a:cubicBezTo>
                    <a:pt x="2047752" y="1390650"/>
                    <a:pt x="1488951" y="1281112"/>
                    <a:pt x="1306389" y="1400175"/>
                  </a:cubicBezTo>
                  <a:cubicBezTo>
                    <a:pt x="1127001" y="1471613"/>
                    <a:pt x="1142876" y="1714500"/>
                    <a:pt x="1268289" y="1800225"/>
                  </a:cubicBezTo>
                  <a:cubicBezTo>
                    <a:pt x="1425452" y="2020888"/>
                    <a:pt x="2792289" y="2236787"/>
                    <a:pt x="2668464" y="3276600"/>
                  </a:cubicBezTo>
                  <a:cubicBezTo>
                    <a:pt x="2608139" y="4000500"/>
                    <a:pt x="1966789" y="4233862"/>
                    <a:pt x="1715964" y="4305300"/>
                  </a:cubicBezTo>
                  <a:lnTo>
                    <a:pt x="1715964" y="4914900"/>
                  </a:lnTo>
                  <a:lnTo>
                    <a:pt x="1068264" y="4914900"/>
                  </a:lnTo>
                  <a:lnTo>
                    <a:pt x="1068264" y="4381500"/>
                  </a:lnTo>
                  <a:cubicBezTo>
                    <a:pt x="685676" y="4371975"/>
                    <a:pt x="222127" y="4267200"/>
                    <a:pt x="49089" y="4152900"/>
                  </a:cubicBezTo>
                  <a:lnTo>
                    <a:pt x="49089" y="3133725"/>
                  </a:lnTo>
                  <a:cubicBezTo>
                    <a:pt x="403102" y="3438525"/>
                    <a:pt x="923802" y="3562350"/>
                    <a:pt x="1211139" y="3533775"/>
                  </a:cubicBezTo>
                  <a:cubicBezTo>
                    <a:pt x="1490539" y="3503613"/>
                    <a:pt x="1498476" y="3201988"/>
                    <a:pt x="1363539" y="3086100"/>
                  </a:cubicBezTo>
                  <a:cubicBezTo>
                    <a:pt x="1176215" y="2820987"/>
                    <a:pt x="-220786" y="2727324"/>
                    <a:pt x="30039" y="1447800"/>
                  </a:cubicBezTo>
                  <a:cubicBezTo>
                    <a:pt x="142751" y="795338"/>
                    <a:pt x="798389" y="585787"/>
                    <a:pt x="1068264" y="561975"/>
                  </a:cubicBezTo>
                  <a:lnTo>
                    <a:pt x="1058739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99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9778920" y="10307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1453585" y="2997199"/>
            <a:ext cx="792000" cy="792000"/>
            <a:chOff x="10526254" y="701930"/>
            <a:chExt cx="792000" cy="792000"/>
          </a:xfrm>
        </p:grpSpPr>
        <p:grpSp>
          <p:nvGrpSpPr>
            <p:cNvPr id="100" name="Group 99"/>
            <p:cNvGrpSpPr/>
            <p:nvPr>
              <p:custDataLst>
                <p:tags r:id="rId5"/>
              </p:custDataLst>
            </p:nvPr>
          </p:nvGrpSpPr>
          <p:grpSpPr>
            <a:xfrm>
              <a:off x="10661254" y="836466"/>
              <a:ext cx="522000" cy="522928"/>
              <a:chOff x="9570682" y="3321762"/>
              <a:chExt cx="488448" cy="478714"/>
            </a:xfrm>
          </p:grpSpPr>
          <p:sp>
            <p:nvSpPr>
              <p:cNvPr id="102" name="Freeform 101"/>
              <p:cNvSpPr/>
              <p:nvPr/>
            </p:nvSpPr>
            <p:spPr bwMode="auto">
              <a:xfrm>
                <a:off x="9570682" y="3321762"/>
                <a:ext cx="488448" cy="269714"/>
              </a:xfrm>
              <a:custGeom>
                <a:avLst/>
                <a:gdLst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59751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38388 w 3133725"/>
                  <a:gd name="connsiteY7" fmla="*/ 759751 h 1745588"/>
                  <a:gd name="connsiteX0" fmla="*/ 2352676 w 3133725"/>
                  <a:gd name="connsiteY0" fmla="*/ 769276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52676 w 3133725"/>
                  <a:gd name="connsiteY7" fmla="*/ 769276 h 1745588"/>
                  <a:gd name="connsiteX0" fmla="*/ 2352676 w 3133725"/>
                  <a:gd name="connsiteY0" fmla="*/ 747891 h 1724203"/>
                  <a:gd name="connsiteX1" fmla="*/ 2047875 w 3133725"/>
                  <a:gd name="connsiteY1" fmla="*/ 1033641 h 1724203"/>
                  <a:gd name="connsiteX2" fmla="*/ 3133725 w 3133725"/>
                  <a:gd name="connsiteY2" fmla="*/ 1190803 h 1724203"/>
                  <a:gd name="connsiteX3" fmla="*/ 2981325 w 3133725"/>
                  <a:gd name="connsiteY3" fmla="*/ 124003 h 1724203"/>
                  <a:gd name="connsiteX4" fmla="*/ 2657475 w 3133725"/>
                  <a:gd name="connsiteY4" fmla="*/ 438328 h 1724203"/>
                  <a:gd name="connsiteX5" fmla="*/ 0 w 3133725"/>
                  <a:gd name="connsiteY5" fmla="*/ 1657528 h 1724203"/>
                  <a:gd name="connsiteX6" fmla="*/ 452438 w 3133725"/>
                  <a:gd name="connsiteY6" fmla="*/ 1724203 h 1724203"/>
                  <a:gd name="connsiteX7" fmla="*/ 2352676 w 3133725"/>
                  <a:gd name="connsiteY7" fmla="*/ 747891 h 1724203"/>
                  <a:gd name="connsiteX0" fmla="*/ 2371726 w 3152775"/>
                  <a:gd name="connsiteY0" fmla="*/ 746169 h 1722481"/>
                  <a:gd name="connsiteX1" fmla="*/ 2066925 w 3152775"/>
                  <a:gd name="connsiteY1" fmla="*/ 1031919 h 1722481"/>
                  <a:gd name="connsiteX2" fmla="*/ 3152775 w 3152775"/>
                  <a:gd name="connsiteY2" fmla="*/ 1189081 h 1722481"/>
                  <a:gd name="connsiteX3" fmla="*/ 3000375 w 3152775"/>
                  <a:gd name="connsiteY3" fmla="*/ 122281 h 1722481"/>
                  <a:gd name="connsiteX4" fmla="*/ 2676525 w 3152775"/>
                  <a:gd name="connsiteY4" fmla="*/ 436606 h 1722481"/>
                  <a:gd name="connsiteX5" fmla="*/ 0 w 3152775"/>
                  <a:gd name="connsiteY5" fmla="*/ 1660568 h 1722481"/>
                  <a:gd name="connsiteX6" fmla="*/ 471488 w 3152775"/>
                  <a:gd name="connsiteY6" fmla="*/ 1722481 h 1722481"/>
                  <a:gd name="connsiteX7" fmla="*/ 2371726 w 3152775"/>
                  <a:gd name="connsiteY7" fmla="*/ 746169 h 1722481"/>
                  <a:gd name="connsiteX0" fmla="*/ 2371726 w 3152775"/>
                  <a:gd name="connsiteY0" fmla="*/ 764605 h 1740917"/>
                  <a:gd name="connsiteX1" fmla="*/ 2066925 w 3152775"/>
                  <a:gd name="connsiteY1" fmla="*/ 1050355 h 1740917"/>
                  <a:gd name="connsiteX2" fmla="*/ 3152775 w 3152775"/>
                  <a:gd name="connsiteY2" fmla="*/ 1207517 h 1740917"/>
                  <a:gd name="connsiteX3" fmla="*/ 3000375 w 3152775"/>
                  <a:gd name="connsiteY3" fmla="*/ 140717 h 1740917"/>
                  <a:gd name="connsiteX4" fmla="*/ 2676525 w 3152775"/>
                  <a:gd name="connsiteY4" fmla="*/ 455042 h 1740917"/>
                  <a:gd name="connsiteX5" fmla="*/ 0 w 3152775"/>
                  <a:gd name="connsiteY5" fmla="*/ 1679004 h 1740917"/>
                  <a:gd name="connsiteX6" fmla="*/ 471488 w 3152775"/>
                  <a:gd name="connsiteY6" fmla="*/ 1740917 h 1740917"/>
                  <a:gd name="connsiteX7" fmla="*/ 2371726 w 3152775"/>
                  <a:gd name="connsiteY7" fmla="*/ 764605 h 17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2775" h="1740917">
                    <a:moveTo>
                      <a:pt x="2371726" y="764605"/>
                    </a:moveTo>
                    <a:lnTo>
                      <a:pt x="2066925" y="1050355"/>
                    </a:lnTo>
                    <a:lnTo>
                      <a:pt x="3152775" y="1207517"/>
                    </a:lnTo>
                    <a:lnTo>
                      <a:pt x="3000375" y="140717"/>
                    </a:lnTo>
                    <a:lnTo>
                      <a:pt x="2676525" y="455042"/>
                    </a:lnTo>
                    <a:cubicBezTo>
                      <a:pt x="2252662" y="-191070"/>
                      <a:pt x="109538" y="-427608"/>
                      <a:pt x="0" y="1679004"/>
                    </a:cubicBezTo>
                    <a:lnTo>
                      <a:pt x="471488" y="1740917"/>
                    </a:lnTo>
                    <a:cubicBezTo>
                      <a:pt x="381001" y="99443"/>
                      <a:pt x="2185989" y="339154"/>
                      <a:pt x="2371726" y="76460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03" tIns="45701" rIns="91403" bIns="4570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652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NotesStyle-Medium" pitchFamily="2" charset="0"/>
                  <a:sym typeface="Segoe UI"/>
                </a:endParaRPr>
              </a:p>
            </p:txBody>
          </p:sp>
          <p:sp>
            <p:nvSpPr>
              <p:cNvPr id="103" name="Freeform 102"/>
              <p:cNvSpPr/>
              <p:nvPr/>
            </p:nvSpPr>
            <p:spPr bwMode="auto">
              <a:xfrm rot="10800000">
                <a:off x="9570682" y="3530762"/>
                <a:ext cx="488448" cy="269714"/>
              </a:xfrm>
              <a:custGeom>
                <a:avLst/>
                <a:gdLst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614363 h 1600200"/>
                  <a:gd name="connsiteX1" fmla="*/ 2047875 w 3133725"/>
                  <a:gd name="connsiteY1" fmla="*/ 909638 h 1600200"/>
                  <a:gd name="connsiteX2" fmla="*/ 3133725 w 3133725"/>
                  <a:gd name="connsiteY2" fmla="*/ 1066800 h 1600200"/>
                  <a:gd name="connsiteX3" fmla="*/ 2981325 w 3133725"/>
                  <a:gd name="connsiteY3" fmla="*/ 0 h 1600200"/>
                  <a:gd name="connsiteX4" fmla="*/ 2657475 w 3133725"/>
                  <a:gd name="connsiteY4" fmla="*/ 314325 h 1600200"/>
                  <a:gd name="connsiteX5" fmla="*/ 0 w 3133725"/>
                  <a:gd name="connsiteY5" fmla="*/ 1533525 h 1600200"/>
                  <a:gd name="connsiteX6" fmla="*/ 452438 w 3133725"/>
                  <a:gd name="connsiteY6" fmla="*/ 1600200 h 1600200"/>
                  <a:gd name="connsiteX7" fmla="*/ 2338388 w 3133725"/>
                  <a:gd name="connsiteY7" fmla="*/ 614363 h 1600200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35487 h 1721324"/>
                  <a:gd name="connsiteX1" fmla="*/ 2047875 w 3133725"/>
                  <a:gd name="connsiteY1" fmla="*/ 1030762 h 1721324"/>
                  <a:gd name="connsiteX2" fmla="*/ 3133725 w 3133725"/>
                  <a:gd name="connsiteY2" fmla="*/ 1187924 h 1721324"/>
                  <a:gd name="connsiteX3" fmla="*/ 2981325 w 3133725"/>
                  <a:gd name="connsiteY3" fmla="*/ 121124 h 1721324"/>
                  <a:gd name="connsiteX4" fmla="*/ 2657475 w 3133725"/>
                  <a:gd name="connsiteY4" fmla="*/ 435449 h 1721324"/>
                  <a:gd name="connsiteX5" fmla="*/ 0 w 3133725"/>
                  <a:gd name="connsiteY5" fmla="*/ 1654649 h 1721324"/>
                  <a:gd name="connsiteX6" fmla="*/ 452438 w 3133725"/>
                  <a:gd name="connsiteY6" fmla="*/ 1721324 h 1721324"/>
                  <a:gd name="connsiteX7" fmla="*/ 2338388 w 3133725"/>
                  <a:gd name="connsiteY7" fmla="*/ 735487 h 1721324"/>
                  <a:gd name="connsiteX0" fmla="*/ 2338388 w 3133725"/>
                  <a:gd name="connsiteY0" fmla="*/ 759751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38388 w 3133725"/>
                  <a:gd name="connsiteY7" fmla="*/ 759751 h 1745588"/>
                  <a:gd name="connsiteX0" fmla="*/ 2352676 w 3133725"/>
                  <a:gd name="connsiteY0" fmla="*/ 769276 h 1745588"/>
                  <a:gd name="connsiteX1" fmla="*/ 2047875 w 3133725"/>
                  <a:gd name="connsiteY1" fmla="*/ 1055026 h 1745588"/>
                  <a:gd name="connsiteX2" fmla="*/ 3133725 w 3133725"/>
                  <a:gd name="connsiteY2" fmla="*/ 1212188 h 1745588"/>
                  <a:gd name="connsiteX3" fmla="*/ 2981325 w 3133725"/>
                  <a:gd name="connsiteY3" fmla="*/ 145388 h 1745588"/>
                  <a:gd name="connsiteX4" fmla="*/ 2657475 w 3133725"/>
                  <a:gd name="connsiteY4" fmla="*/ 459713 h 1745588"/>
                  <a:gd name="connsiteX5" fmla="*/ 0 w 3133725"/>
                  <a:gd name="connsiteY5" fmla="*/ 1678913 h 1745588"/>
                  <a:gd name="connsiteX6" fmla="*/ 452438 w 3133725"/>
                  <a:gd name="connsiteY6" fmla="*/ 1745588 h 1745588"/>
                  <a:gd name="connsiteX7" fmla="*/ 2352676 w 3133725"/>
                  <a:gd name="connsiteY7" fmla="*/ 769276 h 1745588"/>
                  <a:gd name="connsiteX0" fmla="*/ 2352676 w 3133725"/>
                  <a:gd name="connsiteY0" fmla="*/ 747891 h 1724203"/>
                  <a:gd name="connsiteX1" fmla="*/ 2047875 w 3133725"/>
                  <a:gd name="connsiteY1" fmla="*/ 1033641 h 1724203"/>
                  <a:gd name="connsiteX2" fmla="*/ 3133725 w 3133725"/>
                  <a:gd name="connsiteY2" fmla="*/ 1190803 h 1724203"/>
                  <a:gd name="connsiteX3" fmla="*/ 2981325 w 3133725"/>
                  <a:gd name="connsiteY3" fmla="*/ 124003 h 1724203"/>
                  <a:gd name="connsiteX4" fmla="*/ 2657475 w 3133725"/>
                  <a:gd name="connsiteY4" fmla="*/ 438328 h 1724203"/>
                  <a:gd name="connsiteX5" fmla="*/ 0 w 3133725"/>
                  <a:gd name="connsiteY5" fmla="*/ 1657528 h 1724203"/>
                  <a:gd name="connsiteX6" fmla="*/ 452438 w 3133725"/>
                  <a:gd name="connsiteY6" fmla="*/ 1724203 h 1724203"/>
                  <a:gd name="connsiteX7" fmla="*/ 2352676 w 3133725"/>
                  <a:gd name="connsiteY7" fmla="*/ 747891 h 1724203"/>
                  <a:gd name="connsiteX0" fmla="*/ 2371726 w 3152775"/>
                  <a:gd name="connsiteY0" fmla="*/ 746169 h 1722481"/>
                  <a:gd name="connsiteX1" fmla="*/ 2066925 w 3152775"/>
                  <a:gd name="connsiteY1" fmla="*/ 1031919 h 1722481"/>
                  <a:gd name="connsiteX2" fmla="*/ 3152775 w 3152775"/>
                  <a:gd name="connsiteY2" fmla="*/ 1189081 h 1722481"/>
                  <a:gd name="connsiteX3" fmla="*/ 3000375 w 3152775"/>
                  <a:gd name="connsiteY3" fmla="*/ 122281 h 1722481"/>
                  <a:gd name="connsiteX4" fmla="*/ 2676525 w 3152775"/>
                  <a:gd name="connsiteY4" fmla="*/ 436606 h 1722481"/>
                  <a:gd name="connsiteX5" fmla="*/ 0 w 3152775"/>
                  <a:gd name="connsiteY5" fmla="*/ 1660568 h 1722481"/>
                  <a:gd name="connsiteX6" fmla="*/ 471488 w 3152775"/>
                  <a:gd name="connsiteY6" fmla="*/ 1722481 h 1722481"/>
                  <a:gd name="connsiteX7" fmla="*/ 2371726 w 3152775"/>
                  <a:gd name="connsiteY7" fmla="*/ 746169 h 1722481"/>
                  <a:gd name="connsiteX0" fmla="*/ 2371726 w 3152775"/>
                  <a:gd name="connsiteY0" fmla="*/ 764605 h 1740917"/>
                  <a:gd name="connsiteX1" fmla="*/ 2066925 w 3152775"/>
                  <a:gd name="connsiteY1" fmla="*/ 1050355 h 1740917"/>
                  <a:gd name="connsiteX2" fmla="*/ 3152775 w 3152775"/>
                  <a:gd name="connsiteY2" fmla="*/ 1207517 h 1740917"/>
                  <a:gd name="connsiteX3" fmla="*/ 3000375 w 3152775"/>
                  <a:gd name="connsiteY3" fmla="*/ 140717 h 1740917"/>
                  <a:gd name="connsiteX4" fmla="*/ 2676525 w 3152775"/>
                  <a:gd name="connsiteY4" fmla="*/ 455042 h 1740917"/>
                  <a:gd name="connsiteX5" fmla="*/ 0 w 3152775"/>
                  <a:gd name="connsiteY5" fmla="*/ 1679004 h 1740917"/>
                  <a:gd name="connsiteX6" fmla="*/ 471488 w 3152775"/>
                  <a:gd name="connsiteY6" fmla="*/ 1740917 h 1740917"/>
                  <a:gd name="connsiteX7" fmla="*/ 2371726 w 3152775"/>
                  <a:gd name="connsiteY7" fmla="*/ 764605 h 17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2775" h="1740917">
                    <a:moveTo>
                      <a:pt x="2371726" y="764605"/>
                    </a:moveTo>
                    <a:lnTo>
                      <a:pt x="2066925" y="1050355"/>
                    </a:lnTo>
                    <a:lnTo>
                      <a:pt x="3152775" y="1207517"/>
                    </a:lnTo>
                    <a:lnTo>
                      <a:pt x="3000375" y="140717"/>
                    </a:lnTo>
                    <a:lnTo>
                      <a:pt x="2676525" y="455042"/>
                    </a:lnTo>
                    <a:cubicBezTo>
                      <a:pt x="2252662" y="-191070"/>
                      <a:pt x="109538" y="-427608"/>
                      <a:pt x="0" y="1679004"/>
                    </a:cubicBezTo>
                    <a:lnTo>
                      <a:pt x="471488" y="1740917"/>
                    </a:lnTo>
                    <a:cubicBezTo>
                      <a:pt x="381001" y="99443"/>
                      <a:pt x="2185989" y="339154"/>
                      <a:pt x="2371726" y="764605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03" tIns="45701" rIns="91403" bIns="4570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652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NotesStyle-Medium" pitchFamily="2" charset="0"/>
                  <a:sym typeface="Segoe UI"/>
                </a:endParaRP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9715124" y="3479325"/>
                <a:ext cx="175755" cy="187399"/>
              </a:xfrm>
              <a:custGeom>
                <a:avLst/>
                <a:gdLst/>
                <a:ahLst/>
                <a:cxnLst/>
                <a:rect l="l" t="t" r="r" b="b"/>
                <a:pathLst>
                  <a:path w="3602073" h="3840706">
                    <a:moveTo>
                      <a:pt x="1560513" y="804095"/>
                    </a:moveTo>
                    <a:lnTo>
                      <a:pt x="1525847" y="908345"/>
                    </a:lnTo>
                    <a:cubicBezTo>
                      <a:pt x="1474537" y="895245"/>
                      <a:pt x="1340051" y="891394"/>
                      <a:pt x="1276979" y="1004407"/>
                    </a:cubicBezTo>
                    <a:cubicBezTo>
                      <a:pt x="1147796" y="1224104"/>
                      <a:pt x="1399343" y="1331919"/>
                      <a:pt x="1416704" y="1392948"/>
                    </a:cubicBezTo>
                    <a:cubicBezTo>
                      <a:pt x="1434077" y="1423064"/>
                      <a:pt x="1413064" y="1478172"/>
                      <a:pt x="1359586" y="1465625"/>
                    </a:cubicBezTo>
                    <a:cubicBezTo>
                      <a:pt x="1304747" y="1452272"/>
                      <a:pt x="1216751" y="1395690"/>
                      <a:pt x="1171223" y="1316538"/>
                    </a:cubicBezTo>
                    <a:lnTo>
                      <a:pt x="1105168" y="1504481"/>
                    </a:lnTo>
                    <a:cubicBezTo>
                      <a:pt x="1129670" y="1536774"/>
                      <a:pt x="1208361" y="1586139"/>
                      <a:pt x="1278296" y="1612691"/>
                    </a:cubicBezTo>
                    <a:lnTo>
                      <a:pt x="1243725" y="1711054"/>
                    </a:lnTo>
                    <a:lnTo>
                      <a:pt x="1363166" y="1753033"/>
                    </a:lnTo>
                    <a:lnTo>
                      <a:pt x="1402675" y="1640619"/>
                    </a:lnTo>
                    <a:cubicBezTo>
                      <a:pt x="1453559" y="1643701"/>
                      <a:pt x="1586953" y="1642235"/>
                      <a:pt x="1644995" y="1512653"/>
                    </a:cubicBezTo>
                    <a:cubicBezTo>
                      <a:pt x="1735222" y="1328930"/>
                      <a:pt x="1497160" y="1200529"/>
                      <a:pt x="1482480" y="1149651"/>
                    </a:cubicBezTo>
                    <a:cubicBezTo>
                      <a:pt x="1464909" y="1125714"/>
                      <a:pt x="1477723" y="1079895"/>
                      <a:pt x="1515434" y="1078348"/>
                    </a:cubicBezTo>
                    <a:cubicBezTo>
                      <a:pt x="1556816" y="1068224"/>
                      <a:pt x="1652764" y="1124641"/>
                      <a:pt x="1720178" y="1197671"/>
                    </a:cubicBezTo>
                    <a:lnTo>
                      <a:pt x="1783763" y="1016754"/>
                    </a:lnTo>
                    <a:cubicBezTo>
                      <a:pt x="1740003" y="985915"/>
                      <a:pt x="1701108" y="963693"/>
                      <a:pt x="1646001" y="942680"/>
                    </a:cubicBezTo>
                    <a:lnTo>
                      <a:pt x="1679954" y="846074"/>
                    </a:lnTo>
                    <a:close/>
                    <a:moveTo>
                      <a:pt x="699994" y="601290"/>
                    </a:moveTo>
                    <a:lnTo>
                      <a:pt x="2902414" y="609828"/>
                    </a:lnTo>
                    <a:lnTo>
                      <a:pt x="2219493" y="1958598"/>
                    </a:lnTo>
                    <a:lnTo>
                      <a:pt x="0" y="1958597"/>
                    </a:lnTo>
                    <a:close/>
                    <a:moveTo>
                      <a:pt x="3338232" y="0"/>
                    </a:moveTo>
                    <a:cubicBezTo>
                      <a:pt x="3483948" y="0"/>
                      <a:pt x="3602073" y="118126"/>
                      <a:pt x="3602073" y="263843"/>
                    </a:cubicBezTo>
                    <a:cubicBezTo>
                      <a:pt x="3602072" y="409557"/>
                      <a:pt x="3483947" y="527685"/>
                      <a:pt x="3338232" y="527684"/>
                    </a:cubicBezTo>
                    <a:lnTo>
                      <a:pt x="3313607" y="525202"/>
                    </a:lnTo>
                    <a:cubicBezTo>
                      <a:pt x="3313742" y="533135"/>
                      <a:pt x="3311339" y="540751"/>
                      <a:pt x="3307830" y="548131"/>
                    </a:cubicBezTo>
                    <a:lnTo>
                      <a:pt x="2009467" y="3279760"/>
                    </a:lnTo>
                    <a:lnTo>
                      <a:pt x="2006613" y="3278334"/>
                    </a:lnTo>
                    <a:lnTo>
                      <a:pt x="1820017" y="3681621"/>
                    </a:lnTo>
                    <a:lnTo>
                      <a:pt x="1818600" y="3681323"/>
                    </a:lnTo>
                    <a:lnTo>
                      <a:pt x="1766918" y="3790058"/>
                    </a:lnTo>
                    <a:cubicBezTo>
                      <a:pt x="1745994" y="3834079"/>
                      <a:pt x="1693772" y="3853007"/>
                      <a:pt x="1650277" y="3832333"/>
                    </a:cubicBezTo>
                    <a:cubicBezTo>
                      <a:pt x="1606782" y="3811660"/>
                      <a:pt x="1588484" y="3759214"/>
                      <a:pt x="1609407" y="3715190"/>
                    </a:cubicBezTo>
                    <a:lnTo>
                      <a:pt x="1655170" y="3618907"/>
                    </a:lnTo>
                    <a:lnTo>
                      <a:pt x="1657296" y="3619519"/>
                    </a:lnTo>
                    <a:lnTo>
                      <a:pt x="1856747" y="3188820"/>
                    </a:lnTo>
                    <a:lnTo>
                      <a:pt x="1859012" y="3190044"/>
                    </a:lnTo>
                    <a:lnTo>
                      <a:pt x="3150318" y="473264"/>
                    </a:lnTo>
                    <a:lnTo>
                      <a:pt x="3162756" y="459556"/>
                    </a:lnTo>
                    <a:cubicBezTo>
                      <a:pt x="3108260" y="411983"/>
                      <a:pt x="3074389" y="341868"/>
                      <a:pt x="3074391" y="263843"/>
                    </a:cubicBezTo>
                    <a:cubicBezTo>
                      <a:pt x="3074389" y="118126"/>
                      <a:pt x="3192517" y="0"/>
                      <a:pt x="3338232" y="0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03" tIns="91403" rIns="91403" bIns="91403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685652">
                  <a:defRPr/>
                </a:pPr>
                <a:endParaRPr lang="en-US" sz="1600" kern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NotesStyle-Medium" pitchFamily="2" charset="0"/>
                </a:endParaRPr>
              </a:p>
            </p:txBody>
          </p:sp>
        </p:grpSp>
        <p:sp>
          <p:nvSpPr>
            <p:cNvPr id="101" name="Rectangle 100"/>
            <p:cNvSpPr/>
            <p:nvPr/>
          </p:nvSpPr>
          <p:spPr>
            <a:xfrm>
              <a:off x="10526254" y="70193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4753930" y="1866610"/>
            <a:ext cx="792000" cy="792000"/>
            <a:chOff x="1671719" y="-1624236"/>
            <a:chExt cx="792000" cy="792000"/>
          </a:xfrm>
        </p:grpSpPr>
        <p:sp>
          <p:nvSpPr>
            <p:cNvPr id="106" name="Freeform 11"/>
            <p:cNvSpPr>
              <a:spLocks noEditPoints="1"/>
            </p:cNvSpPr>
            <p:nvPr/>
          </p:nvSpPr>
          <p:spPr bwMode="auto">
            <a:xfrm>
              <a:off x="1759661" y="-1536968"/>
              <a:ext cx="616116" cy="617465"/>
            </a:xfrm>
            <a:custGeom>
              <a:avLst/>
              <a:gdLst>
                <a:gd name="T0" fmla="*/ 881 w 966"/>
                <a:gd name="T1" fmla="*/ 82 h 968"/>
                <a:gd name="T2" fmla="*/ 669 w 966"/>
                <a:gd name="T3" fmla="*/ 99 h 968"/>
                <a:gd name="T4" fmla="*/ 483 w 966"/>
                <a:gd name="T5" fmla="*/ 0 h 968"/>
                <a:gd name="T6" fmla="*/ 297 w 966"/>
                <a:gd name="T7" fmla="*/ 99 h 968"/>
                <a:gd name="T8" fmla="*/ 85 w 966"/>
                <a:gd name="T9" fmla="*/ 82 h 968"/>
                <a:gd name="T10" fmla="*/ 79 w 966"/>
                <a:gd name="T11" fmla="*/ 554 h 968"/>
                <a:gd name="T12" fmla="*/ 483 w 966"/>
                <a:gd name="T13" fmla="*/ 968 h 968"/>
                <a:gd name="T14" fmla="*/ 887 w 966"/>
                <a:gd name="T15" fmla="*/ 554 h 968"/>
                <a:gd name="T16" fmla="*/ 881 w 966"/>
                <a:gd name="T17" fmla="*/ 82 h 968"/>
                <a:gd name="T18" fmla="*/ 797 w 966"/>
                <a:gd name="T19" fmla="*/ 578 h 968"/>
                <a:gd name="T20" fmla="*/ 483 w 966"/>
                <a:gd name="T21" fmla="*/ 877 h 968"/>
                <a:gd name="T22" fmla="*/ 169 w 966"/>
                <a:gd name="T23" fmla="*/ 578 h 968"/>
                <a:gd name="T24" fmla="*/ 793 w 966"/>
                <a:gd name="T25" fmla="*/ 238 h 968"/>
                <a:gd name="T26" fmla="*/ 797 w 966"/>
                <a:gd name="T27" fmla="*/ 57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6" h="968">
                  <a:moveTo>
                    <a:pt x="881" y="82"/>
                  </a:moveTo>
                  <a:cubicBezTo>
                    <a:pt x="881" y="82"/>
                    <a:pt x="775" y="127"/>
                    <a:pt x="669" y="99"/>
                  </a:cubicBezTo>
                  <a:cubicBezTo>
                    <a:pt x="563" y="71"/>
                    <a:pt x="483" y="0"/>
                    <a:pt x="483" y="0"/>
                  </a:cubicBezTo>
                  <a:cubicBezTo>
                    <a:pt x="483" y="0"/>
                    <a:pt x="403" y="71"/>
                    <a:pt x="297" y="99"/>
                  </a:cubicBezTo>
                  <a:cubicBezTo>
                    <a:pt x="191" y="127"/>
                    <a:pt x="85" y="82"/>
                    <a:pt x="85" y="82"/>
                  </a:cubicBezTo>
                  <a:cubicBezTo>
                    <a:pt x="85" y="82"/>
                    <a:pt x="0" y="334"/>
                    <a:pt x="79" y="554"/>
                  </a:cubicBezTo>
                  <a:cubicBezTo>
                    <a:pt x="158" y="774"/>
                    <a:pt x="422" y="968"/>
                    <a:pt x="483" y="968"/>
                  </a:cubicBezTo>
                  <a:cubicBezTo>
                    <a:pt x="544" y="968"/>
                    <a:pt x="808" y="774"/>
                    <a:pt x="887" y="554"/>
                  </a:cubicBezTo>
                  <a:cubicBezTo>
                    <a:pt x="966" y="334"/>
                    <a:pt x="881" y="82"/>
                    <a:pt x="881" y="82"/>
                  </a:cubicBezTo>
                  <a:close/>
                  <a:moveTo>
                    <a:pt x="797" y="578"/>
                  </a:moveTo>
                  <a:cubicBezTo>
                    <a:pt x="736" y="736"/>
                    <a:pt x="530" y="877"/>
                    <a:pt x="483" y="877"/>
                  </a:cubicBezTo>
                  <a:cubicBezTo>
                    <a:pt x="436" y="877"/>
                    <a:pt x="229" y="737"/>
                    <a:pt x="169" y="578"/>
                  </a:cubicBezTo>
                  <a:cubicBezTo>
                    <a:pt x="169" y="578"/>
                    <a:pt x="339" y="297"/>
                    <a:pt x="793" y="238"/>
                  </a:cubicBezTo>
                  <a:cubicBezTo>
                    <a:pt x="793" y="238"/>
                    <a:pt x="859" y="419"/>
                    <a:pt x="797" y="5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390" tIns="45696" rIns="91390" bIns="45696" numCol="1" anchor="t" anchorCtr="0" compatLnSpc="1">
              <a:prstTxWarp prst="textNoShape">
                <a:avLst/>
              </a:prstTxWarp>
            </a:bodyPr>
            <a:lstStyle/>
            <a:p>
              <a:pPr defTabSz="932540">
                <a:defRPr/>
              </a:pPr>
              <a:endParaRPr lang="en-US" sz="1600" kern="0">
                <a:solidFill>
                  <a:srgbClr val="FFFFFF"/>
                </a:solidFill>
                <a:latin typeface="NotesStyle-Medium" pitchFamily="2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1671719" y="-16242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5597110" y="3030360"/>
            <a:ext cx="792001" cy="792000"/>
            <a:chOff x="9846686" y="413476"/>
            <a:chExt cx="792001" cy="792000"/>
          </a:xfrm>
        </p:grpSpPr>
        <p:pic>
          <p:nvPicPr>
            <p:cNvPr id="110" name="Picture 109" descr="C:\Users\RKoning\Desktop\1372182502_MS - POWERPOINT.png"/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14" r="3312" b="17742"/>
            <a:stretch/>
          </p:blipFill>
          <p:spPr bwMode="auto">
            <a:xfrm>
              <a:off x="9846686" y="460611"/>
              <a:ext cx="792001" cy="69773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1" name="Rectangle 110"/>
            <p:cNvSpPr/>
            <p:nvPr/>
          </p:nvSpPr>
          <p:spPr>
            <a:xfrm>
              <a:off x="9846686" y="41347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5600982" y="3768090"/>
            <a:ext cx="792000" cy="792000"/>
            <a:chOff x="9936796" y="493252"/>
            <a:chExt cx="792000" cy="792000"/>
          </a:xfrm>
        </p:grpSpPr>
        <p:sp>
          <p:nvSpPr>
            <p:cNvPr id="113" name="Rectangle 135"/>
            <p:cNvSpPr/>
            <p:nvPr>
              <p:custDataLst>
                <p:tags r:id="rId4"/>
              </p:custDataLst>
            </p:nvPr>
          </p:nvSpPr>
          <p:spPr bwMode="auto">
            <a:xfrm>
              <a:off x="9948276" y="553196"/>
              <a:ext cx="769041" cy="672112"/>
            </a:xfrm>
            <a:custGeom>
              <a:avLst/>
              <a:gdLst/>
              <a:ahLst/>
              <a:cxnLst/>
              <a:rect l="l" t="t" r="r" b="b"/>
              <a:pathLst>
                <a:path w="4691327" h="4100037">
                  <a:moveTo>
                    <a:pt x="1582367" y="2785348"/>
                  </a:moveTo>
                  <a:lnTo>
                    <a:pt x="1582367" y="2787595"/>
                  </a:lnTo>
                  <a:lnTo>
                    <a:pt x="1580874" y="2787377"/>
                  </a:lnTo>
                  <a:cubicBezTo>
                    <a:pt x="1581426" y="2786751"/>
                    <a:pt x="1581977" y="2786122"/>
                    <a:pt x="1582367" y="2785348"/>
                  </a:cubicBezTo>
                  <a:close/>
                  <a:moveTo>
                    <a:pt x="4094790" y="2627448"/>
                  </a:moveTo>
                  <a:lnTo>
                    <a:pt x="4094790" y="3108960"/>
                  </a:lnTo>
                  <a:lnTo>
                    <a:pt x="4599887" y="3108960"/>
                  </a:lnTo>
                  <a:lnTo>
                    <a:pt x="4599887" y="2627448"/>
                  </a:lnTo>
                  <a:close/>
                  <a:moveTo>
                    <a:pt x="3425924" y="2627448"/>
                  </a:moveTo>
                  <a:lnTo>
                    <a:pt x="3425924" y="3108960"/>
                  </a:lnTo>
                  <a:lnTo>
                    <a:pt x="4049070" y="3108960"/>
                  </a:lnTo>
                  <a:lnTo>
                    <a:pt x="4049070" y="2627448"/>
                  </a:lnTo>
                  <a:close/>
                  <a:moveTo>
                    <a:pt x="2757057" y="2627448"/>
                  </a:moveTo>
                  <a:lnTo>
                    <a:pt x="2757057" y="3108960"/>
                  </a:lnTo>
                  <a:lnTo>
                    <a:pt x="3380204" y="3108960"/>
                  </a:lnTo>
                  <a:lnTo>
                    <a:pt x="3380204" y="2627448"/>
                  </a:lnTo>
                  <a:close/>
                  <a:moveTo>
                    <a:pt x="4094790" y="1975514"/>
                  </a:moveTo>
                  <a:lnTo>
                    <a:pt x="4094790" y="2581729"/>
                  </a:lnTo>
                  <a:lnTo>
                    <a:pt x="4599887" y="2581729"/>
                  </a:lnTo>
                  <a:lnTo>
                    <a:pt x="4599887" y="1975514"/>
                  </a:lnTo>
                  <a:close/>
                  <a:moveTo>
                    <a:pt x="3425924" y="1975514"/>
                  </a:moveTo>
                  <a:lnTo>
                    <a:pt x="3425924" y="2581729"/>
                  </a:lnTo>
                  <a:lnTo>
                    <a:pt x="4049070" y="2581729"/>
                  </a:lnTo>
                  <a:lnTo>
                    <a:pt x="4049070" y="1975514"/>
                  </a:lnTo>
                  <a:close/>
                  <a:moveTo>
                    <a:pt x="2757057" y="1975514"/>
                  </a:moveTo>
                  <a:lnTo>
                    <a:pt x="2757057" y="2581729"/>
                  </a:lnTo>
                  <a:lnTo>
                    <a:pt x="3380204" y="2581729"/>
                  </a:lnTo>
                  <a:lnTo>
                    <a:pt x="3380204" y="1975514"/>
                  </a:lnTo>
                  <a:close/>
                  <a:moveTo>
                    <a:pt x="2613376" y="1975514"/>
                  </a:moveTo>
                  <a:lnTo>
                    <a:pt x="2388162" y="2544127"/>
                  </a:lnTo>
                  <a:lnTo>
                    <a:pt x="2114917" y="2034166"/>
                  </a:lnTo>
                  <a:lnTo>
                    <a:pt x="2088190" y="2049962"/>
                  </a:lnTo>
                  <a:lnTo>
                    <a:pt x="2088190" y="2581729"/>
                  </a:lnTo>
                  <a:lnTo>
                    <a:pt x="2711337" y="2581729"/>
                  </a:lnTo>
                  <a:lnTo>
                    <a:pt x="2711337" y="1975514"/>
                  </a:lnTo>
                  <a:close/>
                  <a:moveTo>
                    <a:pt x="1629418" y="1975514"/>
                  </a:moveTo>
                  <a:cubicBezTo>
                    <a:pt x="1639758" y="2026787"/>
                    <a:pt x="1644652" y="2080347"/>
                    <a:pt x="1644652" y="2135347"/>
                  </a:cubicBezTo>
                  <a:cubicBezTo>
                    <a:pt x="1644652" y="2304623"/>
                    <a:pt x="1598296" y="2460257"/>
                    <a:pt x="1518386" y="2581729"/>
                  </a:cubicBezTo>
                  <a:lnTo>
                    <a:pt x="2042470" y="2581729"/>
                  </a:lnTo>
                  <a:lnTo>
                    <a:pt x="2042470" y="2076984"/>
                  </a:lnTo>
                  <a:lnTo>
                    <a:pt x="1776889" y="2233951"/>
                  </a:lnTo>
                  <a:cubicBezTo>
                    <a:pt x="1785074" y="2148768"/>
                    <a:pt x="1783436" y="2061033"/>
                    <a:pt x="1768701" y="1975514"/>
                  </a:cubicBezTo>
                  <a:close/>
                  <a:moveTo>
                    <a:pt x="2711337" y="1728187"/>
                  </a:moveTo>
                  <a:lnTo>
                    <a:pt x="2631485" y="1929795"/>
                  </a:lnTo>
                  <a:lnTo>
                    <a:pt x="2711337" y="1929795"/>
                  </a:lnTo>
                  <a:close/>
                  <a:moveTo>
                    <a:pt x="2854838" y="1365881"/>
                  </a:moveTo>
                  <a:lnTo>
                    <a:pt x="2757057" y="1612755"/>
                  </a:lnTo>
                  <a:lnTo>
                    <a:pt x="2757057" y="1929795"/>
                  </a:lnTo>
                  <a:lnTo>
                    <a:pt x="3380204" y="1929795"/>
                  </a:lnTo>
                  <a:lnTo>
                    <a:pt x="3380204" y="1462108"/>
                  </a:lnTo>
                  <a:close/>
                  <a:moveTo>
                    <a:pt x="4094790" y="1323581"/>
                  </a:moveTo>
                  <a:lnTo>
                    <a:pt x="4094790" y="1929795"/>
                  </a:lnTo>
                  <a:lnTo>
                    <a:pt x="4599887" y="1929795"/>
                  </a:lnTo>
                  <a:lnTo>
                    <a:pt x="4599887" y="1323581"/>
                  </a:lnTo>
                  <a:close/>
                  <a:moveTo>
                    <a:pt x="3658828" y="1323581"/>
                  </a:moveTo>
                  <a:lnTo>
                    <a:pt x="3475649" y="1479590"/>
                  </a:lnTo>
                  <a:lnTo>
                    <a:pt x="3425924" y="1470482"/>
                  </a:lnTo>
                  <a:lnTo>
                    <a:pt x="3425924" y="1929795"/>
                  </a:lnTo>
                  <a:lnTo>
                    <a:pt x="4049070" y="1929795"/>
                  </a:lnTo>
                  <a:lnTo>
                    <a:pt x="4049070" y="1323581"/>
                  </a:lnTo>
                  <a:close/>
                  <a:moveTo>
                    <a:pt x="2088190" y="1323581"/>
                  </a:moveTo>
                  <a:lnTo>
                    <a:pt x="2088190" y="1772170"/>
                  </a:lnTo>
                  <a:lnTo>
                    <a:pt x="2225476" y="1693945"/>
                  </a:lnTo>
                  <a:lnTo>
                    <a:pt x="2353492" y="1929795"/>
                  </a:lnTo>
                  <a:lnTo>
                    <a:pt x="2356664" y="1929795"/>
                  </a:lnTo>
                  <a:lnTo>
                    <a:pt x="2594992" y="1323581"/>
                  </a:lnTo>
                  <a:close/>
                  <a:moveTo>
                    <a:pt x="4049070" y="991222"/>
                  </a:moveTo>
                  <a:lnTo>
                    <a:pt x="3712509" y="1277862"/>
                  </a:lnTo>
                  <a:lnTo>
                    <a:pt x="4049070" y="1277862"/>
                  </a:lnTo>
                  <a:close/>
                  <a:moveTo>
                    <a:pt x="4389416" y="671648"/>
                  </a:moveTo>
                  <a:lnTo>
                    <a:pt x="4275516" y="1195186"/>
                  </a:lnTo>
                  <a:lnTo>
                    <a:pt x="4094790" y="1020866"/>
                  </a:lnTo>
                  <a:lnTo>
                    <a:pt x="4094790" y="1277862"/>
                  </a:lnTo>
                  <a:lnTo>
                    <a:pt x="4599887" y="1277862"/>
                  </a:lnTo>
                  <a:lnTo>
                    <a:pt x="4599887" y="671648"/>
                  </a:lnTo>
                  <a:close/>
                  <a:moveTo>
                    <a:pt x="3425924" y="671648"/>
                  </a:moveTo>
                  <a:lnTo>
                    <a:pt x="3425924" y="1208929"/>
                  </a:lnTo>
                  <a:lnTo>
                    <a:pt x="3889749" y="845120"/>
                  </a:lnTo>
                  <a:lnTo>
                    <a:pt x="3657017" y="671648"/>
                  </a:lnTo>
                  <a:close/>
                  <a:moveTo>
                    <a:pt x="2757057" y="671648"/>
                  </a:moveTo>
                  <a:lnTo>
                    <a:pt x="2757057" y="1119643"/>
                  </a:lnTo>
                  <a:lnTo>
                    <a:pt x="3380204" y="1230168"/>
                  </a:lnTo>
                  <a:lnTo>
                    <a:pt x="3380204" y="671648"/>
                  </a:lnTo>
                  <a:close/>
                  <a:moveTo>
                    <a:pt x="2088190" y="671648"/>
                  </a:moveTo>
                  <a:lnTo>
                    <a:pt x="2088190" y="1277862"/>
                  </a:lnTo>
                  <a:lnTo>
                    <a:pt x="2612966" y="1277862"/>
                  </a:lnTo>
                  <a:lnTo>
                    <a:pt x="2680506" y="1106065"/>
                  </a:lnTo>
                  <a:lnTo>
                    <a:pt x="2711337" y="1111533"/>
                  </a:lnTo>
                  <a:lnTo>
                    <a:pt x="2711337" y="671648"/>
                  </a:lnTo>
                  <a:close/>
                  <a:moveTo>
                    <a:pt x="1582367" y="671648"/>
                  </a:moveTo>
                  <a:lnTo>
                    <a:pt x="1582367" y="1277862"/>
                  </a:lnTo>
                  <a:lnTo>
                    <a:pt x="2042470" y="1277862"/>
                  </a:lnTo>
                  <a:lnTo>
                    <a:pt x="2042470" y="671648"/>
                  </a:lnTo>
                  <a:close/>
                  <a:moveTo>
                    <a:pt x="4094790" y="91440"/>
                  </a:moveTo>
                  <a:lnTo>
                    <a:pt x="4094790" y="558797"/>
                  </a:lnTo>
                  <a:lnTo>
                    <a:pt x="4428087" y="493901"/>
                  </a:lnTo>
                  <a:lnTo>
                    <a:pt x="4399363" y="625929"/>
                  </a:lnTo>
                  <a:lnTo>
                    <a:pt x="4599887" y="625929"/>
                  </a:lnTo>
                  <a:lnTo>
                    <a:pt x="4599887" y="91440"/>
                  </a:lnTo>
                  <a:close/>
                  <a:moveTo>
                    <a:pt x="3425924" y="91440"/>
                  </a:moveTo>
                  <a:lnTo>
                    <a:pt x="3425924" y="625929"/>
                  </a:lnTo>
                  <a:lnTo>
                    <a:pt x="3750013" y="625929"/>
                  </a:lnTo>
                  <a:lnTo>
                    <a:pt x="4049070" y="567699"/>
                  </a:lnTo>
                  <a:lnTo>
                    <a:pt x="4049070" y="91440"/>
                  </a:lnTo>
                  <a:close/>
                  <a:moveTo>
                    <a:pt x="2757057" y="91440"/>
                  </a:moveTo>
                  <a:lnTo>
                    <a:pt x="2757057" y="625929"/>
                  </a:lnTo>
                  <a:lnTo>
                    <a:pt x="3380204" y="625929"/>
                  </a:lnTo>
                  <a:lnTo>
                    <a:pt x="3380204" y="91440"/>
                  </a:lnTo>
                  <a:close/>
                  <a:moveTo>
                    <a:pt x="2088190" y="91440"/>
                  </a:moveTo>
                  <a:lnTo>
                    <a:pt x="2088190" y="625929"/>
                  </a:lnTo>
                  <a:lnTo>
                    <a:pt x="2711337" y="625929"/>
                  </a:lnTo>
                  <a:lnTo>
                    <a:pt x="2711337" y="91440"/>
                  </a:lnTo>
                  <a:close/>
                  <a:moveTo>
                    <a:pt x="1582367" y="91440"/>
                  </a:moveTo>
                  <a:lnTo>
                    <a:pt x="1582367" y="625929"/>
                  </a:lnTo>
                  <a:lnTo>
                    <a:pt x="2042470" y="625929"/>
                  </a:lnTo>
                  <a:lnTo>
                    <a:pt x="2042470" y="91440"/>
                  </a:lnTo>
                  <a:close/>
                  <a:moveTo>
                    <a:pt x="1490927" y="0"/>
                  </a:moveTo>
                  <a:lnTo>
                    <a:pt x="4691327" y="0"/>
                  </a:lnTo>
                  <a:lnTo>
                    <a:pt x="4691327" y="625929"/>
                  </a:lnTo>
                  <a:lnTo>
                    <a:pt x="4691327" y="671648"/>
                  </a:lnTo>
                  <a:lnTo>
                    <a:pt x="4691327" y="1277862"/>
                  </a:lnTo>
                  <a:lnTo>
                    <a:pt x="4691327" y="1323581"/>
                  </a:lnTo>
                  <a:lnTo>
                    <a:pt x="4691327" y="1929795"/>
                  </a:lnTo>
                  <a:lnTo>
                    <a:pt x="4691327" y="1975514"/>
                  </a:lnTo>
                  <a:lnTo>
                    <a:pt x="4691327" y="2581729"/>
                  </a:lnTo>
                  <a:lnTo>
                    <a:pt x="4691327" y="2627448"/>
                  </a:lnTo>
                  <a:lnTo>
                    <a:pt x="4691327" y="3200400"/>
                  </a:lnTo>
                  <a:lnTo>
                    <a:pt x="2265945" y="3200400"/>
                  </a:lnTo>
                  <a:lnTo>
                    <a:pt x="2221585" y="3108960"/>
                  </a:lnTo>
                  <a:lnTo>
                    <a:pt x="2711337" y="3108960"/>
                  </a:lnTo>
                  <a:lnTo>
                    <a:pt x="2711337" y="2627448"/>
                  </a:lnTo>
                  <a:lnTo>
                    <a:pt x="2088190" y="2627448"/>
                  </a:lnTo>
                  <a:lnTo>
                    <a:pt x="2088190" y="3126664"/>
                  </a:lnTo>
                  <a:lnTo>
                    <a:pt x="2127250" y="3185637"/>
                  </a:lnTo>
                  <a:cubicBezTo>
                    <a:pt x="2112463" y="3397912"/>
                    <a:pt x="2131414" y="3623954"/>
                    <a:pt x="2127250" y="4100037"/>
                  </a:cubicBezTo>
                  <a:lnTo>
                    <a:pt x="0" y="4093687"/>
                  </a:lnTo>
                  <a:cubicBezTo>
                    <a:pt x="2117" y="3815345"/>
                    <a:pt x="4233" y="3537004"/>
                    <a:pt x="6350" y="3258662"/>
                  </a:cubicBezTo>
                  <a:cubicBezTo>
                    <a:pt x="19050" y="3045937"/>
                    <a:pt x="355600" y="2914174"/>
                    <a:pt x="590550" y="2880837"/>
                  </a:cubicBezTo>
                  <a:cubicBezTo>
                    <a:pt x="663575" y="2939575"/>
                    <a:pt x="784225" y="3014187"/>
                    <a:pt x="822325" y="3058637"/>
                  </a:cubicBezTo>
                  <a:lnTo>
                    <a:pt x="742950" y="3204687"/>
                  </a:lnTo>
                  <a:lnTo>
                    <a:pt x="831850" y="3287237"/>
                  </a:lnTo>
                  <a:lnTo>
                    <a:pt x="752475" y="3382487"/>
                  </a:lnTo>
                  <a:lnTo>
                    <a:pt x="946150" y="3833337"/>
                  </a:lnTo>
                  <a:lnTo>
                    <a:pt x="1009650" y="3147537"/>
                  </a:lnTo>
                  <a:lnTo>
                    <a:pt x="930275" y="3061812"/>
                  </a:lnTo>
                  <a:lnTo>
                    <a:pt x="1066800" y="2937987"/>
                  </a:lnTo>
                  <a:lnTo>
                    <a:pt x="1200150" y="3080862"/>
                  </a:lnTo>
                  <a:lnTo>
                    <a:pt x="1111250" y="3147537"/>
                  </a:lnTo>
                  <a:lnTo>
                    <a:pt x="1187450" y="3807937"/>
                  </a:lnTo>
                  <a:lnTo>
                    <a:pt x="1393825" y="3376137"/>
                  </a:lnTo>
                  <a:lnTo>
                    <a:pt x="1301750" y="3284062"/>
                  </a:lnTo>
                  <a:lnTo>
                    <a:pt x="1390650" y="3198337"/>
                  </a:lnTo>
                  <a:lnTo>
                    <a:pt x="1311275" y="3052287"/>
                  </a:lnTo>
                  <a:cubicBezTo>
                    <a:pt x="1380067" y="2997254"/>
                    <a:pt x="1495954" y="2912587"/>
                    <a:pt x="1549400" y="2877662"/>
                  </a:cubicBezTo>
                  <a:cubicBezTo>
                    <a:pt x="1658370" y="2895470"/>
                    <a:pt x="1901881" y="2951670"/>
                    <a:pt x="2042470" y="3079725"/>
                  </a:cubicBezTo>
                  <a:lnTo>
                    <a:pt x="2042470" y="2627448"/>
                  </a:lnTo>
                  <a:lnTo>
                    <a:pt x="1490927" y="2627448"/>
                  </a:lnTo>
                  <a:lnTo>
                    <a:pt x="1490927" y="2623662"/>
                  </a:lnTo>
                  <a:cubicBezTo>
                    <a:pt x="1388006" y="2766629"/>
                    <a:pt x="1238810" y="2855438"/>
                    <a:pt x="1073152" y="2855438"/>
                  </a:cubicBezTo>
                  <a:cubicBezTo>
                    <a:pt x="757521" y="2855438"/>
                    <a:pt x="501652" y="2533042"/>
                    <a:pt x="501652" y="2135347"/>
                  </a:cubicBezTo>
                  <a:cubicBezTo>
                    <a:pt x="501652" y="1737652"/>
                    <a:pt x="757521" y="1415256"/>
                    <a:pt x="1073152" y="1415256"/>
                  </a:cubicBezTo>
                  <a:cubicBezTo>
                    <a:pt x="1331911" y="1415256"/>
                    <a:pt x="1550504" y="1631937"/>
                    <a:pt x="1618154" y="1929795"/>
                  </a:cubicBezTo>
                  <a:lnTo>
                    <a:pt x="1811555" y="1929795"/>
                  </a:lnTo>
                  <a:lnTo>
                    <a:pt x="2042470" y="1798221"/>
                  </a:lnTo>
                  <a:lnTo>
                    <a:pt x="2042470" y="1323581"/>
                  </a:lnTo>
                  <a:lnTo>
                    <a:pt x="1582367" y="1323581"/>
                  </a:lnTo>
                  <a:lnTo>
                    <a:pt x="1582367" y="1580210"/>
                  </a:lnTo>
                  <a:cubicBezTo>
                    <a:pt x="1557308" y="1549114"/>
                    <a:pt x="1526744" y="1522013"/>
                    <a:pt x="1490927" y="1499564"/>
                  </a:cubicBezTo>
                  <a:lnTo>
                    <a:pt x="1490927" y="1323581"/>
                  </a:lnTo>
                  <a:lnTo>
                    <a:pt x="1490927" y="1277862"/>
                  </a:lnTo>
                  <a:lnTo>
                    <a:pt x="1490927" y="671648"/>
                  </a:lnTo>
                  <a:lnTo>
                    <a:pt x="1490927" y="62592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9936796" y="49325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4757846" y="3698362"/>
            <a:ext cx="792000" cy="792000"/>
            <a:chOff x="10332640" y="1563187"/>
            <a:chExt cx="792000" cy="792000"/>
          </a:xfrm>
        </p:grpSpPr>
        <p:sp>
          <p:nvSpPr>
            <p:cNvPr id="116" name="Rectangle 135"/>
            <p:cNvSpPr/>
            <p:nvPr>
              <p:custDataLst>
                <p:tags r:id="rId3"/>
              </p:custDataLst>
            </p:nvPr>
          </p:nvSpPr>
          <p:spPr bwMode="auto">
            <a:xfrm>
              <a:off x="10350640" y="158118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4486492" h="4486492">
                  <a:moveTo>
                    <a:pt x="3115020" y="3115652"/>
                  </a:moveTo>
                  <a:lnTo>
                    <a:pt x="3115020" y="4358307"/>
                  </a:lnTo>
                  <a:lnTo>
                    <a:pt x="4358306" y="4358307"/>
                  </a:lnTo>
                  <a:lnTo>
                    <a:pt x="4358306" y="3115652"/>
                  </a:lnTo>
                  <a:close/>
                  <a:moveTo>
                    <a:pt x="1473659" y="3115652"/>
                  </a:moveTo>
                  <a:lnTo>
                    <a:pt x="1473659" y="4358307"/>
                  </a:lnTo>
                  <a:lnTo>
                    <a:pt x="3012833" y="4358307"/>
                  </a:lnTo>
                  <a:lnTo>
                    <a:pt x="3012833" y="3115652"/>
                  </a:lnTo>
                  <a:close/>
                  <a:moveTo>
                    <a:pt x="128186" y="3115652"/>
                  </a:moveTo>
                  <a:lnTo>
                    <a:pt x="128186" y="4358307"/>
                  </a:lnTo>
                  <a:lnTo>
                    <a:pt x="1371472" y="4358307"/>
                  </a:lnTo>
                  <a:lnTo>
                    <a:pt x="1371472" y="3115652"/>
                  </a:lnTo>
                  <a:close/>
                  <a:moveTo>
                    <a:pt x="1473659" y="2755431"/>
                  </a:moveTo>
                  <a:lnTo>
                    <a:pt x="1473659" y="3013467"/>
                  </a:lnTo>
                  <a:lnTo>
                    <a:pt x="1793547" y="3013467"/>
                  </a:lnTo>
                  <a:close/>
                  <a:moveTo>
                    <a:pt x="963448" y="2343871"/>
                  </a:moveTo>
                  <a:lnTo>
                    <a:pt x="330177" y="3013467"/>
                  </a:lnTo>
                  <a:lnTo>
                    <a:pt x="1371472" y="3013467"/>
                  </a:lnTo>
                  <a:lnTo>
                    <a:pt x="1371472" y="2673002"/>
                  </a:lnTo>
                  <a:close/>
                  <a:moveTo>
                    <a:pt x="3012833" y="1906434"/>
                  </a:moveTo>
                  <a:lnTo>
                    <a:pt x="2010377" y="3013467"/>
                  </a:lnTo>
                  <a:lnTo>
                    <a:pt x="3012833" y="3013467"/>
                  </a:lnTo>
                  <a:close/>
                  <a:moveTo>
                    <a:pt x="3386427" y="1493866"/>
                  </a:moveTo>
                  <a:lnTo>
                    <a:pt x="3115020" y="1793586"/>
                  </a:lnTo>
                  <a:lnTo>
                    <a:pt x="3115020" y="3013467"/>
                  </a:lnTo>
                  <a:lnTo>
                    <a:pt x="4358306" y="3013467"/>
                  </a:lnTo>
                  <a:lnTo>
                    <a:pt x="4358306" y="2522701"/>
                  </a:lnTo>
                  <a:close/>
                  <a:moveTo>
                    <a:pt x="3801600" y="1473023"/>
                  </a:moveTo>
                  <a:lnTo>
                    <a:pt x="4358306" y="2069204"/>
                  </a:lnTo>
                  <a:lnTo>
                    <a:pt x="4358306" y="1473023"/>
                  </a:lnTo>
                  <a:close/>
                  <a:moveTo>
                    <a:pt x="1473659" y="1473023"/>
                  </a:moveTo>
                  <a:lnTo>
                    <a:pt x="1473659" y="2383401"/>
                  </a:lnTo>
                  <a:lnTo>
                    <a:pt x="1820355" y="2695206"/>
                  </a:lnTo>
                  <a:lnTo>
                    <a:pt x="2954285" y="1473023"/>
                  </a:lnTo>
                  <a:close/>
                  <a:moveTo>
                    <a:pt x="128186" y="1473023"/>
                  </a:moveTo>
                  <a:lnTo>
                    <a:pt x="128186" y="2789526"/>
                  </a:lnTo>
                  <a:lnTo>
                    <a:pt x="963448" y="1924535"/>
                  </a:lnTo>
                  <a:lnTo>
                    <a:pt x="1371472" y="2291497"/>
                  </a:lnTo>
                  <a:lnTo>
                    <a:pt x="1371472" y="1473023"/>
                  </a:lnTo>
                  <a:close/>
                  <a:moveTo>
                    <a:pt x="3115020" y="128186"/>
                  </a:moveTo>
                  <a:lnTo>
                    <a:pt x="3115020" y="1299778"/>
                  </a:lnTo>
                  <a:lnTo>
                    <a:pt x="3376578" y="1017863"/>
                  </a:lnTo>
                  <a:lnTo>
                    <a:pt x="3706181" y="1370838"/>
                  </a:lnTo>
                  <a:lnTo>
                    <a:pt x="4358306" y="1370838"/>
                  </a:lnTo>
                  <a:lnTo>
                    <a:pt x="4358306" y="128186"/>
                  </a:lnTo>
                  <a:close/>
                  <a:moveTo>
                    <a:pt x="1473659" y="128186"/>
                  </a:moveTo>
                  <a:lnTo>
                    <a:pt x="1473659" y="1370838"/>
                  </a:lnTo>
                  <a:lnTo>
                    <a:pt x="3012833" y="1370838"/>
                  </a:lnTo>
                  <a:lnTo>
                    <a:pt x="3012833" y="128186"/>
                  </a:lnTo>
                  <a:close/>
                  <a:moveTo>
                    <a:pt x="128186" y="128186"/>
                  </a:moveTo>
                  <a:lnTo>
                    <a:pt x="128186" y="1370838"/>
                  </a:lnTo>
                  <a:lnTo>
                    <a:pt x="1371472" y="1370838"/>
                  </a:lnTo>
                  <a:lnTo>
                    <a:pt x="1371472" y="128186"/>
                  </a:lnTo>
                  <a:close/>
                  <a:moveTo>
                    <a:pt x="0" y="0"/>
                  </a:moveTo>
                  <a:lnTo>
                    <a:pt x="4486492" y="0"/>
                  </a:lnTo>
                  <a:lnTo>
                    <a:pt x="4486492" y="4486492"/>
                  </a:lnTo>
                  <a:lnTo>
                    <a:pt x="0" y="448649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rot="0" spcFirstLastPara="0" vertOverflow="overflow" horzOverflow="overflow" vert="horz" wrap="square" lIns="91403" tIns="45701" rIns="91403" bIns="4570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52">
                <a:defRPr/>
              </a:pPr>
              <a:endParaRPr lang="en-US" sz="1600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10332640" y="156318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118" name="Picture 9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5" t="11725" r="11725" b="11725"/>
          <a:stretch/>
        </p:blipFill>
        <p:spPr bwMode="auto">
          <a:xfrm>
            <a:off x="5608382" y="1869495"/>
            <a:ext cx="792000" cy="7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</p:pic>
      <p:grpSp>
        <p:nvGrpSpPr>
          <p:cNvPr id="119" name="Group 118"/>
          <p:cNvGrpSpPr/>
          <p:nvPr/>
        </p:nvGrpSpPr>
        <p:grpSpPr>
          <a:xfrm>
            <a:off x="3049724" y="2976090"/>
            <a:ext cx="792000" cy="792000"/>
            <a:chOff x="10353073" y="2070423"/>
            <a:chExt cx="792000" cy="792000"/>
          </a:xfrm>
        </p:grpSpPr>
        <p:pic>
          <p:nvPicPr>
            <p:cNvPr id="120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8286" y="2203796"/>
              <a:ext cx="761574" cy="525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Rectangle 120"/>
            <p:cNvSpPr/>
            <p:nvPr/>
          </p:nvSpPr>
          <p:spPr>
            <a:xfrm>
              <a:off x="10353073" y="207042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2287475" y="3585778"/>
            <a:ext cx="792000" cy="792000"/>
            <a:chOff x="2965274" y="4331896"/>
            <a:chExt cx="792000" cy="792000"/>
          </a:xfrm>
        </p:grpSpPr>
        <p:pic>
          <p:nvPicPr>
            <p:cNvPr id="123" name="Picture 122"/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1274" y="4476196"/>
              <a:ext cx="720000" cy="5034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4" name="Rectangle 123"/>
            <p:cNvSpPr/>
            <p:nvPr/>
          </p:nvSpPr>
          <p:spPr>
            <a:xfrm>
              <a:off x="2965274" y="433189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125" name="Picture 1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396" y="3617052"/>
            <a:ext cx="756000" cy="75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6" name="Group 125"/>
          <p:cNvGrpSpPr/>
          <p:nvPr/>
        </p:nvGrpSpPr>
        <p:grpSpPr>
          <a:xfrm>
            <a:off x="4751528" y="4428912"/>
            <a:ext cx="792000" cy="792000"/>
            <a:chOff x="9927824" y="474275"/>
            <a:chExt cx="792000" cy="792000"/>
          </a:xfrm>
        </p:grpSpPr>
        <p:pic>
          <p:nvPicPr>
            <p:cNvPr id="127" name="Picture 3" descr="\\SFP\Work\White_Whale\3-22036_Kuleen_Bharadwaj\PPT\4_SQL Server Renewal\SFP_Art\Icons\Chris Icons\report on browser.png"/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957520" y="595547"/>
              <a:ext cx="732608" cy="5494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8" name="Rectangle 127"/>
            <p:cNvSpPr/>
            <p:nvPr/>
          </p:nvSpPr>
          <p:spPr>
            <a:xfrm>
              <a:off x="9927824" y="4742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893622" y="2822136"/>
            <a:ext cx="792000" cy="826633"/>
            <a:chOff x="10453158" y="699542"/>
            <a:chExt cx="792000" cy="826633"/>
          </a:xfrm>
        </p:grpSpPr>
        <p:grpSp>
          <p:nvGrpSpPr>
            <p:cNvPr id="130" name="Group 129"/>
            <p:cNvGrpSpPr/>
            <p:nvPr/>
          </p:nvGrpSpPr>
          <p:grpSpPr>
            <a:xfrm>
              <a:off x="10585983" y="699542"/>
              <a:ext cx="526351" cy="792000"/>
              <a:chOff x="10069620" y="-293647"/>
              <a:chExt cx="526351" cy="829817"/>
            </a:xfrm>
          </p:grpSpPr>
          <p:sp>
            <p:nvSpPr>
              <p:cNvPr id="132" name="Isosceles Triangle 131"/>
              <p:cNvSpPr/>
              <p:nvPr/>
            </p:nvSpPr>
            <p:spPr bwMode="auto">
              <a:xfrm rot="10800000">
                <a:off x="10132137" y="27874"/>
                <a:ext cx="264344" cy="331128"/>
              </a:xfrm>
              <a:prstGeom prst="triangle">
                <a:avLst>
                  <a:gd name="adj" fmla="val 0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57140" tIns="28570" rIns="57140" bIns="2857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70853"/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pic>
            <p:nvPicPr>
              <p:cNvPr id="133" name="Picture 132"/>
              <p:cNvPicPr>
                <a:picLocks noChangeAspect="1"/>
              </p:cNvPicPr>
              <p:nvPr/>
            </p:nvPicPr>
            <p:blipFill>
              <a:blip r:embed="rId33" cstate="print">
                <a:lum bright="100000" contrast="100000"/>
              </a:blip>
              <a:stretch>
                <a:fillRect/>
              </a:stretch>
            </p:blipFill>
            <p:spPr>
              <a:xfrm>
                <a:off x="10069620" y="222469"/>
                <a:ext cx="526351" cy="31370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134" name="Picture 133" descr="\\MAGNUM\Projects\Microsoft\Cloud Power FY12\Design\ICONS_PNG\Application.png"/>
              <p:cNvPicPr>
                <a:picLocks noChangeAspect="1" noChangeArrowheads="1"/>
              </p:cNvPicPr>
              <p:nvPr/>
            </p:nvPicPr>
            <p:blipFill>
              <a:blip r:embed="rId34" cstate="print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10069620" y="-293647"/>
                <a:ext cx="389379" cy="389278"/>
              </a:xfrm>
              <a:prstGeom prst="rect">
                <a:avLst/>
              </a:prstGeom>
              <a:noFill/>
            </p:spPr>
          </p:pic>
        </p:grpSp>
        <p:sp>
          <p:nvSpPr>
            <p:cNvPr id="131" name="Rectangle 130"/>
            <p:cNvSpPr/>
            <p:nvPr/>
          </p:nvSpPr>
          <p:spPr>
            <a:xfrm>
              <a:off x="10453158" y="73417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3162104" y="3608300"/>
            <a:ext cx="792000" cy="792000"/>
            <a:chOff x="9066303" y="228326"/>
            <a:chExt cx="792000" cy="792000"/>
          </a:xfrm>
        </p:grpSpPr>
        <p:grpSp>
          <p:nvGrpSpPr>
            <p:cNvPr id="136" name="Group 135"/>
            <p:cNvGrpSpPr/>
            <p:nvPr/>
          </p:nvGrpSpPr>
          <p:grpSpPr>
            <a:xfrm>
              <a:off x="9199128" y="228326"/>
              <a:ext cx="526351" cy="792000"/>
              <a:chOff x="10948236" y="3048621"/>
              <a:chExt cx="2113909" cy="3139117"/>
            </a:xfrm>
          </p:grpSpPr>
          <p:pic>
            <p:nvPicPr>
              <p:cNvPr id="138" name="Picture 2" descr="\\MAGNUM\Projects\Microsoft\Cloud Power FY12\Design\Icons\PNGs\Web.png"/>
              <p:cNvPicPr>
                <a:picLocks noChangeAspect="1" noChangeArrowheads="1"/>
              </p:cNvPicPr>
              <p:nvPr/>
            </p:nvPicPr>
            <p:blipFill rotWithShape="1">
              <a:blip r:embed="rId35" cstate="print">
                <a:lum bright="100000"/>
              </a:blip>
              <a:srcRect t="1" b="-1316"/>
              <a:stretch/>
            </p:blipFill>
            <p:spPr bwMode="auto">
              <a:xfrm>
                <a:off x="11112870" y="3048621"/>
                <a:ext cx="1234537" cy="1250773"/>
              </a:xfrm>
              <a:prstGeom prst="rect">
                <a:avLst/>
              </a:prstGeom>
              <a:noFill/>
            </p:spPr>
          </p:pic>
          <p:sp>
            <p:nvSpPr>
              <p:cNvPr id="139" name="Isosceles Triangle 138"/>
              <p:cNvSpPr/>
              <p:nvPr/>
            </p:nvSpPr>
            <p:spPr bwMode="auto">
              <a:xfrm rot="10800000">
                <a:off x="11199316" y="4146344"/>
                <a:ext cx="1061647" cy="1329862"/>
              </a:xfrm>
              <a:prstGeom prst="triangle">
                <a:avLst>
                  <a:gd name="adj" fmla="val 0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57140" tIns="28570" rIns="57140" bIns="2857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70853"/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pic>
            <p:nvPicPr>
              <p:cNvPr id="140" name="Picture 139"/>
              <p:cNvPicPr>
                <a:picLocks noChangeAspect="1"/>
              </p:cNvPicPr>
              <p:nvPr/>
            </p:nvPicPr>
            <p:blipFill>
              <a:blip r:embed="rId33" cstate="print">
                <a:lum bright="100000" contrast="100000"/>
              </a:blip>
              <a:stretch>
                <a:fillRect/>
              </a:stretch>
            </p:blipFill>
            <p:spPr>
              <a:xfrm>
                <a:off x="10948236" y="4927866"/>
                <a:ext cx="2113909" cy="12598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</p:grpSp>
        <p:sp>
          <p:nvSpPr>
            <p:cNvPr id="137" name="Rectangle 136"/>
            <p:cNvSpPr/>
            <p:nvPr/>
          </p:nvSpPr>
          <p:spPr>
            <a:xfrm>
              <a:off x="9066303" y="22832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2249082" y="2856768"/>
            <a:ext cx="792000" cy="792000"/>
            <a:chOff x="9936868" y="1670846"/>
            <a:chExt cx="792000" cy="792000"/>
          </a:xfrm>
        </p:grpSpPr>
        <p:grpSp>
          <p:nvGrpSpPr>
            <p:cNvPr id="142" name="Group 141"/>
            <p:cNvGrpSpPr/>
            <p:nvPr/>
          </p:nvGrpSpPr>
          <p:grpSpPr>
            <a:xfrm>
              <a:off x="10008868" y="1670846"/>
              <a:ext cx="648000" cy="792000"/>
              <a:chOff x="5062551" y="2861874"/>
              <a:chExt cx="2777268" cy="3345461"/>
            </a:xfrm>
          </p:grpSpPr>
          <p:pic>
            <p:nvPicPr>
              <p:cNvPr id="144" name="Picture 2"/>
              <p:cNvPicPr>
                <a:picLocks noChangeAspect="1" noChangeArrowheads="1"/>
              </p:cNvPicPr>
              <p:nvPr/>
            </p:nvPicPr>
            <p:blipFill>
              <a:blip r:embed="rId36" cstate="print">
                <a:lum bright="100000" contrast="100000"/>
              </a:blip>
              <a:srcRect/>
              <a:stretch>
                <a:fillRect/>
              </a:stretch>
            </p:blipFill>
            <p:spPr bwMode="auto">
              <a:xfrm>
                <a:off x="5062551" y="2861874"/>
                <a:ext cx="2148932" cy="1968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45" name="Isosceles Triangle 144"/>
              <p:cNvSpPr/>
              <p:nvPr/>
            </p:nvSpPr>
            <p:spPr bwMode="auto">
              <a:xfrm rot="9180217">
                <a:off x="6169786" y="4246310"/>
                <a:ext cx="1061647" cy="1329862"/>
              </a:xfrm>
              <a:prstGeom prst="triangle">
                <a:avLst>
                  <a:gd name="adj" fmla="val 64317"/>
                </a:avLst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57140" tIns="28570" rIns="57140" bIns="2857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70853"/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pic>
            <p:nvPicPr>
              <p:cNvPr id="146" name="Picture 145"/>
              <p:cNvPicPr>
                <a:picLocks noChangeAspect="1"/>
              </p:cNvPicPr>
              <p:nvPr/>
            </p:nvPicPr>
            <p:blipFill>
              <a:blip r:embed="rId33" cstate="print">
                <a:lum bright="100000" contrast="100000"/>
              </a:blip>
              <a:stretch>
                <a:fillRect/>
              </a:stretch>
            </p:blipFill>
            <p:spPr>
              <a:xfrm>
                <a:off x="5725910" y="4947463"/>
                <a:ext cx="2113909" cy="12598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</p:grpSp>
        <p:sp>
          <p:nvSpPr>
            <p:cNvPr id="143" name="Rectangle 142"/>
            <p:cNvSpPr/>
            <p:nvPr/>
          </p:nvSpPr>
          <p:spPr>
            <a:xfrm>
              <a:off x="9936868" y="167084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2299371" y="4271829"/>
            <a:ext cx="792000" cy="792000"/>
            <a:chOff x="9772790" y="351013"/>
            <a:chExt cx="792000" cy="792000"/>
          </a:xfrm>
        </p:grpSpPr>
        <p:sp>
          <p:nvSpPr>
            <p:cNvPr id="148" name="Freeform 147"/>
            <p:cNvSpPr>
              <a:spLocks noEditPoints="1"/>
            </p:cNvSpPr>
            <p:nvPr/>
          </p:nvSpPr>
          <p:spPr bwMode="black">
            <a:xfrm>
              <a:off x="9924889" y="358276"/>
              <a:ext cx="487803" cy="777475"/>
            </a:xfrm>
            <a:custGeom>
              <a:avLst/>
              <a:gdLst>
                <a:gd name="T0" fmla="*/ 1222 w 1490"/>
                <a:gd name="T1" fmla="*/ 199 h 2432"/>
                <a:gd name="T2" fmla="*/ 1082 w 1490"/>
                <a:gd name="T3" fmla="*/ 239 h 2432"/>
                <a:gd name="T4" fmla="*/ 705 w 1490"/>
                <a:gd name="T5" fmla="*/ 0 h 2432"/>
                <a:gd name="T6" fmla="*/ 298 w 1490"/>
                <a:gd name="T7" fmla="*/ 326 h 2432"/>
                <a:gd name="T8" fmla="*/ 214 w 1490"/>
                <a:gd name="T9" fmla="*/ 309 h 2432"/>
                <a:gd name="T10" fmla="*/ 0 w 1490"/>
                <a:gd name="T11" fmla="*/ 522 h 2432"/>
                <a:gd name="T12" fmla="*/ 214 w 1490"/>
                <a:gd name="T13" fmla="*/ 736 h 2432"/>
                <a:gd name="T14" fmla="*/ 1222 w 1490"/>
                <a:gd name="T15" fmla="*/ 736 h 2432"/>
                <a:gd name="T16" fmla="*/ 1490 w 1490"/>
                <a:gd name="T17" fmla="*/ 467 h 2432"/>
                <a:gd name="T18" fmla="*/ 1222 w 1490"/>
                <a:gd name="T19" fmla="*/ 199 h 2432"/>
                <a:gd name="T20" fmla="*/ 318 w 1490"/>
                <a:gd name="T21" fmla="*/ 2032 h 2432"/>
                <a:gd name="T22" fmla="*/ 318 w 1490"/>
                <a:gd name="T23" fmla="*/ 2398 h 2432"/>
                <a:gd name="T24" fmla="*/ 351 w 1490"/>
                <a:gd name="T25" fmla="*/ 2432 h 2432"/>
                <a:gd name="T26" fmla="*/ 605 w 1490"/>
                <a:gd name="T27" fmla="*/ 2432 h 2432"/>
                <a:gd name="T28" fmla="*/ 605 w 1490"/>
                <a:gd name="T29" fmla="*/ 2091 h 2432"/>
                <a:gd name="T30" fmla="*/ 639 w 1490"/>
                <a:gd name="T31" fmla="*/ 2058 h 2432"/>
                <a:gd name="T32" fmla="*/ 852 w 1490"/>
                <a:gd name="T33" fmla="*/ 2058 h 2432"/>
                <a:gd name="T34" fmla="*/ 886 w 1490"/>
                <a:gd name="T35" fmla="*/ 2091 h 2432"/>
                <a:gd name="T36" fmla="*/ 886 w 1490"/>
                <a:gd name="T37" fmla="*/ 2432 h 2432"/>
                <a:gd name="T38" fmla="*/ 1140 w 1490"/>
                <a:gd name="T39" fmla="*/ 2432 h 2432"/>
                <a:gd name="T40" fmla="*/ 1173 w 1490"/>
                <a:gd name="T41" fmla="*/ 2398 h 2432"/>
                <a:gd name="T42" fmla="*/ 1173 w 1490"/>
                <a:gd name="T43" fmla="*/ 2032 h 2432"/>
                <a:gd name="T44" fmla="*/ 745 w 1490"/>
                <a:gd name="T45" fmla="*/ 1657 h 2432"/>
                <a:gd name="T46" fmla="*/ 318 w 1490"/>
                <a:gd name="T47" fmla="*/ 2032 h 2432"/>
                <a:gd name="T48" fmla="*/ 1086 w 1490"/>
                <a:gd name="T49" fmla="*/ 1483 h 2432"/>
                <a:gd name="T50" fmla="*/ 926 w 1490"/>
                <a:gd name="T51" fmla="*/ 1483 h 2432"/>
                <a:gd name="T52" fmla="*/ 926 w 1490"/>
                <a:gd name="T53" fmla="*/ 1601 h 2432"/>
                <a:gd name="T54" fmla="*/ 745 w 1490"/>
                <a:gd name="T55" fmla="*/ 1443 h 2432"/>
                <a:gd name="T56" fmla="*/ 198 w 1490"/>
                <a:gd name="T57" fmla="*/ 1924 h 2432"/>
                <a:gd name="T58" fmla="*/ 198 w 1490"/>
                <a:gd name="T59" fmla="*/ 2071 h 2432"/>
                <a:gd name="T60" fmla="*/ 745 w 1490"/>
                <a:gd name="T61" fmla="*/ 1590 h 2432"/>
                <a:gd name="T62" fmla="*/ 1293 w 1490"/>
                <a:gd name="T63" fmla="*/ 2071 h 2432"/>
                <a:gd name="T64" fmla="*/ 1293 w 1490"/>
                <a:gd name="T65" fmla="*/ 1924 h 2432"/>
                <a:gd name="T66" fmla="*/ 1086 w 1490"/>
                <a:gd name="T67" fmla="*/ 1742 h 2432"/>
                <a:gd name="T68" fmla="*/ 1086 w 1490"/>
                <a:gd name="T69" fmla="*/ 1483 h 2432"/>
                <a:gd name="T70" fmla="*/ 745 w 1490"/>
                <a:gd name="T71" fmla="*/ 1287 h 2432"/>
                <a:gd name="T72" fmla="*/ 1091 w 1490"/>
                <a:gd name="T73" fmla="*/ 1085 h 2432"/>
                <a:gd name="T74" fmla="*/ 745 w 1490"/>
                <a:gd name="T75" fmla="*/ 1228 h 2432"/>
                <a:gd name="T76" fmla="*/ 400 w 1490"/>
                <a:gd name="T77" fmla="*/ 1085 h 2432"/>
                <a:gd name="T78" fmla="*/ 745 w 1490"/>
                <a:gd name="T79" fmla="*/ 1287 h 2432"/>
                <a:gd name="T80" fmla="*/ 745 w 1490"/>
                <a:gd name="T81" fmla="*/ 1115 h 2432"/>
                <a:gd name="T82" fmla="*/ 982 w 1490"/>
                <a:gd name="T83" fmla="*/ 959 h 2432"/>
                <a:gd name="T84" fmla="*/ 745 w 1490"/>
                <a:gd name="T85" fmla="*/ 1063 h 2432"/>
                <a:gd name="T86" fmla="*/ 509 w 1490"/>
                <a:gd name="T87" fmla="*/ 959 h 2432"/>
                <a:gd name="T88" fmla="*/ 745 w 1490"/>
                <a:gd name="T89" fmla="*/ 1115 h 2432"/>
                <a:gd name="T90" fmla="*/ 883 w 1490"/>
                <a:gd name="T91" fmla="*/ 866 h 2432"/>
                <a:gd name="T92" fmla="*/ 745 w 1490"/>
                <a:gd name="T93" fmla="*/ 923 h 2432"/>
                <a:gd name="T94" fmla="*/ 608 w 1490"/>
                <a:gd name="T95" fmla="*/ 866 h 2432"/>
                <a:gd name="T96" fmla="*/ 745 w 1490"/>
                <a:gd name="T97" fmla="*/ 969 h 2432"/>
                <a:gd name="T98" fmla="*/ 883 w 1490"/>
                <a:gd name="T99" fmla="*/ 866 h 2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90" h="2432">
                  <a:moveTo>
                    <a:pt x="1222" y="199"/>
                  </a:moveTo>
                  <a:cubicBezTo>
                    <a:pt x="1171" y="199"/>
                    <a:pt x="1123" y="214"/>
                    <a:pt x="1082" y="239"/>
                  </a:cubicBezTo>
                  <a:cubicBezTo>
                    <a:pt x="1015" y="98"/>
                    <a:pt x="871" y="0"/>
                    <a:pt x="705" y="0"/>
                  </a:cubicBezTo>
                  <a:cubicBezTo>
                    <a:pt x="506" y="0"/>
                    <a:pt x="340" y="140"/>
                    <a:pt x="298" y="326"/>
                  </a:cubicBezTo>
                  <a:cubicBezTo>
                    <a:pt x="272" y="315"/>
                    <a:pt x="244" y="309"/>
                    <a:pt x="214" y="309"/>
                  </a:cubicBezTo>
                  <a:cubicBezTo>
                    <a:pt x="96" y="309"/>
                    <a:pt x="0" y="404"/>
                    <a:pt x="0" y="522"/>
                  </a:cubicBezTo>
                  <a:cubicBezTo>
                    <a:pt x="0" y="640"/>
                    <a:pt x="96" y="736"/>
                    <a:pt x="214" y="736"/>
                  </a:cubicBezTo>
                  <a:cubicBezTo>
                    <a:pt x="1222" y="736"/>
                    <a:pt x="1222" y="736"/>
                    <a:pt x="1222" y="736"/>
                  </a:cubicBezTo>
                  <a:cubicBezTo>
                    <a:pt x="1370" y="736"/>
                    <a:pt x="1490" y="616"/>
                    <a:pt x="1490" y="467"/>
                  </a:cubicBezTo>
                  <a:cubicBezTo>
                    <a:pt x="1490" y="319"/>
                    <a:pt x="1370" y="199"/>
                    <a:pt x="1222" y="199"/>
                  </a:cubicBezTo>
                  <a:close/>
                  <a:moveTo>
                    <a:pt x="318" y="2032"/>
                  </a:moveTo>
                  <a:cubicBezTo>
                    <a:pt x="318" y="2398"/>
                    <a:pt x="318" y="2398"/>
                    <a:pt x="318" y="2398"/>
                  </a:cubicBezTo>
                  <a:cubicBezTo>
                    <a:pt x="318" y="2417"/>
                    <a:pt x="333" y="2432"/>
                    <a:pt x="351" y="2432"/>
                  </a:cubicBezTo>
                  <a:cubicBezTo>
                    <a:pt x="605" y="2432"/>
                    <a:pt x="605" y="2432"/>
                    <a:pt x="605" y="2432"/>
                  </a:cubicBezTo>
                  <a:cubicBezTo>
                    <a:pt x="605" y="2091"/>
                    <a:pt x="605" y="2091"/>
                    <a:pt x="605" y="2091"/>
                  </a:cubicBezTo>
                  <a:cubicBezTo>
                    <a:pt x="605" y="2073"/>
                    <a:pt x="620" y="2058"/>
                    <a:pt x="639" y="2058"/>
                  </a:cubicBezTo>
                  <a:cubicBezTo>
                    <a:pt x="852" y="2058"/>
                    <a:pt x="852" y="2058"/>
                    <a:pt x="852" y="2058"/>
                  </a:cubicBezTo>
                  <a:cubicBezTo>
                    <a:pt x="871" y="2058"/>
                    <a:pt x="886" y="2073"/>
                    <a:pt x="886" y="2091"/>
                  </a:cubicBezTo>
                  <a:cubicBezTo>
                    <a:pt x="886" y="2432"/>
                    <a:pt x="886" y="2432"/>
                    <a:pt x="886" y="2432"/>
                  </a:cubicBezTo>
                  <a:cubicBezTo>
                    <a:pt x="1140" y="2432"/>
                    <a:pt x="1140" y="2432"/>
                    <a:pt x="1140" y="2432"/>
                  </a:cubicBezTo>
                  <a:cubicBezTo>
                    <a:pt x="1158" y="2432"/>
                    <a:pt x="1173" y="2417"/>
                    <a:pt x="1173" y="2398"/>
                  </a:cubicBezTo>
                  <a:cubicBezTo>
                    <a:pt x="1173" y="2032"/>
                    <a:pt x="1173" y="2032"/>
                    <a:pt x="1173" y="2032"/>
                  </a:cubicBezTo>
                  <a:cubicBezTo>
                    <a:pt x="745" y="1657"/>
                    <a:pt x="745" y="1657"/>
                    <a:pt x="745" y="1657"/>
                  </a:cubicBezTo>
                  <a:lnTo>
                    <a:pt x="318" y="2032"/>
                  </a:lnTo>
                  <a:close/>
                  <a:moveTo>
                    <a:pt x="1086" y="1483"/>
                  </a:moveTo>
                  <a:cubicBezTo>
                    <a:pt x="926" y="1483"/>
                    <a:pt x="926" y="1483"/>
                    <a:pt x="926" y="1483"/>
                  </a:cubicBezTo>
                  <a:cubicBezTo>
                    <a:pt x="926" y="1601"/>
                    <a:pt x="926" y="1601"/>
                    <a:pt x="926" y="1601"/>
                  </a:cubicBezTo>
                  <a:cubicBezTo>
                    <a:pt x="745" y="1443"/>
                    <a:pt x="745" y="1443"/>
                    <a:pt x="745" y="1443"/>
                  </a:cubicBezTo>
                  <a:cubicBezTo>
                    <a:pt x="198" y="1924"/>
                    <a:pt x="198" y="1924"/>
                    <a:pt x="198" y="1924"/>
                  </a:cubicBezTo>
                  <a:cubicBezTo>
                    <a:pt x="198" y="2071"/>
                    <a:pt x="198" y="2071"/>
                    <a:pt x="198" y="2071"/>
                  </a:cubicBezTo>
                  <a:cubicBezTo>
                    <a:pt x="745" y="1590"/>
                    <a:pt x="745" y="1590"/>
                    <a:pt x="745" y="1590"/>
                  </a:cubicBezTo>
                  <a:cubicBezTo>
                    <a:pt x="1293" y="2071"/>
                    <a:pt x="1293" y="2071"/>
                    <a:pt x="1293" y="2071"/>
                  </a:cubicBezTo>
                  <a:cubicBezTo>
                    <a:pt x="1293" y="1924"/>
                    <a:pt x="1293" y="1924"/>
                    <a:pt x="1293" y="1924"/>
                  </a:cubicBezTo>
                  <a:cubicBezTo>
                    <a:pt x="1086" y="1742"/>
                    <a:pt x="1086" y="1742"/>
                    <a:pt x="1086" y="1742"/>
                  </a:cubicBezTo>
                  <a:lnTo>
                    <a:pt x="1086" y="1483"/>
                  </a:lnTo>
                  <a:close/>
                  <a:moveTo>
                    <a:pt x="745" y="1287"/>
                  </a:moveTo>
                  <a:cubicBezTo>
                    <a:pt x="906" y="1289"/>
                    <a:pt x="1041" y="1191"/>
                    <a:pt x="1091" y="1085"/>
                  </a:cubicBezTo>
                  <a:cubicBezTo>
                    <a:pt x="1001" y="1176"/>
                    <a:pt x="874" y="1228"/>
                    <a:pt x="745" y="1228"/>
                  </a:cubicBezTo>
                  <a:cubicBezTo>
                    <a:pt x="617" y="1228"/>
                    <a:pt x="490" y="1176"/>
                    <a:pt x="400" y="1085"/>
                  </a:cubicBezTo>
                  <a:cubicBezTo>
                    <a:pt x="449" y="1191"/>
                    <a:pt x="585" y="1289"/>
                    <a:pt x="745" y="1287"/>
                  </a:cubicBezTo>
                  <a:close/>
                  <a:moveTo>
                    <a:pt x="745" y="1115"/>
                  </a:moveTo>
                  <a:cubicBezTo>
                    <a:pt x="862" y="1116"/>
                    <a:pt x="952" y="1037"/>
                    <a:pt x="982" y="959"/>
                  </a:cubicBezTo>
                  <a:cubicBezTo>
                    <a:pt x="919" y="1022"/>
                    <a:pt x="834" y="1064"/>
                    <a:pt x="745" y="1063"/>
                  </a:cubicBezTo>
                  <a:cubicBezTo>
                    <a:pt x="657" y="1064"/>
                    <a:pt x="572" y="1022"/>
                    <a:pt x="509" y="959"/>
                  </a:cubicBezTo>
                  <a:cubicBezTo>
                    <a:pt x="539" y="1037"/>
                    <a:pt x="629" y="1116"/>
                    <a:pt x="745" y="1115"/>
                  </a:cubicBezTo>
                  <a:close/>
                  <a:moveTo>
                    <a:pt x="883" y="866"/>
                  </a:moveTo>
                  <a:cubicBezTo>
                    <a:pt x="847" y="903"/>
                    <a:pt x="796" y="923"/>
                    <a:pt x="745" y="923"/>
                  </a:cubicBezTo>
                  <a:cubicBezTo>
                    <a:pt x="694" y="923"/>
                    <a:pt x="644" y="903"/>
                    <a:pt x="608" y="866"/>
                  </a:cubicBezTo>
                  <a:cubicBezTo>
                    <a:pt x="618" y="918"/>
                    <a:pt x="675" y="969"/>
                    <a:pt x="745" y="969"/>
                  </a:cubicBezTo>
                  <a:cubicBezTo>
                    <a:pt x="816" y="969"/>
                    <a:pt x="873" y="918"/>
                    <a:pt x="883" y="8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en-US" sz="1600">
                <a:solidFill>
                  <a:srgbClr val="FFFFFF"/>
                </a:solidFill>
                <a:latin typeface="NotesStyle-Medium" pitchFamily="2" charset="0"/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9772790" y="35101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3884479" y="4307640"/>
            <a:ext cx="792000" cy="792000"/>
            <a:chOff x="9936796" y="511596"/>
            <a:chExt cx="792000" cy="792000"/>
          </a:xfrm>
        </p:grpSpPr>
        <p:sp>
          <p:nvSpPr>
            <p:cNvPr id="151" name="Freeform 150"/>
            <p:cNvSpPr/>
            <p:nvPr>
              <p:custDataLst>
                <p:tags r:id="rId2"/>
              </p:custDataLst>
            </p:nvPr>
          </p:nvSpPr>
          <p:spPr bwMode="auto">
            <a:xfrm>
              <a:off x="10016148" y="543095"/>
              <a:ext cx="633296" cy="729003"/>
            </a:xfrm>
            <a:custGeom>
              <a:avLst/>
              <a:gdLst/>
              <a:ahLst/>
              <a:cxnLst/>
              <a:rect l="l" t="t" r="r" b="b"/>
              <a:pathLst>
                <a:path w="1409187" h="1407887">
                  <a:moveTo>
                    <a:pt x="932843" y="1289744"/>
                  </a:moveTo>
                  <a:lnTo>
                    <a:pt x="1118492" y="1289744"/>
                  </a:lnTo>
                  <a:cubicBezTo>
                    <a:pt x="1125060" y="1289744"/>
                    <a:pt x="1130383" y="1295068"/>
                    <a:pt x="1130383" y="1301635"/>
                  </a:cubicBezTo>
                  <a:cubicBezTo>
                    <a:pt x="1130383" y="1308203"/>
                    <a:pt x="1125059" y="1313526"/>
                    <a:pt x="1118492" y="1313526"/>
                  </a:cubicBezTo>
                  <a:lnTo>
                    <a:pt x="932843" y="1313526"/>
                  </a:lnTo>
                  <a:cubicBezTo>
                    <a:pt x="926276" y="1313526"/>
                    <a:pt x="920952" y="1308202"/>
                    <a:pt x="920952" y="1301635"/>
                  </a:cubicBezTo>
                  <a:cubicBezTo>
                    <a:pt x="920952" y="1295068"/>
                    <a:pt x="926276" y="1289744"/>
                    <a:pt x="932843" y="1289744"/>
                  </a:cubicBezTo>
                  <a:close/>
                  <a:moveTo>
                    <a:pt x="215619" y="1289744"/>
                  </a:moveTo>
                  <a:lnTo>
                    <a:pt x="401269" y="1289744"/>
                  </a:lnTo>
                  <a:cubicBezTo>
                    <a:pt x="407837" y="1289744"/>
                    <a:pt x="413160" y="1295068"/>
                    <a:pt x="413160" y="1301635"/>
                  </a:cubicBezTo>
                  <a:cubicBezTo>
                    <a:pt x="413160" y="1308203"/>
                    <a:pt x="407836" y="1313526"/>
                    <a:pt x="401269" y="1313526"/>
                  </a:cubicBezTo>
                  <a:lnTo>
                    <a:pt x="215619" y="1313526"/>
                  </a:lnTo>
                  <a:cubicBezTo>
                    <a:pt x="209052" y="1313526"/>
                    <a:pt x="203728" y="1308202"/>
                    <a:pt x="203728" y="1301635"/>
                  </a:cubicBezTo>
                  <a:cubicBezTo>
                    <a:pt x="203728" y="1295068"/>
                    <a:pt x="209052" y="1289744"/>
                    <a:pt x="215619" y="1289744"/>
                  </a:cubicBezTo>
                  <a:close/>
                  <a:moveTo>
                    <a:pt x="932843" y="1234510"/>
                  </a:moveTo>
                  <a:lnTo>
                    <a:pt x="1118492" y="1234510"/>
                  </a:lnTo>
                  <a:cubicBezTo>
                    <a:pt x="1125060" y="1234510"/>
                    <a:pt x="1130383" y="1239834"/>
                    <a:pt x="1130383" y="1246401"/>
                  </a:cubicBezTo>
                  <a:cubicBezTo>
                    <a:pt x="1130383" y="1252968"/>
                    <a:pt x="1125059" y="1258292"/>
                    <a:pt x="1118492" y="1258292"/>
                  </a:cubicBezTo>
                  <a:lnTo>
                    <a:pt x="932843" y="1258292"/>
                  </a:lnTo>
                  <a:cubicBezTo>
                    <a:pt x="926276" y="1258292"/>
                    <a:pt x="920952" y="1252968"/>
                    <a:pt x="920952" y="1246401"/>
                  </a:cubicBezTo>
                  <a:cubicBezTo>
                    <a:pt x="920952" y="1239834"/>
                    <a:pt x="926276" y="1234510"/>
                    <a:pt x="932843" y="1234510"/>
                  </a:cubicBezTo>
                  <a:close/>
                  <a:moveTo>
                    <a:pt x="215619" y="1234510"/>
                  </a:moveTo>
                  <a:lnTo>
                    <a:pt x="401269" y="1234510"/>
                  </a:lnTo>
                  <a:cubicBezTo>
                    <a:pt x="407837" y="1234510"/>
                    <a:pt x="413160" y="1239834"/>
                    <a:pt x="413160" y="1246401"/>
                  </a:cubicBezTo>
                  <a:cubicBezTo>
                    <a:pt x="413160" y="1252968"/>
                    <a:pt x="407836" y="1258292"/>
                    <a:pt x="401269" y="1258292"/>
                  </a:cubicBezTo>
                  <a:lnTo>
                    <a:pt x="215619" y="1258292"/>
                  </a:lnTo>
                  <a:cubicBezTo>
                    <a:pt x="209052" y="1258292"/>
                    <a:pt x="203728" y="1252968"/>
                    <a:pt x="203728" y="1246401"/>
                  </a:cubicBezTo>
                  <a:cubicBezTo>
                    <a:pt x="203728" y="1239834"/>
                    <a:pt x="209052" y="1234510"/>
                    <a:pt x="215619" y="1234510"/>
                  </a:cubicBezTo>
                  <a:close/>
                  <a:moveTo>
                    <a:pt x="932843" y="1179275"/>
                  </a:moveTo>
                  <a:lnTo>
                    <a:pt x="1118492" y="1179275"/>
                  </a:lnTo>
                  <a:cubicBezTo>
                    <a:pt x="1125060" y="1179275"/>
                    <a:pt x="1130383" y="1184599"/>
                    <a:pt x="1130383" y="1191166"/>
                  </a:cubicBezTo>
                  <a:cubicBezTo>
                    <a:pt x="1130383" y="1197733"/>
                    <a:pt x="1125059" y="1203057"/>
                    <a:pt x="1118492" y="1203057"/>
                  </a:cubicBezTo>
                  <a:lnTo>
                    <a:pt x="932843" y="1203057"/>
                  </a:lnTo>
                  <a:cubicBezTo>
                    <a:pt x="926276" y="1203057"/>
                    <a:pt x="920952" y="1197733"/>
                    <a:pt x="920952" y="1191166"/>
                  </a:cubicBezTo>
                  <a:cubicBezTo>
                    <a:pt x="920952" y="1184599"/>
                    <a:pt x="926276" y="1179275"/>
                    <a:pt x="932843" y="1179275"/>
                  </a:cubicBezTo>
                  <a:close/>
                  <a:moveTo>
                    <a:pt x="215619" y="1179275"/>
                  </a:moveTo>
                  <a:lnTo>
                    <a:pt x="401269" y="1179275"/>
                  </a:lnTo>
                  <a:cubicBezTo>
                    <a:pt x="407837" y="1179275"/>
                    <a:pt x="413160" y="1184599"/>
                    <a:pt x="413160" y="1191166"/>
                  </a:cubicBezTo>
                  <a:cubicBezTo>
                    <a:pt x="413160" y="1197733"/>
                    <a:pt x="407836" y="1203057"/>
                    <a:pt x="401269" y="1203057"/>
                  </a:cubicBezTo>
                  <a:lnTo>
                    <a:pt x="215619" y="1203057"/>
                  </a:lnTo>
                  <a:cubicBezTo>
                    <a:pt x="209052" y="1203057"/>
                    <a:pt x="203728" y="1197733"/>
                    <a:pt x="203728" y="1191166"/>
                  </a:cubicBezTo>
                  <a:cubicBezTo>
                    <a:pt x="203728" y="1184599"/>
                    <a:pt x="209052" y="1179275"/>
                    <a:pt x="215619" y="1179275"/>
                  </a:cubicBezTo>
                  <a:close/>
                  <a:moveTo>
                    <a:pt x="1014160" y="1124808"/>
                  </a:moveTo>
                  <a:lnTo>
                    <a:pt x="1118492" y="1124808"/>
                  </a:lnTo>
                  <a:cubicBezTo>
                    <a:pt x="1125060" y="1124808"/>
                    <a:pt x="1130383" y="1130131"/>
                    <a:pt x="1130383" y="1136698"/>
                  </a:cubicBezTo>
                  <a:cubicBezTo>
                    <a:pt x="1130383" y="1143266"/>
                    <a:pt x="1125059" y="1148589"/>
                    <a:pt x="1118492" y="1148589"/>
                  </a:cubicBezTo>
                  <a:lnTo>
                    <a:pt x="1014160" y="1148589"/>
                  </a:lnTo>
                  <a:cubicBezTo>
                    <a:pt x="1007593" y="1148589"/>
                    <a:pt x="1002269" y="1143265"/>
                    <a:pt x="1002269" y="1136698"/>
                  </a:cubicBezTo>
                  <a:cubicBezTo>
                    <a:pt x="1002269" y="1130131"/>
                    <a:pt x="1007593" y="1124808"/>
                    <a:pt x="1014160" y="1124808"/>
                  </a:cubicBezTo>
                  <a:close/>
                  <a:moveTo>
                    <a:pt x="296937" y="1124808"/>
                  </a:moveTo>
                  <a:lnTo>
                    <a:pt x="401269" y="1124808"/>
                  </a:lnTo>
                  <a:cubicBezTo>
                    <a:pt x="407837" y="1124808"/>
                    <a:pt x="413160" y="1130131"/>
                    <a:pt x="413160" y="1136698"/>
                  </a:cubicBezTo>
                  <a:cubicBezTo>
                    <a:pt x="413160" y="1143266"/>
                    <a:pt x="407836" y="1148589"/>
                    <a:pt x="401269" y="1148589"/>
                  </a:cubicBezTo>
                  <a:lnTo>
                    <a:pt x="296937" y="1148589"/>
                  </a:lnTo>
                  <a:cubicBezTo>
                    <a:pt x="290370" y="1148589"/>
                    <a:pt x="285046" y="1143265"/>
                    <a:pt x="285046" y="1136698"/>
                  </a:cubicBezTo>
                  <a:cubicBezTo>
                    <a:pt x="285046" y="1130131"/>
                    <a:pt x="290370" y="1124808"/>
                    <a:pt x="296937" y="1124808"/>
                  </a:cubicBezTo>
                  <a:close/>
                  <a:moveTo>
                    <a:pt x="659719" y="1108134"/>
                  </a:moveTo>
                  <a:lnTo>
                    <a:pt x="659719" y="1360546"/>
                  </a:lnTo>
                  <a:lnTo>
                    <a:pt x="571046" y="1234340"/>
                  </a:lnTo>
                  <a:close/>
                  <a:moveTo>
                    <a:pt x="681840" y="1108133"/>
                  </a:moveTo>
                  <a:lnTo>
                    <a:pt x="770513" y="1234339"/>
                  </a:lnTo>
                  <a:lnTo>
                    <a:pt x="681840" y="1360545"/>
                  </a:lnTo>
                  <a:close/>
                  <a:moveTo>
                    <a:pt x="979183" y="1039652"/>
                  </a:moveTo>
                  <a:lnTo>
                    <a:pt x="979183" y="1109374"/>
                  </a:lnTo>
                  <a:cubicBezTo>
                    <a:pt x="979183" y="1120440"/>
                    <a:pt x="970213" y="1129410"/>
                    <a:pt x="959147" y="1129410"/>
                  </a:cubicBezTo>
                  <a:lnTo>
                    <a:pt x="878375" y="1129410"/>
                  </a:lnTo>
                  <a:lnTo>
                    <a:pt x="878375" y="1351972"/>
                  </a:lnTo>
                  <a:cubicBezTo>
                    <a:pt x="878375" y="1369134"/>
                    <a:pt x="885086" y="1386115"/>
                    <a:pt x="908785" y="1383046"/>
                  </a:cubicBezTo>
                  <a:lnTo>
                    <a:pt x="1172960" y="1383046"/>
                  </a:lnTo>
                  <a:lnTo>
                    <a:pt x="1172960" y="1071486"/>
                  </a:lnTo>
                  <a:cubicBezTo>
                    <a:pt x="1172192" y="1044352"/>
                    <a:pt x="1159344" y="1040412"/>
                    <a:pt x="1142550" y="1040412"/>
                  </a:cubicBezTo>
                  <a:close/>
                  <a:moveTo>
                    <a:pt x="261959" y="1039652"/>
                  </a:moveTo>
                  <a:lnTo>
                    <a:pt x="261959" y="1109374"/>
                  </a:lnTo>
                  <a:cubicBezTo>
                    <a:pt x="261959" y="1120440"/>
                    <a:pt x="252989" y="1129410"/>
                    <a:pt x="241924" y="1129410"/>
                  </a:cubicBezTo>
                  <a:lnTo>
                    <a:pt x="161152" y="1129410"/>
                  </a:lnTo>
                  <a:lnTo>
                    <a:pt x="161152" y="1351972"/>
                  </a:lnTo>
                  <a:cubicBezTo>
                    <a:pt x="161152" y="1369134"/>
                    <a:pt x="167862" y="1386115"/>
                    <a:pt x="191561" y="1383046"/>
                  </a:cubicBezTo>
                  <a:lnTo>
                    <a:pt x="455737" y="1383046"/>
                  </a:lnTo>
                  <a:lnTo>
                    <a:pt x="455737" y="1071486"/>
                  </a:lnTo>
                  <a:cubicBezTo>
                    <a:pt x="454969" y="1044352"/>
                    <a:pt x="442121" y="1040412"/>
                    <a:pt x="425327" y="1040412"/>
                  </a:cubicBezTo>
                  <a:close/>
                  <a:moveTo>
                    <a:pt x="961720" y="1015571"/>
                  </a:moveTo>
                  <a:lnTo>
                    <a:pt x="1162420" y="1015571"/>
                  </a:lnTo>
                  <a:cubicBezTo>
                    <a:pt x="1182070" y="1015571"/>
                    <a:pt x="1197999" y="1031501"/>
                    <a:pt x="1197999" y="1051151"/>
                  </a:cubicBezTo>
                  <a:lnTo>
                    <a:pt x="1197999" y="1407887"/>
                  </a:lnTo>
                  <a:lnTo>
                    <a:pt x="888915" y="1407887"/>
                  </a:lnTo>
                  <a:cubicBezTo>
                    <a:pt x="869265" y="1407887"/>
                    <a:pt x="853335" y="1391958"/>
                    <a:pt x="853335" y="1372308"/>
                  </a:cubicBezTo>
                  <a:lnTo>
                    <a:pt x="853335" y="1115619"/>
                  </a:lnTo>
                  <a:close/>
                  <a:moveTo>
                    <a:pt x="244497" y="1015571"/>
                  </a:moveTo>
                  <a:lnTo>
                    <a:pt x="445197" y="1015571"/>
                  </a:lnTo>
                  <a:cubicBezTo>
                    <a:pt x="464847" y="1015571"/>
                    <a:pt x="480776" y="1031501"/>
                    <a:pt x="480776" y="1051151"/>
                  </a:cubicBezTo>
                  <a:lnTo>
                    <a:pt x="480776" y="1407887"/>
                  </a:lnTo>
                  <a:lnTo>
                    <a:pt x="171691" y="1407887"/>
                  </a:lnTo>
                  <a:cubicBezTo>
                    <a:pt x="152041" y="1407887"/>
                    <a:pt x="136112" y="1391958"/>
                    <a:pt x="136112" y="1372308"/>
                  </a:cubicBezTo>
                  <a:lnTo>
                    <a:pt x="136112" y="1115619"/>
                  </a:lnTo>
                  <a:close/>
                  <a:moveTo>
                    <a:pt x="1159689" y="406905"/>
                  </a:moveTo>
                  <a:lnTo>
                    <a:pt x="1133674" y="482527"/>
                  </a:lnTo>
                  <a:cubicBezTo>
                    <a:pt x="1145026" y="489199"/>
                    <a:pt x="1155915" y="496458"/>
                    <a:pt x="1166281" y="504267"/>
                  </a:cubicBezTo>
                  <a:lnTo>
                    <a:pt x="1166159" y="504392"/>
                  </a:lnTo>
                  <a:cubicBezTo>
                    <a:pt x="1301677" y="586137"/>
                    <a:pt x="1364541" y="748811"/>
                    <a:pt x="1324505" y="917662"/>
                  </a:cubicBezTo>
                  <a:lnTo>
                    <a:pt x="1409187" y="947909"/>
                  </a:lnTo>
                  <a:lnTo>
                    <a:pt x="1248401" y="991021"/>
                  </a:lnTo>
                  <a:lnTo>
                    <a:pt x="1149747" y="855242"/>
                  </a:lnTo>
                  <a:lnTo>
                    <a:pt x="1234379" y="885471"/>
                  </a:lnTo>
                  <a:cubicBezTo>
                    <a:pt x="1261578" y="754107"/>
                    <a:pt x="1209151" y="632297"/>
                    <a:pt x="1101499" y="576059"/>
                  </a:cubicBezTo>
                  <a:lnTo>
                    <a:pt x="1082591" y="631021"/>
                  </a:lnTo>
                  <a:lnTo>
                    <a:pt x="1029161" y="480083"/>
                  </a:lnTo>
                  <a:close/>
                  <a:moveTo>
                    <a:pt x="249498" y="406905"/>
                  </a:moveTo>
                  <a:lnTo>
                    <a:pt x="380026" y="480083"/>
                  </a:lnTo>
                  <a:lnTo>
                    <a:pt x="326596" y="631021"/>
                  </a:lnTo>
                  <a:lnTo>
                    <a:pt x="307688" y="576059"/>
                  </a:lnTo>
                  <a:cubicBezTo>
                    <a:pt x="200036" y="632297"/>
                    <a:pt x="147609" y="754107"/>
                    <a:pt x="174808" y="885471"/>
                  </a:cubicBezTo>
                  <a:lnTo>
                    <a:pt x="259440" y="855242"/>
                  </a:lnTo>
                  <a:lnTo>
                    <a:pt x="160786" y="991021"/>
                  </a:lnTo>
                  <a:lnTo>
                    <a:pt x="0" y="947909"/>
                  </a:lnTo>
                  <a:lnTo>
                    <a:pt x="84682" y="917662"/>
                  </a:lnTo>
                  <a:cubicBezTo>
                    <a:pt x="44646" y="748811"/>
                    <a:pt x="107510" y="586137"/>
                    <a:pt x="243028" y="504392"/>
                  </a:cubicBezTo>
                  <a:lnTo>
                    <a:pt x="242906" y="504267"/>
                  </a:lnTo>
                  <a:cubicBezTo>
                    <a:pt x="253272" y="496458"/>
                    <a:pt x="264161" y="489199"/>
                    <a:pt x="275513" y="482527"/>
                  </a:cubicBezTo>
                  <a:close/>
                  <a:moveTo>
                    <a:pt x="781366" y="0"/>
                  </a:moveTo>
                  <a:cubicBezTo>
                    <a:pt x="884063" y="26"/>
                    <a:pt x="982836" y="84764"/>
                    <a:pt x="972659" y="204589"/>
                  </a:cubicBezTo>
                  <a:cubicBezTo>
                    <a:pt x="1130236" y="160992"/>
                    <a:pt x="1158600" y="410489"/>
                    <a:pt x="977387" y="390530"/>
                  </a:cubicBezTo>
                  <a:cubicBezTo>
                    <a:pt x="966356" y="434126"/>
                    <a:pt x="920659" y="476146"/>
                    <a:pt x="859204" y="436227"/>
                  </a:cubicBezTo>
                  <a:cubicBezTo>
                    <a:pt x="839769" y="486652"/>
                    <a:pt x="774637" y="546531"/>
                    <a:pt x="692172" y="469318"/>
                  </a:cubicBezTo>
                  <a:cubicBezTo>
                    <a:pt x="659606" y="528147"/>
                    <a:pt x="491524" y="575945"/>
                    <a:pt x="443200" y="409439"/>
                  </a:cubicBezTo>
                  <a:cubicBezTo>
                    <a:pt x="290875" y="475621"/>
                    <a:pt x="229945" y="218771"/>
                    <a:pt x="411685" y="220346"/>
                  </a:cubicBezTo>
                  <a:cubicBezTo>
                    <a:pt x="362836" y="138406"/>
                    <a:pt x="493625" y="-14444"/>
                    <a:pt x="614959" y="102164"/>
                  </a:cubicBezTo>
                  <a:cubicBezTo>
                    <a:pt x="656717" y="30466"/>
                    <a:pt x="719748" y="-16"/>
                    <a:pt x="781366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9936796" y="51159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6396104" y="3716258"/>
            <a:ext cx="792000" cy="792000"/>
            <a:chOff x="3002706" y="-1628498"/>
            <a:chExt cx="792000" cy="792000"/>
          </a:xfrm>
        </p:grpSpPr>
        <p:sp>
          <p:nvSpPr>
            <p:cNvPr id="154" name="Freeform 14"/>
            <p:cNvSpPr>
              <a:spLocks noEditPoints="1"/>
            </p:cNvSpPr>
            <p:nvPr/>
          </p:nvSpPr>
          <p:spPr bwMode="black">
            <a:xfrm>
              <a:off x="3056706" y="-1574498"/>
              <a:ext cx="684000" cy="684000"/>
            </a:xfrm>
            <a:custGeom>
              <a:avLst/>
              <a:gdLst>
                <a:gd name="T0" fmla="*/ 518 w 709"/>
                <a:gd name="T1" fmla="*/ 343 h 709"/>
                <a:gd name="T2" fmla="*/ 449 w 709"/>
                <a:gd name="T3" fmla="*/ 258 h 709"/>
                <a:gd name="T4" fmla="*/ 362 w 709"/>
                <a:gd name="T5" fmla="*/ 189 h 709"/>
                <a:gd name="T6" fmla="*/ 449 w 709"/>
                <a:gd name="T7" fmla="*/ 0 h 709"/>
                <a:gd name="T8" fmla="*/ 260 w 709"/>
                <a:gd name="T9" fmla="*/ 189 h 709"/>
                <a:gd name="T10" fmla="*/ 345 w 709"/>
                <a:gd name="T11" fmla="*/ 258 h 709"/>
                <a:gd name="T12" fmla="*/ 260 w 709"/>
                <a:gd name="T13" fmla="*/ 343 h 709"/>
                <a:gd name="T14" fmla="*/ 189 w 709"/>
                <a:gd name="T15" fmla="*/ 258 h 709"/>
                <a:gd name="T16" fmla="*/ 0 w 709"/>
                <a:gd name="T17" fmla="*/ 447 h 709"/>
                <a:gd name="T18" fmla="*/ 85 w 709"/>
                <a:gd name="T19" fmla="*/ 520 h 709"/>
                <a:gd name="T20" fmla="*/ 0 w 709"/>
                <a:gd name="T21" fmla="*/ 709 h 709"/>
                <a:gd name="T22" fmla="*/ 189 w 709"/>
                <a:gd name="T23" fmla="*/ 520 h 709"/>
                <a:gd name="T24" fmla="*/ 104 w 709"/>
                <a:gd name="T25" fmla="*/ 447 h 709"/>
                <a:gd name="T26" fmla="*/ 189 w 709"/>
                <a:gd name="T27" fmla="*/ 362 h 709"/>
                <a:gd name="T28" fmla="*/ 260 w 709"/>
                <a:gd name="T29" fmla="*/ 447 h 709"/>
                <a:gd name="T30" fmla="*/ 345 w 709"/>
                <a:gd name="T31" fmla="*/ 520 h 709"/>
                <a:gd name="T32" fmla="*/ 260 w 709"/>
                <a:gd name="T33" fmla="*/ 709 h 709"/>
                <a:gd name="T34" fmla="*/ 449 w 709"/>
                <a:gd name="T35" fmla="*/ 520 h 709"/>
                <a:gd name="T36" fmla="*/ 362 w 709"/>
                <a:gd name="T37" fmla="*/ 447 h 709"/>
                <a:gd name="T38" fmla="*/ 449 w 709"/>
                <a:gd name="T39" fmla="*/ 362 h 709"/>
                <a:gd name="T40" fmla="*/ 518 w 709"/>
                <a:gd name="T41" fmla="*/ 447 h 709"/>
                <a:gd name="T42" fmla="*/ 709 w 709"/>
                <a:gd name="T43" fmla="*/ 258 h 709"/>
                <a:gd name="T44" fmla="*/ 277 w 709"/>
                <a:gd name="T45" fmla="*/ 17 h 709"/>
                <a:gd name="T46" fmla="*/ 433 w 709"/>
                <a:gd name="T47" fmla="*/ 170 h 709"/>
                <a:gd name="T48" fmla="*/ 277 w 709"/>
                <a:gd name="T49" fmla="*/ 17 h 709"/>
                <a:gd name="T50" fmla="*/ 17 w 709"/>
                <a:gd name="T51" fmla="*/ 690 h 709"/>
                <a:gd name="T52" fmla="*/ 173 w 709"/>
                <a:gd name="T53" fmla="*/ 536 h 709"/>
                <a:gd name="T54" fmla="*/ 173 w 709"/>
                <a:gd name="T55" fmla="*/ 430 h 709"/>
                <a:gd name="T56" fmla="*/ 17 w 709"/>
                <a:gd name="T57" fmla="*/ 274 h 709"/>
                <a:gd name="T58" fmla="*/ 173 w 709"/>
                <a:gd name="T59" fmla="*/ 430 h 709"/>
                <a:gd name="T60" fmla="*/ 277 w 709"/>
                <a:gd name="T61" fmla="*/ 690 h 709"/>
                <a:gd name="T62" fmla="*/ 433 w 709"/>
                <a:gd name="T63" fmla="*/ 536 h 709"/>
                <a:gd name="T64" fmla="*/ 433 w 709"/>
                <a:gd name="T65" fmla="*/ 430 h 709"/>
                <a:gd name="T66" fmla="*/ 277 w 709"/>
                <a:gd name="T67" fmla="*/ 274 h 709"/>
                <a:gd name="T68" fmla="*/ 433 w 709"/>
                <a:gd name="T69" fmla="*/ 430 h 709"/>
                <a:gd name="T70" fmla="*/ 536 w 709"/>
                <a:gd name="T71" fmla="*/ 430 h 709"/>
                <a:gd name="T72" fmla="*/ 690 w 709"/>
                <a:gd name="T73" fmla="*/ 2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09" h="709">
                  <a:moveTo>
                    <a:pt x="518" y="258"/>
                  </a:moveTo>
                  <a:lnTo>
                    <a:pt x="518" y="343"/>
                  </a:lnTo>
                  <a:lnTo>
                    <a:pt x="449" y="343"/>
                  </a:lnTo>
                  <a:lnTo>
                    <a:pt x="449" y="258"/>
                  </a:lnTo>
                  <a:lnTo>
                    <a:pt x="362" y="258"/>
                  </a:lnTo>
                  <a:lnTo>
                    <a:pt x="362" y="189"/>
                  </a:lnTo>
                  <a:lnTo>
                    <a:pt x="449" y="189"/>
                  </a:lnTo>
                  <a:lnTo>
                    <a:pt x="449" y="0"/>
                  </a:lnTo>
                  <a:lnTo>
                    <a:pt x="260" y="0"/>
                  </a:lnTo>
                  <a:lnTo>
                    <a:pt x="260" y="189"/>
                  </a:lnTo>
                  <a:lnTo>
                    <a:pt x="345" y="189"/>
                  </a:lnTo>
                  <a:lnTo>
                    <a:pt x="345" y="258"/>
                  </a:lnTo>
                  <a:lnTo>
                    <a:pt x="260" y="258"/>
                  </a:lnTo>
                  <a:lnTo>
                    <a:pt x="260" y="343"/>
                  </a:lnTo>
                  <a:lnTo>
                    <a:pt x="189" y="343"/>
                  </a:lnTo>
                  <a:lnTo>
                    <a:pt x="189" y="258"/>
                  </a:lnTo>
                  <a:lnTo>
                    <a:pt x="0" y="258"/>
                  </a:lnTo>
                  <a:lnTo>
                    <a:pt x="0" y="447"/>
                  </a:lnTo>
                  <a:lnTo>
                    <a:pt x="85" y="447"/>
                  </a:lnTo>
                  <a:lnTo>
                    <a:pt x="85" y="520"/>
                  </a:lnTo>
                  <a:lnTo>
                    <a:pt x="0" y="520"/>
                  </a:lnTo>
                  <a:lnTo>
                    <a:pt x="0" y="709"/>
                  </a:lnTo>
                  <a:lnTo>
                    <a:pt x="189" y="709"/>
                  </a:lnTo>
                  <a:lnTo>
                    <a:pt x="189" y="520"/>
                  </a:lnTo>
                  <a:lnTo>
                    <a:pt x="104" y="520"/>
                  </a:lnTo>
                  <a:lnTo>
                    <a:pt x="104" y="447"/>
                  </a:lnTo>
                  <a:lnTo>
                    <a:pt x="189" y="447"/>
                  </a:lnTo>
                  <a:lnTo>
                    <a:pt x="189" y="362"/>
                  </a:lnTo>
                  <a:lnTo>
                    <a:pt x="260" y="362"/>
                  </a:lnTo>
                  <a:lnTo>
                    <a:pt x="260" y="447"/>
                  </a:lnTo>
                  <a:lnTo>
                    <a:pt x="345" y="447"/>
                  </a:lnTo>
                  <a:lnTo>
                    <a:pt x="345" y="520"/>
                  </a:lnTo>
                  <a:lnTo>
                    <a:pt x="260" y="520"/>
                  </a:lnTo>
                  <a:lnTo>
                    <a:pt x="260" y="709"/>
                  </a:lnTo>
                  <a:lnTo>
                    <a:pt x="449" y="709"/>
                  </a:lnTo>
                  <a:lnTo>
                    <a:pt x="449" y="520"/>
                  </a:lnTo>
                  <a:lnTo>
                    <a:pt x="362" y="520"/>
                  </a:lnTo>
                  <a:lnTo>
                    <a:pt x="362" y="447"/>
                  </a:lnTo>
                  <a:lnTo>
                    <a:pt x="449" y="447"/>
                  </a:lnTo>
                  <a:lnTo>
                    <a:pt x="449" y="362"/>
                  </a:lnTo>
                  <a:lnTo>
                    <a:pt x="518" y="362"/>
                  </a:lnTo>
                  <a:lnTo>
                    <a:pt x="518" y="447"/>
                  </a:lnTo>
                  <a:lnTo>
                    <a:pt x="709" y="447"/>
                  </a:lnTo>
                  <a:lnTo>
                    <a:pt x="709" y="258"/>
                  </a:lnTo>
                  <a:lnTo>
                    <a:pt x="518" y="258"/>
                  </a:lnTo>
                  <a:close/>
                  <a:moveTo>
                    <a:pt x="277" y="17"/>
                  </a:moveTo>
                  <a:lnTo>
                    <a:pt x="433" y="17"/>
                  </a:lnTo>
                  <a:lnTo>
                    <a:pt x="433" y="170"/>
                  </a:lnTo>
                  <a:lnTo>
                    <a:pt x="277" y="170"/>
                  </a:lnTo>
                  <a:lnTo>
                    <a:pt x="277" y="17"/>
                  </a:lnTo>
                  <a:close/>
                  <a:moveTo>
                    <a:pt x="173" y="690"/>
                  </a:moveTo>
                  <a:lnTo>
                    <a:pt x="17" y="690"/>
                  </a:lnTo>
                  <a:lnTo>
                    <a:pt x="17" y="536"/>
                  </a:lnTo>
                  <a:lnTo>
                    <a:pt x="173" y="536"/>
                  </a:lnTo>
                  <a:lnTo>
                    <a:pt x="173" y="690"/>
                  </a:lnTo>
                  <a:close/>
                  <a:moveTo>
                    <a:pt x="173" y="430"/>
                  </a:moveTo>
                  <a:lnTo>
                    <a:pt x="17" y="430"/>
                  </a:lnTo>
                  <a:lnTo>
                    <a:pt x="17" y="274"/>
                  </a:lnTo>
                  <a:lnTo>
                    <a:pt x="173" y="274"/>
                  </a:lnTo>
                  <a:lnTo>
                    <a:pt x="173" y="430"/>
                  </a:lnTo>
                  <a:close/>
                  <a:moveTo>
                    <a:pt x="433" y="690"/>
                  </a:moveTo>
                  <a:lnTo>
                    <a:pt x="277" y="690"/>
                  </a:lnTo>
                  <a:lnTo>
                    <a:pt x="277" y="536"/>
                  </a:lnTo>
                  <a:lnTo>
                    <a:pt x="433" y="536"/>
                  </a:lnTo>
                  <a:lnTo>
                    <a:pt x="433" y="690"/>
                  </a:lnTo>
                  <a:close/>
                  <a:moveTo>
                    <a:pt x="433" y="430"/>
                  </a:moveTo>
                  <a:lnTo>
                    <a:pt x="277" y="430"/>
                  </a:lnTo>
                  <a:lnTo>
                    <a:pt x="277" y="274"/>
                  </a:lnTo>
                  <a:lnTo>
                    <a:pt x="433" y="274"/>
                  </a:lnTo>
                  <a:lnTo>
                    <a:pt x="433" y="430"/>
                  </a:lnTo>
                  <a:close/>
                  <a:moveTo>
                    <a:pt x="690" y="430"/>
                  </a:moveTo>
                  <a:lnTo>
                    <a:pt x="536" y="430"/>
                  </a:lnTo>
                  <a:lnTo>
                    <a:pt x="536" y="274"/>
                  </a:lnTo>
                  <a:lnTo>
                    <a:pt x="690" y="274"/>
                  </a:lnTo>
                  <a:lnTo>
                    <a:pt x="690" y="4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272" tIns="41137" rIns="82272" bIns="41137" numCol="1" anchor="t" anchorCtr="0" compatLnSpc="1">
              <a:prstTxWarp prst="textNoShape">
                <a:avLst/>
              </a:prstTxWarp>
            </a:bodyPr>
            <a:lstStyle/>
            <a:p>
              <a:pPr defTabSz="932574">
                <a:defRPr/>
              </a:pPr>
              <a:endParaRPr lang="en-US" sz="1600" kern="0">
                <a:solidFill>
                  <a:sysClr val="windowText" lastClr="000000"/>
                </a:solidFill>
                <a:latin typeface="NotesStyle-Medium" pitchFamily="2" charset="0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002706" y="-162849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sp>
        <p:nvSpPr>
          <p:cNvPr id="156" name="Freeform 18"/>
          <p:cNvSpPr>
            <a:spLocks/>
          </p:cNvSpPr>
          <p:nvPr/>
        </p:nvSpPr>
        <p:spPr bwMode="black">
          <a:xfrm>
            <a:off x="3008519" y="4553685"/>
            <a:ext cx="912276" cy="531434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34285" rIns="68570" bIns="34285" numCol="1" anchor="t" anchorCtr="0" compatLnSpc="1">
            <a:prstTxWarp prst="textNoShape">
              <a:avLst/>
            </a:prstTxWarp>
          </a:bodyPr>
          <a:lstStyle/>
          <a:p>
            <a:pPr algn="ctr" defTabSz="911960"/>
            <a:endParaRPr lang="en-US" sz="16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NotesStyle-Medium" pitchFamily="2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6422707" y="3016539"/>
            <a:ext cx="792000" cy="792000"/>
            <a:chOff x="2779230" y="-919672"/>
            <a:chExt cx="792000" cy="792000"/>
          </a:xfrm>
        </p:grpSpPr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6294" y="-843316"/>
              <a:ext cx="657872" cy="639289"/>
            </a:xfrm>
            <a:prstGeom prst="rect">
              <a:avLst/>
            </a:prstGeom>
          </p:spPr>
        </p:pic>
        <p:sp>
          <p:nvSpPr>
            <p:cNvPr id="160" name="Rectangle 159"/>
            <p:cNvSpPr/>
            <p:nvPr/>
          </p:nvSpPr>
          <p:spPr>
            <a:xfrm>
              <a:off x="2779230" y="-91967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6355515" y="1851607"/>
            <a:ext cx="792000" cy="792000"/>
            <a:chOff x="2943874" y="-3581449"/>
            <a:chExt cx="792000" cy="792000"/>
          </a:xfrm>
        </p:grpSpPr>
        <p:pic>
          <p:nvPicPr>
            <p:cNvPr id="162" name="Picture 161"/>
            <p:cNvPicPr>
              <a:picLocks noChangeAspect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9141" y="-3562494"/>
              <a:ext cx="581466" cy="754090"/>
            </a:xfrm>
            <a:prstGeom prst="rect">
              <a:avLst/>
            </a:prstGeom>
            <a:noFill/>
          </p:spPr>
        </p:pic>
        <p:sp>
          <p:nvSpPr>
            <p:cNvPr id="163" name="Rectangle 162"/>
            <p:cNvSpPr/>
            <p:nvPr/>
          </p:nvSpPr>
          <p:spPr>
            <a:xfrm>
              <a:off x="2943874" y="-358144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701070" y="4343271"/>
            <a:ext cx="792000" cy="792000"/>
            <a:chOff x="10060410" y="435802"/>
            <a:chExt cx="792000" cy="792000"/>
          </a:xfrm>
        </p:grpSpPr>
        <p:sp>
          <p:nvSpPr>
            <p:cNvPr id="168" name="Freeform 167"/>
            <p:cNvSpPr/>
            <p:nvPr>
              <p:custDataLst>
                <p:tags r:id="rId1"/>
              </p:custDataLst>
            </p:nvPr>
          </p:nvSpPr>
          <p:spPr bwMode="auto">
            <a:xfrm>
              <a:off x="10184024" y="553061"/>
              <a:ext cx="544772" cy="557482"/>
            </a:xfrm>
            <a:custGeom>
              <a:avLst/>
              <a:gdLst/>
              <a:ahLst/>
              <a:cxnLst/>
              <a:rect l="l" t="t" r="r" b="b"/>
              <a:pathLst>
                <a:path w="3702050" h="3788410">
                  <a:moveTo>
                    <a:pt x="3530600" y="2639539"/>
                  </a:moveTo>
                  <a:lnTo>
                    <a:pt x="2551906" y="2641921"/>
                  </a:lnTo>
                  <a:cubicBezTo>
                    <a:pt x="2554288" y="2957833"/>
                    <a:pt x="2551906" y="3273746"/>
                    <a:pt x="2554288" y="3589658"/>
                  </a:cubicBezTo>
                  <a:close/>
                  <a:moveTo>
                    <a:pt x="603251" y="1477008"/>
                  </a:moveTo>
                  <a:lnTo>
                    <a:pt x="593726" y="2531108"/>
                  </a:lnTo>
                  <a:cubicBezTo>
                    <a:pt x="1654969" y="2353838"/>
                    <a:pt x="1180307" y="3181454"/>
                    <a:pt x="555626" y="2785108"/>
                  </a:cubicBezTo>
                  <a:lnTo>
                    <a:pt x="555626" y="3185158"/>
                  </a:lnTo>
                  <a:cubicBezTo>
                    <a:pt x="2074599" y="3623838"/>
                    <a:pt x="2016390" y="1888965"/>
                    <a:pt x="1025526" y="2131058"/>
                  </a:cubicBezTo>
                  <a:lnTo>
                    <a:pt x="1025526" y="1880233"/>
                  </a:lnTo>
                  <a:lnTo>
                    <a:pt x="1660526" y="1883408"/>
                  </a:lnTo>
                  <a:lnTo>
                    <a:pt x="1660526" y="1480183"/>
                  </a:lnTo>
                  <a:close/>
                  <a:moveTo>
                    <a:pt x="1854200" y="1475422"/>
                  </a:moveTo>
                  <a:lnTo>
                    <a:pt x="1854200" y="1637347"/>
                  </a:lnTo>
                  <a:lnTo>
                    <a:pt x="2035175" y="1637347"/>
                  </a:lnTo>
                  <a:cubicBezTo>
                    <a:pt x="2035969" y="1805622"/>
                    <a:pt x="2036762" y="1973897"/>
                    <a:pt x="2037556" y="2142172"/>
                  </a:cubicBezTo>
                  <a:lnTo>
                    <a:pt x="2239963" y="2139790"/>
                  </a:lnTo>
                  <a:lnTo>
                    <a:pt x="2239963" y="1632584"/>
                  </a:lnTo>
                  <a:lnTo>
                    <a:pt x="2423319" y="1634965"/>
                  </a:lnTo>
                  <a:lnTo>
                    <a:pt x="2423319" y="1475422"/>
                  </a:lnTo>
                  <a:close/>
                  <a:moveTo>
                    <a:pt x="2499519" y="1473041"/>
                  </a:moveTo>
                  <a:cubicBezTo>
                    <a:pt x="2499916" y="1586150"/>
                    <a:pt x="2499520" y="1927067"/>
                    <a:pt x="2501901" y="2151698"/>
                  </a:cubicBezTo>
                  <a:lnTo>
                    <a:pt x="2699544" y="2156461"/>
                  </a:lnTo>
                  <a:cubicBezTo>
                    <a:pt x="2697957" y="2076292"/>
                    <a:pt x="2696368" y="1967548"/>
                    <a:pt x="2694781" y="1887379"/>
                  </a:cubicBezTo>
                  <a:lnTo>
                    <a:pt x="2932906" y="1889760"/>
                  </a:lnTo>
                  <a:cubicBezTo>
                    <a:pt x="2931319" y="1973104"/>
                    <a:pt x="2929731" y="2056447"/>
                    <a:pt x="2928144" y="2139791"/>
                  </a:cubicBezTo>
                  <a:lnTo>
                    <a:pt x="3132931" y="2142173"/>
                  </a:lnTo>
                  <a:cubicBezTo>
                    <a:pt x="3131344" y="1922304"/>
                    <a:pt x="3132137" y="1700054"/>
                    <a:pt x="3130550" y="1480185"/>
                  </a:cubicBezTo>
                  <a:lnTo>
                    <a:pt x="2928144" y="1480185"/>
                  </a:lnTo>
                  <a:cubicBezTo>
                    <a:pt x="2927350" y="1560354"/>
                    <a:pt x="2926557" y="1640522"/>
                    <a:pt x="2925763" y="1720691"/>
                  </a:cubicBezTo>
                  <a:lnTo>
                    <a:pt x="2704306" y="1720691"/>
                  </a:lnTo>
                  <a:lnTo>
                    <a:pt x="2704306" y="1475423"/>
                  </a:lnTo>
                  <a:close/>
                  <a:moveTo>
                    <a:pt x="0" y="956310"/>
                  </a:moveTo>
                  <a:lnTo>
                    <a:pt x="3695700" y="956310"/>
                  </a:lnTo>
                  <a:lnTo>
                    <a:pt x="3695700" y="2751210"/>
                  </a:lnTo>
                  <a:lnTo>
                    <a:pt x="2658500" y="3788410"/>
                  </a:lnTo>
                  <a:lnTo>
                    <a:pt x="0" y="3788410"/>
                  </a:lnTo>
                  <a:close/>
                  <a:moveTo>
                    <a:pt x="6350" y="0"/>
                  </a:moveTo>
                  <a:lnTo>
                    <a:pt x="3702050" y="0"/>
                  </a:lnTo>
                  <a:lnTo>
                    <a:pt x="3702050" y="754380"/>
                  </a:lnTo>
                  <a:lnTo>
                    <a:pt x="6350" y="75438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03" tIns="45701" rIns="45701" bIns="9140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spc="-50" dirty="0" err="1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10060410" y="43580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52206" y="4324738"/>
            <a:ext cx="792000" cy="792000"/>
            <a:chOff x="9590432" y="222507"/>
            <a:chExt cx="792000" cy="792000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52152" y="234030"/>
              <a:ext cx="668560" cy="768954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9590432" y="22250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1324983" y="4343271"/>
            <a:ext cx="792000" cy="792000"/>
            <a:chOff x="3964008" y="-2667095"/>
            <a:chExt cx="792000" cy="792000"/>
          </a:xfrm>
        </p:grpSpPr>
        <p:pic>
          <p:nvPicPr>
            <p:cNvPr id="174" name="Picture 34" descr="K:\ForChad\infographics\images\icon_white_clock2.gif"/>
            <p:cNvPicPr>
              <a:picLocks noChangeAspect="1" noChangeArrowheads="1"/>
            </p:cNvPicPr>
            <p:nvPr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790" y="-2592313"/>
              <a:ext cx="642436" cy="642436"/>
            </a:xfrm>
            <a:prstGeom prst="rect">
              <a:avLst/>
            </a:prstGeom>
            <a:noFill/>
            <a:extLst/>
          </p:spPr>
        </p:pic>
        <p:sp>
          <p:nvSpPr>
            <p:cNvPr id="175" name="Rectangle 174"/>
            <p:cNvSpPr/>
            <p:nvPr/>
          </p:nvSpPr>
          <p:spPr>
            <a:xfrm>
              <a:off x="3964008" y="-266709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sp>
        <p:nvSpPr>
          <p:cNvPr id="177" name="TextBox 176"/>
          <p:cNvSpPr txBox="1"/>
          <p:nvPr/>
        </p:nvSpPr>
        <p:spPr>
          <a:xfrm>
            <a:off x="7868530" y="2754315"/>
            <a:ext cx="5886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Logo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grpSp>
        <p:nvGrpSpPr>
          <p:cNvPr id="178" name="Group 177"/>
          <p:cNvGrpSpPr/>
          <p:nvPr/>
        </p:nvGrpSpPr>
        <p:grpSpPr>
          <a:xfrm>
            <a:off x="7248226" y="2873143"/>
            <a:ext cx="792000" cy="792000"/>
            <a:chOff x="848490" y="-1184881"/>
            <a:chExt cx="792000" cy="792000"/>
          </a:xfrm>
        </p:grpSpPr>
        <p:sp>
          <p:nvSpPr>
            <p:cNvPr id="179" name="Rectangle 178"/>
            <p:cNvSpPr/>
            <p:nvPr/>
          </p:nvSpPr>
          <p:spPr>
            <a:xfrm>
              <a:off x="848490" y="-118488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180" name="Picture 2" descr="C:\Users\RKoning\Desktop\Juni tm augustus\Labs\labsegmentenDEF.png"/>
            <p:cNvPicPr>
              <a:picLocks noChangeAspect="1" noChangeArrowheads="1"/>
            </p:cNvPicPr>
            <p:nvPr/>
          </p:nvPicPr>
          <p:blipFill rotWithShape="1">
            <a:blip r:embed="rId41" cstate="print">
              <a:extLst>
                <a:ext uri="{BEBA8EAE-BF5A-486C-A8C5-ECC9F3942E4B}">
                  <a14:imgProps xmlns:a14="http://schemas.microsoft.com/office/drawing/2010/main">
                    <a14:imgLayer r:embed="rId4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684" t="-927" r="879" b="94418"/>
            <a:stretch/>
          </p:blipFill>
          <p:spPr bwMode="auto">
            <a:xfrm>
              <a:off x="848490" y="-877733"/>
              <a:ext cx="792000" cy="177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1" name="Group 180"/>
          <p:cNvGrpSpPr/>
          <p:nvPr/>
        </p:nvGrpSpPr>
        <p:grpSpPr>
          <a:xfrm>
            <a:off x="7252513" y="3251032"/>
            <a:ext cx="792000" cy="792000"/>
            <a:chOff x="824749" y="-1551501"/>
            <a:chExt cx="792000" cy="792000"/>
          </a:xfrm>
        </p:grpSpPr>
        <p:sp>
          <p:nvSpPr>
            <p:cNvPr id="182" name="Rectangle 181"/>
            <p:cNvSpPr/>
            <p:nvPr/>
          </p:nvSpPr>
          <p:spPr>
            <a:xfrm>
              <a:off x="824749" y="-155150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183" name="Picture 2" descr="C:\Users\RKoning\Desktop\Juni tm augustus\Labs\labsegmentenDEF.png"/>
            <p:cNvPicPr>
              <a:picLocks noChangeAspect="1" noChangeArrowheads="1"/>
            </p:cNvPicPr>
            <p:nvPr/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28249" r="37826" b="65242"/>
            <a:stretch/>
          </p:blipFill>
          <p:spPr bwMode="auto">
            <a:xfrm>
              <a:off x="824749" y="-1298131"/>
              <a:ext cx="792000" cy="2852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4" name="Group 183"/>
          <p:cNvGrpSpPr/>
          <p:nvPr/>
        </p:nvGrpSpPr>
        <p:grpSpPr>
          <a:xfrm>
            <a:off x="8227191" y="2848807"/>
            <a:ext cx="792000" cy="792000"/>
            <a:chOff x="459965" y="-1298720"/>
            <a:chExt cx="792000" cy="792000"/>
          </a:xfrm>
        </p:grpSpPr>
        <p:sp>
          <p:nvSpPr>
            <p:cNvPr id="185" name="Rectangle 184"/>
            <p:cNvSpPr/>
            <p:nvPr/>
          </p:nvSpPr>
          <p:spPr>
            <a:xfrm>
              <a:off x="459965" y="-129872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186" name="Picture 2" descr="C:\Users\RKoning\Desktop\Juni tm augustus\Labs\labsegmentenDEF.png"/>
            <p:cNvPicPr>
              <a:picLocks noChangeAspect="1" noChangeArrowheads="1"/>
            </p:cNvPicPr>
            <p:nvPr/>
          </p:nvPicPr>
          <p:blipFill rotWithShape="1">
            <a:blip r:embed="rId45" cstate="print">
              <a:extLst>
                <a:ext uri="{BEBA8EAE-BF5A-486C-A8C5-ECC9F3942E4B}">
                  <a14:imgProps xmlns:a14="http://schemas.microsoft.com/office/drawing/2010/main">
                    <a14:imgLayer r:embed="rId4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3" t="78486" r="-281" b="15005"/>
            <a:stretch/>
          </p:blipFill>
          <p:spPr bwMode="auto">
            <a:xfrm>
              <a:off x="459965" y="-991489"/>
              <a:ext cx="792000" cy="1775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7" name="Group 186"/>
          <p:cNvGrpSpPr/>
          <p:nvPr/>
        </p:nvGrpSpPr>
        <p:grpSpPr>
          <a:xfrm>
            <a:off x="8231991" y="3233764"/>
            <a:ext cx="792000" cy="792000"/>
            <a:chOff x="562029" y="-1397253"/>
            <a:chExt cx="792000" cy="792000"/>
          </a:xfrm>
        </p:grpSpPr>
        <p:sp>
          <p:nvSpPr>
            <p:cNvPr id="188" name="Rectangle 187"/>
            <p:cNvSpPr/>
            <p:nvPr/>
          </p:nvSpPr>
          <p:spPr>
            <a:xfrm>
              <a:off x="562029" y="-139725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189" name="Picture 2" descr="C:\Users\RKoning\Desktop\CRM_logofullcolour.png"/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029" y="-1071328"/>
              <a:ext cx="792000" cy="140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7244069" y="1977836"/>
            <a:ext cx="792000" cy="792000"/>
            <a:chOff x="1806471" y="1906014"/>
            <a:chExt cx="792000" cy="792000"/>
          </a:xfrm>
        </p:grpSpPr>
        <p:grpSp>
          <p:nvGrpSpPr>
            <p:cNvPr id="190" name="Group 189"/>
            <p:cNvGrpSpPr/>
            <p:nvPr/>
          </p:nvGrpSpPr>
          <p:grpSpPr>
            <a:xfrm>
              <a:off x="1844943" y="2063198"/>
              <a:ext cx="715057" cy="477633"/>
              <a:chOff x="5349954" y="3308377"/>
              <a:chExt cx="1724632" cy="1151996"/>
            </a:xfrm>
            <a:solidFill>
              <a:srgbClr val="FFFFFF"/>
            </a:solidFill>
          </p:grpSpPr>
          <p:sp>
            <p:nvSpPr>
              <p:cNvPr id="191" name="Freeform 5"/>
              <p:cNvSpPr>
                <a:spLocks noEditPoints="1"/>
              </p:cNvSpPr>
              <p:nvPr/>
            </p:nvSpPr>
            <p:spPr bwMode="black">
              <a:xfrm>
                <a:off x="5844170" y="3308377"/>
                <a:ext cx="748137" cy="1151996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grpFill/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92" name="Freeform 5"/>
              <p:cNvSpPr>
                <a:spLocks noEditPoints="1"/>
              </p:cNvSpPr>
              <p:nvPr/>
            </p:nvSpPr>
            <p:spPr bwMode="black">
              <a:xfrm>
                <a:off x="6533200" y="3626735"/>
                <a:ext cx="541386" cy="833638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grpFill/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93" name="Freeform 5"/>
              <p:cNvSpPr>
                <a:spLocks noEditPoints="1"/>
              </p:cNvSpPr>
              <p:nvPr/>
            </p:nvSpPr>
            <p:spPr bwMode="black">
              <a:xfrm>
                <a:off x="5349954" y="3626735"/>
                <a:ext cx="541386" cy="833638"/>
              </a:xfrm>
              <a:custGeom>
                <a:avLst/>
                <a:gdLst>
                  <a:gd name="T0" fmla="*/ 89 w 226"/>
                  <a:gd name="T1" fmla="*/ 124 h 348"/>
                  <a:gd name="T2" fmla="*/ 118 w 226"/>
                  <a:gd name="T3" fmla="*/ 113 h 348"/>
                  <a:gd name="T4" fmla="*/ 150 w 226"/>
                  <a:gd name="T5" fmla="*/ 124 h 348"/>
                  <a:gd name="T6" fmla="*/ 150 w 226"/>
                  <a:gd name="T7" fmla="*/ 145 h 348"/>
                  <a:gd name="T8" fmla="*/ 226 w 226"/>
                  <a:gd name="T9" fmla="*/ 348 h 348"/>
                  <a:gd name="T10" fmla="*/ 89 w 226"/>
                  <a:gd name="T11" fmla="*/ 0 h 348"/>
                  <a:gd name="T12" fmla="*/ 118 w 226"/>
                  <a:gd name="T13" fmla="*/ 100 h 348"/>
                  <a:gd name="T14" fmla="*/ 150 w 226"/>
                  <a:gd name="T15" fmla="*/ 68 h 348"/>
                  <a:gd name="T16" fmla="*/ 150 w 226"/>
                  <a:gd name="T17" fmla="*/ 55 h 348"/>
                  <a:gd name="T18" fmla="*/ 118 w 226"/>
                  <a:gd name="T19" fmla="*/ 23 h 348"/>
                  <a:gd name="T20" fmla="*/ 150 w 226"/>
                  <a:gd name="T21" fmla="*/ 55 h 348"/>
                  <a:gd name="T22" fmla="*/ 166 w 226"/>
                  <a:gd name="T23" fmla="*/ 280 h 348"/>
                  <a:gd name="T24" fmla="*/ 197 w 226"/>
                  <a:gd name="T25" fmla="*/ 249 h 348"/>
                  <a:gd name="T26" fmla="*/ 197 w 226"/>
                  <a:gd name="T27" fmla="*/ 235 h 348"/>
                  <a:gd name="T28" fmla="*/ 166 w 226"/>
                  <a:gd name="T29" fmla="*/ 204 h 348"/>
                  <a:gd name="T30" fmla="*/ 197 w 226"/>
                  <a:gd name="T31" fmla="*/ 235 h 348"/>
                  <a:gd name="T32" fmla="*/ 166 w 226"/>
                  <a:gd name="T33" fmla="*/ 190 h 348"/>
                  <a:gd name="T34" fmla="*/ 197 w 226"/>
                  <a:gd name="T35" fmla="*/ 158 h 348"/>
                  <a:gd name="T36" fmla="*/ 197 w 226"/>
                  <a:gd name="T37" fmla="*/ 145 h 348"/>
                  <a:gd name="T38" fmla="*/ 166 w 226"/>
                  <a:gd name="T39" fmla="*/ 113 h 348"/>
                  <a:gd name="T40" fmla="*/ 197 w 226"/>
                  <a:gd name="T41" fmla="*/ 145 h 348"/>
                  <a:gd name="T42" fmla="*/ 166 w 226"/>
                  <a:gd name="T43" fmla="*/ 100 h 348"/>
                  <a:gd name="T44" fmla="*/ 197 w 226"/>
                  <a:gd name="T45" fmla="*/ 68 h 348"/>
                  <a:gd name="T46" fmla="*/ 197 w 226"/>
                  <a:gd name="T47" fmla="*/ 55 h 348"/>
                  <a:gd name="T48" fmla="*/ 166 w 226"/>
                  <a:gd name="T49" fmla="*/ 23 h 348"/>
                  <a:gd name="T50" fmla="*/ 197 w 226"/>
                  <a:gd name="T51" fmla="*/ 55 h 348"/>
                  <a:gd name="T52" fmla="*/ 0 w 226"/>
                  <a:gd name="T53" fmla="*/ 348 h 348"/>
                  <a:gd name="T54" fmla="*/ 137 w 226"/>
                  <a:gd name="T55" fmla="*/ 137 h 348"/>
                  <a:gd name="T56" fmla="*/ 60 w 226"/>
                  <a:gd name="T57" fmla="*/ 326 h 348"/>
                  <a:gd name="T58" fmla="*/ 29 w 226"/>
                  <a:gd name="T59" fmla="*/ 294 h 348"/>
                  <a:gd name="T60" fmla="*/ 60 w 226"/>
                  <a:gd name="T61" fmla="*/ 326 h 348"/>
                  <a:gd name="T62" fmla="*/ 29 w 226"/>
                  <a:gd name="T63" fmla="*/ 280 h 348"/>
                  <a:gd name="T64" fmla="*/ 60 w 226"/>
                  <a:gd name="T65" fmla="*/ 249 h 348"/>
                  <a:gd name="T66" fmla="*/ 60 w 226"/>
                  <a:gd name="T67" fmla="*/ 235 h 348"/>
                  <a:gd name="T68" fmla="*/ 29 w 226"/>
                  <a:gd name="T69" fmla="*/ 204 h 348"/>
                  <a:gd name="T70" fmla="*/ 60 w 226"/>
                  <a:gd name="T71" fmla="*/ 235 h 348"/>
                  <a:gd name="T72" fmla="*/ 29 w 226"/>
                  <a:gd name="T73" fmla="*/ 190 h 348"/>
                  <a:gd name="T74" fmla="*/ 60 w 226"/>
                  <a:gd name="T75" fmla="*/ 158 h 348"/>
                  <a:gd name="T76" fmla="*/ 108 w 226"/>
                  <a:gd name="T77" fmla="*/ 326 h 348"/>
                  <a:gd name="T78" fmla="*/ 76 w 226"/>
                  <a:gd name="T79" fmla="*/ 294 h 348"/>
                  <a:gd name="T80" fmla="*/ 108 w 226"/>
                  <a:gd name="T81" fmla="*/ 326 h 348"/>
                  <a:gd name="T82" fmla="*/ 76 w 226"/>
                  <a:gd name="T83" fmla="*/ 280 h 348"/>
                  <a:gd name="T84" fmla="*/ 108 w 226"/>
                  <a:gd name="T85" fmla="*/ 249 h 348"/>
                  <a:gd name="T86" fmla="*/ 108 w 226"/>
                  <a:gd name="T87" fmla="*/ 235 h 348"/>
                  <a:gd name="T88" fmla="*/ 76 w 226"/>
                  <a:gd name="T89" fmla="*/ 204 h 348"/>
                  <a:gd name="T90" fmla="*/ 108 w 226"/>
                  <a:gd name="T91" fmla="*/ 235 h 348"/>
                  <a:gd name="T92" fmla="*/ 76 w 226"/>
                  <a:gd name="T93" fmla="*/ 190 h 348"/>
                  <a:gd name="T94" fmla="*/ 108 w 226"/>
                  <a:gd name="T95" fmla="*/ 15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grpFill/>
              <a:extLst/>
            </p:spPr>
            <p:txBody>
              <a:bodyPr lIns="91388" tIns="91414" rIns="0" bIns="0" anchor="t"/>
              <a:lstStyle/>
              <a:p>
                <a:pPr algn="ctr" defTabSz="147384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kern="0" spc="-40">
                  <a:ln w="3175">
                    <a:noFill/>
                  </a:ln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196" name="Rectangle 195"/>
            <p:cNvSpPr/>
            <p:nvPr/>
          </p:nvSpPr>
          <p:spPr>
            <a:xfrm>
              <a:off x="1806471" y="190601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cxnSp>
        <p:nvCxnSpPr>
          <p:cNvPr id="194" name="Straight Connector 193"/>
          <p:cNvCxnSpPr/>
          <p:nvPr/>
        </p:nvCxnSpPr>
        <p:spPr>
          <a:xfrm>
            <a:off x="7171326" y="-3465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/>
        </p:nvCxnSpPr>
        <p:spPr>
          <a:xfrm>
            <a:off x="4685622" y="-1311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2199918" y="843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0" y="2752827"/>
            <a:ext cx="914400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-63610" y="3923870"/>
            <a:ext cx="2263528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127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6125" y="30527"/>
            <a:ext cx="5261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prstClr val="white"/>
                </a:solidFill>
                <a:latin typeface="NotesStyle-Medium" pitchFamily="2" charset="0"/>
              </a:rPr>
              <a:t>Agri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157122" y="30527"/>
            <a:ext cx="8258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Finance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08222" y="27989"/>
            <a:ext cx="10711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white"/>
                </a:solidFill>
                <a:latin typeface="NotesStyle-Medium" pitchFamily="2" charset="0"/>
              </a:rPr>
              <a:t>Remaining</a:t>
            </a:r>
            <a:endParaRPr lang="nl-NL" sz="1600" b="1" dirty="0">
              <a:solidFill>
                <a:prstClr val="white"/>
              </a:solidFill>
              <a:latin typeface="NotesStyle-Medium" pitchFamily="2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157121" y="749609"/>
            <a:ext cx="792000" cy="792000"/>
            <a:chOff x="3219254" y="-1198441"/>
            <a:chExt cx="792000" cy="792000"/>
          </a:xfrm>
        </p:grpSpPr>
        <p:sp>
          <p:nvSpPr>
            <p:cNvPr id="10" name="Freeform 22"/>
            <p:cNvSpPr>
              <a:spLocks noEditPoints="1"/>
            </p:cNvSpPr>
            <p:nvPr/>
          </p:nvSpPr>
          <p:spPr bwMode="auto">
            <a:xfrm>
              <a:off x="3282371" y="-1095829"/>
              <a:ext cx="665766" cy="586777"/>
            </a:xfrm>
            <a:custGeom>
              <a:avLst/>
              <a:gdLst>
                <a:gd name="T0" fmla="*/ 383 w 400"/>
                <a:gd name="T1" fmla="*/ 129 h 352"/>
                <a:gd name="T2" fmla="*/ 348 w 400"/>
                <a:gd name="T3" fmla="*/ 129 h 352"/>
                <a:gd name="T4" fmla="*/ 334 w 400"/>
                <a:gd name="T5" fmla="*/ 103 h 352"/>
                <a:gd name="T6" fmla="*/ 334 w 400"/>
                <a:gd name="T7" fmla="*/ 0 h 352"/>
                <a:gd name="T8" fmla="*/ 267 w 400"/>
                <a:gd name="T9" fmla="*/ 47 h 352"/>
                <a:gd name="T10" fmla="*/ 192 w 400"/>
                <a:gd name="T11" fmla="*/ 31 h 352"/>
                <a:gd name="T12" fmla="*/ 29 w 400"/>
                <a:gd name="T13" fmla="*/ 149 h 352"/>
                <a:gd name="T14" fmla="*/ 0 w 400"/>
                <a:gd name="T15" fmla="*/ 179 h 352"/>
                <a:gd name="T16" fmla="*/ 29 w 400"/>
                <a:gd name="T17" fmla="*/ 208 h 352"/>
                <a:gd name="T18" fmla="*/ 79 w 400"/>
                <a:gd name="T19" fmla="*/ 287 h 352"/>
                <a:gd name="T20" fmla="*/ 70 w 400"/>
                <a:gd name="T21" fmla="*/ 352 h 352"/>
                <a:gd name="T22" fmla="*/ 141 w 400"/>
                <a:gd name="T23" fmla="*/ 352 h 352"/>
                <a:gd name="T24" fmla="*/ 142 w 400"/>
                <a:gd name="T25" fmla="*/ 320 h 352"/>
                <a:gd name="T26" fmla="*/ 192 w 400"/>
                <a:gd name="T27" fmla="*/ 327 h 352"/>
                <a:gd name="T28" fmla="*/ 242 w 400"/>
                <a:gd name="T29" fmla="*/ 320 h 352"/>
                <a:gd name="T30" fmla="*/ 243 w 400"/>
                <a:gd name="T31" fmla="*/ 352 h 352"/>
                <a:gd name="T32" fmla="*/ 314 w 400"/>
                <a:gd name="T33" fmla="*/ 352 h 352"/>
                <a:gd name="T34" fmla="*/ 305 w 400"/>
                <a:gd name="T35" fmla="*/ 287 h 352"/>
                <a:gd name="T36" fmla="*/ 348 w 400"/>
                <a:gd name="T37" fmla="*/ 228 h 352"/>
                <a:gd name="T38" fmla="*/ 383 w 400"/>
                <a:gd name="T39" fmla="*/ 228 h 352"/>
                <a:gd name="T40" fmla="*/ 400 w 400"/>
                <a:gd name="T41" fmla="*/ 212 h 352"/>
                <a:gd name="T42" fmla="*/ 400 w 400"/>
                <a:gd name="T43" fmla="*/ 146 h 352"/>
                <a:gd name="T44" fmla="*/ 383 w 400"/>
                <a:gd name="T45" fmla="*/ 129 h 352"/>
                <a:gd name="T46" fmla="*/ 254 w 400"/>
                <a:gd name="T47" fmla="*/ 91 h 352"/>
                <a:gd name="T48" fmla="*/ 238 w 400"/>
                <a:gd name="T49" fmla="*/ 102 h 352"/>
                <a:gd name="T50" fmla="*/ 232 w 400"/>
                <a:gd name="T51" fmla="*/ 101 h 352"/>
                <a:gd name="T52" fmla="*/ 151 w 400"/>
                <a:gd name="T53" fmla="*/ 101 h 352"/>
                <a:gd name="T54" fmla="*/ 129 w 400"/>
                <a:gd name="T55" fmla="*/ 91 h 352"/>
                <a:gd name="T56" fmla="*/ 140 w 400"/>
                <a:gd name="T57" fmla="*/ 69 h 352"/>
                <a:gd name="T58" fmla="*/ 244 w 400"/>
                <a:gd name="T59" fmla="*/ 69 h 352"/>
                <a:gd name="T60" fmla="*/ 254 w 400"/>
                <a:gd name="T61" fmla="*/ 91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0" h="352">
                  <a:moveTo>
                    <a:pt x="383" y="129"/>
                  </a:moveTo>
                  <a:cubicBezTo>
                    <a:pt x="348" y="129"/>
                    <a:pt x="348" y="129"/>
                    <a:pt x="348" y="129"/>
                  </a:cubicBezTo>
                  <a:cubicBezTo>
                    <a:pt x="344" y="120"/>
                    <a:pt x="340" y="111"/>
                    <a:pt x="334" y="10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45" y="36"/>
                    <a:pt x="219" y="31"/>
                    <a:pt x="192" y="31"/>
                  </a:cubicBezTo>
                  <a:cubicBezTo>
                    <a:pt x="111" y="31"/>
                    <a:pt x="44" y="81"/>
                    <a:pt x="29" y="149"/>
                  </a:cubicBezTo>
                  <a:cubicBezTo>
                    <a:pt x="13" y="150"/>
                    <a:pt x="0" y="163"/>
                    <a:pt x="0" y="179"/>
                  </a:cubicBezTo>
                  <a:cubicBezTo>
                    <a:pt x="0" y="195"/>
                    <a:pt x="13" y="208"/>
                    <a:pt x="29" y="208"/>
                  </a:cubicBezTo>
                  <a:cubicBezTo>
                    <a:pt x="36" y="239"/>
                    <a:pt x="54" y="267"/>
                    <a:pt x="79" y="287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141" y="352"/>
                    <a:pt x="141" y="352"/>
                    <a:pt x="141" y="352"/>
                  </a:cubicBezTo>
                  <a:cubicBezTo>
                    <a:pt x="142" y="320"/>
                    <a:pt x="142" y="320"/>
                    <a:pt x="142" y="320"/>
                  </a:cubicBezTo>
                  <a:cubicBezTo>
                    <a:pt x="157" y="325"/>
                    <a:pt x="174" y="327"/>
                    <a:pt x="192" y="327"/>
                  </a:cubicBezTo>
                  <a:cubicBezTo>
                    <a:pt x="209" y="327"/>
                    <a:pt x="226" y="325"/>
                    <a:pt x="242" y="320"/>
                  </a:cubicBezTo>
                  <a:cubicBezTo>
                    <a:pt x="243" y="352"/>
                    <a:pt x="243" y="352"/>
                    <a:pt x="243" y="352"/>
                  </a:cubicBezTo>
                  <a:cubicBezTo>
                    <a:pt x="314" y="352"/>
                    <a:pt x="314" y="352"/>
                    <a:pt x="314" y="352"/>
                  </a:cubicBezTo>
                  <a:cubicBezTo>
                    <a:pt x="305" y="287"/>
                    <a:pt x="305" y="287"/>
                    <a:pt x="305" y="287"/>
                  </a:cubicBezTo>
                  <a:cubicBezTo>
                    <a:pt x="324" y="271"/>
                    <a:pt x="339" y="251"/>
                    <a:pt x="348" y="228"/>
                  </a:cubicBezTo>
                  <a:cubicBezTo>
                    <a:pt x="383" y="228"/>
                    <a:pt x="383" y="228"/>
                    <a:pt x="383" y="228"/>
                  </a:cubicBezTo>
                  <a:cubicBezTo>
                    <a:pt x="393" y="228"/>
                    <a:pt x="400" y="221"/>
                    <a:pt x="400" y="212"/>
                  </a:cubicBezTo>
                  <a:cubicBezTo>
                    <a:pt x="400" y="146"/>
                    <a:pt x="400" y="146"/>
                    <a:pt x="400" y="146"/>
                  </a:cubicBezTo>
                  <a:cubicBezTo>
                    <a:pt x="400" y="137"/>
                    <a:pt x="393" y="129"/>
                    <a:pt x="383" y="129"/>
                  </a:cubicBezTo>
                  <a:close/>
                  <a:moveTo>
                    <a:pt x="254" y="91"/>
                  </a:moveTo>
                  <a:cubicBezTo>
                    <a:pt x="251" y="98"/>
                    <a:pt x="245" y="102"/>
                    <a:pt x="238" y="102"/>
                  </a:cubicBezTo>
                  <a:cubicBezTo>
                    <a:pt x="236" y="102"/>
                    <a:pt x="234" y="102"/>
                    <a:pt x="232" y="101"/>
                  </a:cubicBezTo>
                  <a:cubicBezTo>
                    <a:pt x="207" y="92"/>
                    <a:pt x="177" y="92"/>
                    <a:pt x="151" y="101"/>
                  </a:cubicBezTo>
                  <a:cubicBezTo>
                    <a:pt x="142" y="104"/>
                    <a:pt x="133" y="100"/>
                    <a:pt x="129" y="91"/>
                  </a:cubicBezTo>
                  <a:cubicBezTo>
                    <a:pt x="126" y="82"/>
                    <a:pt x="131" y="72"/>
                    <a:pt x="140" y="69"/>
                  </a:cubicBezTo>
                  <a:cubicBezTo>
                    <a:pt x="173" y="57"/>
                    <a:pt x="211" y="57"/>
                    <a:pt x="244" y="69"/>
                  </a:cubicBezTo>
                  <a:cubicBezTo>
                    <a:pt x="253" y="72"/>
                    <a:pt x="257" y="82"/>
                    <a:pt x="254" y="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62"/>
              <a:endParaRPr lang="en-US" sz="1600">
                <a:solidFill>
                  <a:srgbClr val="000000"/>
                </a:solidFill>
                <a:latin typeface="NotesStyle-Medium" pitchFamily="2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219254" y="-119844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15" name="Picture 5" descr="\\MAGNUM\Projects\Microsoft\Cloud Power FY12\Design\ICONS_PNG\Consistent_Development_and_Deployment_Platform.png"/>
          <p:cNvPicPr>
            <a:picLocks noChangeAspect="1" noChangeArrowheads="1"/>
          </p:cNvPicPr>
          <p:nvPr/>
        </p:nvPicPr>
        <p:blipFill>
          <a:blip r:embed="rId2" cstate="print">
            <a:lum bright="100000"/>
          </a:blip>
          <a:stretch>
            <a:fillRect/>
          </a:stretch>
        </p:blipFill>
        <p:spPr bwMode="auto">
          <a:xfrm>
            <a:off x="6039092" y="397524"/>
            <a:ext cx="792000" cy="791796"/>
          </a:xfrm>
          <a:prstGeom prst="rect">
            <a:avLst/>
          </a:prstGeom>
          <a:noFill/>
        </p:spPr>
      </p:pic>
      <p:grpSp>
        <p:nvGrpSpPr>
          <p:cNvPr id="16" name="Group 15"/>
          <p:cNvGrpSpPr/>
          <p:nvPr/>
        </p:nvGrpSpPr>
        <p:grpSpPr>
          <a:xfrm>
            <a:off x="4945835" y="2708497"/>
            <a:ext cx="792000" cy="792000"/>
            <a:chOff x="1929178" y="-990636"/>
            <a:chExt cx="792000" cy="792000"/>
          </a:xfrm>
        </p:grpSpPr>
        <p:sp>
          <p:nvSpPr>
            <p:cNvPr id="17" name="Freeform 135"/>
            <p:cNvSpPr>
              <a:spLocks noEditPoints="1"/>
            </p:cNvSpPr>
            <p:nvPr/>
          </p:nvSpPr>
          <p:spPr bwMode="black">
            <a:xfrm>
              <a:off x="2070664" y="-944829"/>
              <a:ext cx="509028" cy="700387"/>
            </a:xfrm>
            <a:custGeom>
              <a:avLst/>
              <a:gdLst>
                <a:gd name="T0" fmla="*/ 60 w 80"/>
                <a:gd name="T1" fmla="*/ 15 h 111"/>
                <a:gd name="T2" fmla="*/ 71 w 80"/>
                <a:gd name="T3" fmla="*/ 0 h 111"/>
                <a:gd name="T4" fmla="*/ 74 w 80"/>
                <a:gd name="T5" fmla="*/ 2 h 111"/>
                <a:gd name="T6" fmla="*/ 62 w 80"/>
                <a:gd name="T7" fmla="*/ 16 h 111"/>
                <a:gd name="T8" fmla="*/ 60 w 80"/>
                <a:gd name="T9" fmla="*/ 15 h 111"/>
                <a:gd name="T10" fmla="*/ 67 w 80"/>
                <a:gd name="T11" fmla="*/ 111 h 111"/>
                <a:gd name="T12" fmla="*/ 67 w 80"/>
                <a:gd name="T13" fmla="*/ 103 h 111"/>
                <a:gd name="T14" fmla="*/ 46 w 80"/>
                <a:gd name="T15" fmla="*/ 103 h 111"/>
                <a:gd name="T16" fmla="*/ 46 w 80"/>
                <a:gd name="T17" fmla="*/ 68 h 111"/>
                <a:gd name="T18" fmla="*/ 80 w 80"/>
                <a:gd name="T19" fmla="*/ 26 h 111"/>
                <a:gd name="T20" fmla="*/ 0 w 80"/>
                <a:gd name="T21" fmla="*/ 26 h 111"/>
                <a:gd name="T22" fmla="*/ 34 w 80"/>
                <a:gd name="T23" fmla="*/ 68 h 111"/>
                <a:gd name="T24" fmla="*/ 34 w 80"/>
                <a:gd name="T25" fmla="*/ 103 h 111"/>
                <a:gd name="T26" fmla="*/ 13 w 80"/>
                <a:gd name="T27" fmla="*/ 103 h 111"/>
                <a:gd name="T28" fmla="*/ 13 w 80"/>
                <a:gd name="T29" fmla="*/ 111 h 111"/>
                <a:gd name="T30" fmla="*/ 67 w 80"/>
                <a:gd name="T31" fmla="*/ 111 h 111"/>
                <a:gd name="T32" fmla="*/ 62 w 80"/>
                <a:gd name="T33" fmla="*/ 23 h 111"/>
                <a:gd name="T34" fmla="*/ 54 w 80"/>
                <a:gd name="T35" fmla="*/ 17 h 111"/>
                <a:gd name="T36" fmla="*/ 47 w 80"/>
                <a:gd name="T37" fmla="*/ 23 h 111"/>
                <a:gd name="T38" fmla="*/ 62 w 80"/>
                <a:gd name="T3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11">
                  <a:moveTo>
                    <a:pt x="60" y="15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1" y="16"/>
                    <a:pt x="61" y="15"/>
                    <a:pt x="60" y="15"/>
                  </a:cubicBezTo>
                  <a:close/>
                  <a:moveTo>
                    <a:pt x="67" y="111"/>
                  </a:moveTo>
                  <a:cubicBezTo>
                    <a:pt x="67" y="103"/>
                    <a:pt x="67" y="103"/>
                    <a:pt x="67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11"/>
                    <a:pt x="13" y="111"/>
                    <a:pt x="13" y="111"/>
                  </a:cubicBezTo>
                  <a:lnTo>
                    <a:pt x="67" y="111"/>
                  </a:lnTo>
                  <a:close/>
                  <a:moveTo>
                    <a:pt x="62" y="23"/>
                  </a:moveTo>
                  <a:cubicBezTo>
                    <a:pt x="61" y="19"/>
                    <a:pt x="58" y="17"/>
                    <a:pt x="54" y="17"/>
                  </a:cubicBezTo>
                  <a:cubicBezTo>
                    <a:pt x="51" y="17"/>
                    <a:pt x="48" y="19"/>
                    <a:pt x="47" y="23"/>
                  </a:cubicBezTo>
                  <a:lnTo>
                    <a:pt x="62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292929"/>
                </a:solidFill>
                <a:latin typeface="NotesStyle-Medium" pitchFamily="2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929178" y="-990636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220457" y="1899481"/>
            <a:ext cx="792000" cy="792000"/>
            <a:chOff x="1143476" y="-1230962"/>
            <a:chExt cx="792000" cy="792000"/>
          </a:xfrm>
        </p:grpSpPr>
        <p:sp>
          <p:nvSpPr>
            <p:cNvPr id="20" name="Freeform 26"/>
            <p:cNvSpPr>
              <a:spLocks noChangeAspect="1" noEditPoints="1"/>
            </p:cNvSpPr>
            <p:nvPr/>
          </p:nvSpPr>
          <p:spPr bwMode="auto">
            <a:xfrm>
              <a:off x="1304240" y="-1142308"/>
              <a:ext cx="470472" cy="614692"/>
            </a:xfrm>
            <a:custGeom>
              <a:avLst/>
              <a:gdLst>
                <a:gd name="T0" fmla="*/ 747 w 816"/>
                <a:gd name="T1" fmla="*/ 285 h 1066"/>
                <a:gd name="T2" fmla="*/ 408 w 816"/>
                <a:gd name="T3" fmla="*/ 285 h 1066"/>
                <a:gd name="T4" fmla="*/ 69 w 816"/>
                <a:gd name="T5" fmla="*/ 285 h 1066"/>
                <a:gd name="T6" fmla="*/ 0 w 816"/>
                <a:gd name="T7" fmla="*/ 676 h 1066"/>
                <a:gd name="T8" fmla="*/ 408 w 816"/>
                <a:gd name="T9" fmla="*/ 1066 h 1066"/>
                <a:gd name="T10" fmla="*/ 816 w 816"/>
                <a:gd name="T11" fmla="*/ 676 h 1066"/>
                <a:gd name="T12" fmla="*/ 747 w 816"/>
                <a:gd name="T13" fmla="*/ 285 h 1066"/>
                <a:gd name="T14" fmla="*/ 491 w 816"/>
                <a:gd name="T15" fmla="*/ 828 h 1066"/>
                <a:gd name="T16" fmla="*/ 325 w 816"/>
                <a:gd name="T17" fmla="*/ 828 h 1066"/>
                <a:gd name="T18" fmla="*/ 357 w 816"/>
                <a:gd name="T19" fmla="*/ 673 h 1066"/>
                <a:gd name="T20" fmla="*/ 324 w 816"/>
                <a:gd name="T21" fmla="*/ 607 h 1066"/>
                <a:gd name="T22" fmla="*/ 408 w 816"/>
                <a:gd name="T23" fmla="*/ 523 h 1066"/>
                <a:gd name="T24" fmla="*/ 492 w 816"/>
                <a:gd name="T25" fmla="*/ 607 h 1066"/>
                <a:gd name="T26" fmla="*/ 459 w 816"/>
                <a:gd name="T27" fmla="*/ 673 h 1066"/>
                <a:gd name="T28" fmla="*/ 491 w 816"/>
                <a:gd name="T29" fmla="*/ 828 h 1066"/>
                <a:gd name="T30" fmla="*/ 242 w 816"/>
                <a:gd name="T31" fmla="*/ 297 h 1066"/>
                <a:gd name="T32" fmla="*/ 152 w 816"/>
                <a:gd name="T33" fmla="*/ 285 h 1066"/>
                <a:gd name="T34" fmla="*/ 152 w 816"/>
                <a:gd name="T35" fmla="*/ 230 h 1066"/>
                <a:gd name="T36" fmla="*/ 383 w 816"/>
                <a:gd name="T37" fmla="*/ 0 h 1066"/>
                <a:gd name="T38" fmla="*/ 433 w 816"/>
                <a:gd name="T39" fmla="*/ 0 h 1066"/>
                <a:gd name="T40" fmla="*/ 664 w 816"/>
                <a:gd name="T41" fmla="*/ 230 h 1066"/>
                <a:gd name="T42" fmla="*/ 664 w 816"/>
                <a:gd name="T43" fmla="*/ 285 h 1066"/>
                <a:gd name="T44" fmla="*/ 574 w 816"/>
                <a:gd name="T45" fmla="*/ 297 h 1066"/>
                <a:gd name="T46" fmla="*/ 564 w 816"/>
                <a:gd name="T47" fmla="*/ 297 h 1066"/>
                <a:gd name="T48" fmla="*/ 564 w 816"/>
                <a:gd name="T49" fmla="*/ 230 h 1066"/>
                <a:gd name="T50" fmla="*/ 433 w 816"/>
                <a:gd name="T51" fmla="*/ 100 h 1066"/>
                <a:gd name="T52" fmla="*/ 383 w 816"/>
                <a:gd name="T53" fmla="*/ 100 h 1066"/>
                <a:gd name="T54" fmla="*/ 252 w 816"/>
                <a:gd name="T55" fmla="*/ 230 h 1066"/>
                <a:gd name="T56" fmla="*/ 252 w 816"/>
                <a:gd name="T57" fmla="*/ 297 h 1066"/>
                <a:gd name="T58" fmla="*/ 242 w 816"/>
                <a:gd name="T59" fmla="*/ 297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16" h="1066">
                  <a:moveTo>
                    <a:pt x="747" y="285"/>
                  </a:moveTo>
                  <a:cubicBezTo>
                    <a:pt x="555" y="376"/>
                    <a:pt x="408" y="285"/>
                    <a:pt x="408" y="285"/>
                  </a:cubicBezTo>
                  <a:cubicBezTo>
                    <a:pt x="408" y="285"/>
                    <a:pt x="261" y="376"/>
                    <a:pt x="69" y="285"/>
                  </a:cubicBezTo>
                  <a:cubicBezTo>
                    <a:pt x="69" y="285"/>
                    <a:pt x="0" y="438"/>
                    <a:pt x="0" y="676"/>
                  </a:cubicBezTo>
                  <a:cubicBezTo>
                    <a:pt x="0" y="1005"/>
                    <a:pt x="408" y="1066"/>
                    <a:pt x="408" y="1066"/>
                  </a:cubicBezTo>
                  <a:cubicBezTo>
                    <a:pt x="408" y="1066"/>
                    <a:pt x="816" y="1005"/>
                    <a:pt x="816" y="676"/>
                  </a:cubicBezTo>
                  <a:cubicBezTo>
                    <a:pt x="816" y="438"/>
                    <a:pt x="747" y="285"/>
                    <a:pt x="747" y="285"/>
                  </a:cubicBezTo>
                  <a:close/>
                  <a:moveTo>
                    <a:pt x="491" y="828"/>
                  </a:moveTo>
                  <a:cubicBezTo>
                    <a:pt x="325" y="828"/>
                    <a:pt x="325" y="828"/>
                    <a:pt x="325" y="828"/>
                  </a:cubicBezTo>
                  <a:cubicBezTo>
                    <a:pt x="357" y="673"/>
                    <a:pt x="357" y="673"/>
                    <a:pt x="357" y="673"/>
                  </a:cubicBezTo>
                  <a:cubicBezTo>
                    <a:pt x="337" y="658"/>
                    <a:pt x="324" y="634"/>
                    <a:pt x="324" y="607"/>
                  </a:cubicBezTo>
                  <a:cubicBezTo>
                    <a:pt x="324" y="560"/>
                    <a:pt x="362" y="523"/>
                    <a:pt x="408" y="523"/>
                  </a:cubicBezTo>
                  <a:cubicBezTo>
                    <a:pt x="454" y="523"/>
                    <a:pt x="492" y="560"/>
                    <a:pt x="492" y="607"/>
                  </a:cubicBezTo>
                  <a:cubicBezTo>
                    <a:pt x="492" y="634"/>
                    <a:pt x="479" y="658"/>
                    <a:pt x="459" y="673"/>
                  </a:cubicBezTo>
                  <a:lnTo>
                    <a:pt x="491" y="828"/>
                  </a:lnTo>
                  <a:close/>
                  <a:moveTo>
                    <a:pt x="242" y="297"/>
                  </a:moveTo>
                  <a:cubicBezTo>
                    <a:pt x="212" y="297"/>
                    <a:pt x="182" y="293"/>
                    <a:pt x="152" y="285"/>
                  </a:cubicBezTo>
                  <a:cubicBezTo>
                    <a:pt x="152" y="230"/>
                    <a:pt x="152" y="230"/>
                    <a:pt x="152" y="230"/>
                  </a:cubicBezTo>
                  <a:cubicBezTo>
                    <a:pt x="152" y="103"/>
                    <a:pt x="256" y="0"/>
                    <a:pt x="383" y="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560" y="0"/>
                    <a:pt x="664" y="103"/>
                    <a:pt x="664" y="230"/>
                  </a:cubicBezTo>
                  <a:cubicBezTo>
                    <a:pt x="664" y="285"/>
                    <a:pt x="664" y="285"/>
                    <a:pt x="664" y="285"/>
                  </a:cubicBezTo>
                  <a:cubicBezTo>
                    <a:pt x="634" y="293"/>
                    <a:pt x="604" y="297"/>
                    <a:pt x="574" y="297"/>
                  </a:cubicBezTo>
                  <a:cubicBezTo>
                    <a:pt x="570" y="297"/>
                    <a:pt x="567" y="297"/>
                    <a:pt x="564" y="297"/>
                  </a:cubicBezTo>
                  <a:cubicBezTo>
                    <a:pt x="564" y="230"/>
                    <a:pt x="564" y="230"/>
                    <a:pt x="564" y="230"/>
                  </a:cubicBezTo>
                  <a:cubicBezTo>
                    <a:pt x="564" y="158"/>
                    <a:pt x="505" y="100"/>
                    <a:pt x="433" y="100"/>
                  </a:cubicBezTo>
                  <a:cubicBezTo>
                    <a:pt x="383" y="100"/>
                    <a:pt x="383" y="100"/>
                    <a:pt x="383" y="100"/>
                  </a:cubicBezTo>
                  <a:cubicBezTo>
                    <a:pt x="311" y="100"/>
                    <a:pt x="252" y="158"/>
                    <a:pt x="252" y="230"/>
                  </a:cubicBezTo>
                  <a:cubicBezTo>
                    <a:pt x="252" y="297"/>
                    <a:pt x="252" y="297"/>
                    <a:pt x="252" y="297"/>
                  </a:cubicBezTo>
                  <a:cubicBezTo>
                    <a:pt x="249" y="297"/>
                    <a:pt x="246" y="297"/>
                    <a:pt x="242" y="2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396" tIns="45699" rIns="91396" bIns="45699" numCol="1" anchor="t" anchorCtr="0" compatLnSpc="1">
              <a:prstTxWarp prst="textNoShape">
                <a:avLst/>
              </a:prstTxWarp>
            </a:bodyPr>
            <a:lstStyle/>
            <a:p>
              <a:pPr defTabSz="914021">
                <a:defRPr/>
              </a:pPr>
              <a:endParaRPr lang="en-US" sz="16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tesStyle-Medium" pitchFamily="2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143476" y="-123096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81259" y="2744911"/>
            <a:ext cx="792000" cy="792000"/>
            <a:chOff x="1915728" y="-1234102"/>
            <a:chExt cx="792000" cy="792000"/>
          </a:xfrm>
        </p:grpSpPr>
        <p:sp>
          <p:nvSpPr>
            <p:cNvPr id="23" name="Freeform 19"/>
            <p:cNvSpPr>
              <a:spLocks/>
            </p:cNvSpPr>
            <p:nvPr/>
          </p:nvSpPr>
          <p:spPr bwMode="black">
            <a:xfrm>
              <a:off x="2096917" y="-1183364"/>
              <a:ext cx="429622" cy="690524"/>
            </a:xfrm>
            <a:custGeom>
              <a:avLst/>
              <a:gdLst>
                <a:gd name="T0" fmla="*/ 1691 w 1694"/>
                <a:gd name="T1" fmla="*/ 1046 h 2719"/>
                <a:gd name="T2" fmla="*/ 1681 w 1694"/>
                <a:gd name="T3" fmla="*/ 869 h 2719"/>
                <a:gd name="T4" fmla="*/ 1679 w 1694"/>
                <a:gd name="T5" fmla="*/ 836 h 2719"/>
                <a:gd name="T6" fmla="*/ 1653 w 1694"/>
                <a:gd name="T7" fmla="*/ 815 h 2719"/>
                <a:gd name="T8" fmla="*/ 1050 w 1694"/>
                <a:gd name="T9" fmla="*/ 332 h 2719"/>
                <a:gd name="T10" fmla="*/ 1027 w 1694"/>
                <a:gd name="T11" fmla="*/ 48 h 2719"/>
                <a:gd name="T12" fmla="*/ 898 w 1694"/>
                <a:gd name="T13" fmla="*/ 0 h 2719"/>
                <a:gd name="T14" fmla="*/ 647 w 1694"/>
                <a:gd name="T15" fmla="*/ 224 h 2719"/>
                <a:gd name="T16" fmla="*/ 37 w 1694"/>
                <a:gd name="T17" fmla="*/ 1034 h 2719"/>
                <a:gd name="T18" fmla="*/ 1 w 1694"/>
                <a:gd name="T19" fmla="*/ 1735 h 2719"/>
                <a:gd name="T20" fmla="*/ 2 w 1694"/>
                <a:gd name="T21" fmla="*/ 1760 h 2719"/>
                <a:gd name="T22" fmla="*/ 3 w 1694"/>
                <a:gd name="T23" fmla="*/ 1947 h 2719"/>
                <a:gd name="T24" fmla="*/ 3 w 1694"/>
                <a:gd name="T25" fmla="*/ 2022 h 2719"/>
                <a:gd name="T26" fmla="*/ 78 w 1694"/>
                <a:gd name="T27" fmla="*/ 2022 h 2719"/>
                <a:gd name="T28" fmla="*/ 284 w 1694"/>
                <a:gd name="T29" fmla="*/ 2149 h 2719"/>
                <a:gd name="T30" fmla="*/ 78 w 1694"/>
                <a:gd name="T31" fmla="*/ 2276 h 2719"/>
                <a:gd name="T32" fmla="*/ 3 w 1694"/>
                <a:gd name="T33" fmla="*/ 2276 h 2719"/>
                <a:gd name="T34" fmla="*/ 3 w 1694"/>
                <a:gd name="T35" fmla="*/ 2351 h 2719"/>
                <a:gd name="T36" fmla="*/ 4 w 1694"/>
                <a:gd name="T37" fmla="*/ 2643 h 2719"/>
                <a:gd name="T38" fmla="*/ 4 w 1694"/>
                <a:gd name="T39" fmla="*/ 2719 h 2719"/>
                <a:gd name="T40" fmla="*/ 1318 w 1694"/>
                <a:gd name="T41" fmla="*/ 2719 h 2719"/>
                <a:gd name="T42" fmla="*/ 1318 w 1694"/>
                <a:gd name="T43" fmla="*/ 2643 h 2719"/>
                <a:gd name="T44" fmla="*/ 1318 w 1694"/>
                <a:gd name="T45" fmla="*/ 2351 h 2719"/>
                <a:gd name="T46" fmla="*/ 1318 w 1694"/>
                <a:gd name="T47" fmla="*/ 2275 h 2719"/>
                <a:gd name="T48" fmla="*/ 1243 w 1694"/>
                <a:gd name="T49" fmla="*/ 2276 h 2719"/>
                <a:gd name="T50" fmla="*/ 1241 w 1694"/>
                <a:gd name="T51" fmla="*/ 2276 h 2719"/>
                <a:gd name="T52" fmla="*/ 1239 w 1694"/>
                <a:gd name="T53" fmla="*/ 2276 h 2719"/>
                <a:gd name="T54" fmla="*/ 1032 w 1694"/>
                <a:gd name="T55" fmla="*/ 2149 h 2719"/>
                <a:gd name="T56" fmla="*/ 1239 w 1694"/>
                <a:gd name="T57" fmla="*/ 2022 h 2719"/>
                <a:gd name="T58" fmla="*/ 1242 w 1694"/>
                <a:gd name="T59" fmla="*/ 2022 h 2719"/>
                <a:gd name="T60" fmla="*/ 1318 w 1694"/>
                <a:gd name="T61" fmla="*/ 2022 h 2719"/>
                <a:gd name="T62" fmla="*/ 1318 w 1694"/>
                <a:gd name="T63" fmla="*/ 1947 h 2719"/>
                <a:gd name="T64" fmla="*/ 1127 w 1694"/>
                <a:gd name="T65" fmla="*/ 1362 h 2719"/>
                <a:gd name="T66" fmla="*/ 1056 w 1694"/>
                <a:gd name="T67" fmla="*/ 1282 h 2719"/>
                <a:gd name="T68" fmla="*/ 880 w 1694"/>
                <a:gd name="T69" fmla="*/ 1056 h 2719"/>
                <a:gd name="T70" fmla="*/ 1050 w 1694"/>
                <a:gd name="T71" fmla="*/ 1114 h 2719"/>
                <a:gd name="T72" fmla="*/ 1290 w 1694"/>
                <a:gd name="T73" fmla="*/ 1121 h 2719"/>
                <a:gd name="T74" fmla="*/ 1346 w 1694"/>
                <a:gd name="T75" fmla="*/ 1202 h 2719"/>
                <a:gd name="T76" fmla="*/ 1384 w 1694"/>
                <a:gd name="T77" fmla="*/ 1257 h 2719"/>
                <a:gd name="T78" fmla="*/ 1443 w 1694"/>
                <a:gd name="T79" fmla="*/ 1226 h 2719"/>
                <a:gd name="T80" fmla="*/ 1651 w 1694"/>
                <a:gd name="T81" fmla="*/ 1117 h 2719"/>
                <a:gd name="T82" fmla="*/ 1694 w 1694"/>
                <a:gd name="T83" fmla="*/ 1094 h 2719"/>
                <a:gd name="T84" fmla="*/ 1691 w 1694"/>
                <a:gd name="T85" fmla="*/ 1046 h 2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4" h="2719">
                  <a:moveTo>
                    <a:pt x="1691" y="1046"/>
                  </a:moveTo>
                  <a:cubicBezTo>
                    <a:pt x="1681" y="869"/>
                    <a:pt x="1681" y="869"/>
                    <a:pt x="1681" y="869"/>
                  </a:cubicBezTo>
                  <a:cubicBezTo>
                    <a:pt x="1679" y="836"/>
                    <a:pt x="1679" y="836"/>
                    <a:pt x="1679" y="836"/>
                  </a:cubicBezTo>
                  <a:cubicBezTo>
                    <a:pt x="1653" y="815"/>
                    <a:pt x="1653" y="815"/>
                    <a:pt x="1653" y="815"/>
                  </a:cubicBezTo>
                  <a:cubicBezTo>
                    <a:pt x="1050" y="332"/>
                    <a:pt x="1050" y="332"/>
                    <a:pt x="1050" y="332"/>
                  </a:cubicBezTo>
                  <a:cubicBezTo>
                    <a:pt x="1027" y="48"/>
                    <a:pt x="1027" y="48"/>
                    <a:pt x="1027" y="48"/>
                  </a:cubicBezTo>
                  <a:cubicBezTo>
                    <a:pt x="898" y="0"/>
                    <a:pt x="898" y="0"/>
                    <a:pt x="898" y="0"/>
                  </a:cubicBezTo>
                  <a:cubicBezTo>
                    <a:pt x="897" y="2"/>
                    <a:pt x="772" y="126"/>
                    <a:pt x="647" y="224"/>
                  </a:cubicBezTo>
                  <a:cubicBezTo>
                    <a:pt x="195" y="352"/>
                    <a:pt x="71" y="785"/>
                    <a:pt x="37" y="1034"/>
                  </a:cubicBezTo>
                  <a:cubicBezTo>
                    <a:pt x="0" y="1315"/>
                    <a:pt x="0" y="1487"/>
                    <a:pt x="1" y="1735"/>
                  </a:cubicBezTo>
                  <a:cubicBezTo>
                    <a:pt x="1" y="1743"/>
                    <a:pt x="2" y="1752"/>
                    <a:pt x="2" y="1760"/>
                  </a:cubicBezTo>
                  <a:cubicBezTo>
                    <a:pt x="3" y="1947"/>
                    <a:pt x="3" y="1947"/>
                    <a:pt x="3" y="1947"/>
                  </a:cubicBezTo>
                  <a:cubicBezTo>
                    <a:pt x="3" y="2022"/>
                    <a:pt x="3" y="2022"/>
                    <a:pt x="3" y="2022"/>
                  </a:cubicBezTo>
                  <a:cubicBezTo>
                    <a:pt x="3" y="2022"/>
                    <a:pt x="78" y="2022"/>
                    <a:pt x="78" y="2022"/>
                  </a:cubicBezTo>
                  <a:cubicBezTo>
                    <a:pt x="189" y="2023"/>
                    <a:pt x="284" y="2092"/>
                    <a:pt x="284" y="2149"/>
                  </a:cubicBezTo>
                  <a:cubicBezTo>
                    <a:pt x="284" y="2205"/>
                    <a:pt x="189" y="2275"/>
                    <a:pt x="78" y="2276"/>
                  </a:cubicBezTo>
                  <a:cubicBezTo>
                    <a:pt x="3" y="2276"/>
                    <a:pt x="3" y="2276"/>
                    <a:pt x="3" y="2276"/>
                  </a:cubicBezTo>
                  <a:cubicBezTo>
                    <a:pt x="3" y="2351"/>
                    <a:pt x="3" y="2351"/>
                    <a:pt x="3" y="2351"/>
                  </a:cubicBezTo>
                  <a:cubicBezTo>
                    <a:pt x="4" y="2643"/>
                    <a:pt x="4" y="2643"/>
                    <a:pt x="4" y="2643"/>
                  </a:cubicBezTo>
                  <a:cubicBezTo>
                    <a:pt x="4" y="2719"/>
                    <a:pt x="4" y="2719"/>
                    <a:pt x="4" y="2719"/>
                  </a:cubicBezTo>
                  <a:cubicBezTo>
                    <a:pt x="1318" y="2719"/>
                    <a:pt x="1318" y="2719"/>
                    <a:pt x="1318" y="2719"/>
                  </a:cubicBezTo>
                  <a:cubicBezTo>
                    <a:pt x="1318" y="2719"/>
                    <a:pt x="1318" y="2643"/>
                    <a:pt x="1318" y="2643"/>
                  </a:cubicBezTo>
                  <a:cubicBezTo>
                    <a:pt x="1318" y="2351"/>
                    <a:pt x="1318" y="2351"/>
                    <a:pt x="1318" y="2351"/>
                  </a:cubicBezTo>
                  <a:cubicBezTo>
                    <a:pt x="1318" y="2275"/>
                    <a:pt x="1318" y="2275"/>
                    <a:pt x="1318" y="2275"/>
                  </a:cubicBezTo>
                  <a:cubicBezTo>
                    <a:pt x="1318" y="2276"/>
                    <a:pt x="1243" y="2276"/>
                    <a:pt x="1243" y="2276"/>
                  </a:cubicBezTo>
                  <a:cubicBezTo>
                    <a:pt x="1241" y="2276"/>
                    <a:pt x="1241" y="2276"/>
                    <a:pt x="1241" y="2276"/>
                  </a:cubicBezTo>
                  <a:cubicBezTo>
                    <a:pt x="1240" y="2276"/>
                    <a:pt x="1239" y="2276"/>
                    <a:pt x="1239" y="2276"/>
                  </a:cubicBezTo>
                  <a:cubicBezTo>
                    <a:pt x="1127" y="2275"/>
                    <a:pt x="1032" y="2206"/>
                    <a:pt x="1032" y="2149"/>
                  </a:cubicBezTo>
                  <a:cubicBezTo>
                    <a:pt x="1032" y="2092"/>
                    <a:pt x="1128" y="2022"/>
                    <a:pt x="1239" y="2022"/>
                  </a:cubicBezTo>
                  <a:cubicBezTo>
                    <a:pt x="1240" y="2022"/>
                    <a:pt x="1241" y="2022"/>
                    <a:pt x="1242" y="2022"/>
                  </a:cubicBezTo>
                  <a:cubicBezTo>
                    <a:pt x="1318" y="2022"/>
                    <a:pt x="1318" y="2022"/>
                    <a:pt x="1318" y="2022"/>
                  </a:cubicBezTo>
                  <a:cubicBezTo>
                    <a:pt x="1318" y="1947"/>
                    <a:pt x="1318" y="1947"/>
                    <a:pt x="1318" y="1947"/>
                  </a:cubicBezTo>
                  <a:cubicBezTo>
                    <a:pt x="1317" y="1726"/>
                    <a:pt x="1249" y="1519"/>
                    <a:pt x="1127" y="1362"/>
                  </a:cubicBezTo>
                  <a:cubicBezTo>
                    <a:pt x="1105" y="1333"/>
                    <a:pt x="1082" y="1306"/>
                    <a:pt x="1056" y="1282"/>
                  </a:cubicBezTo>
                  <a:cubicBezTo>
                    <a:pt x="982" y="1209"/>
                    <a:pt x="924" y="1135"/>
                    <a:pt x="880" y="1056"/>
                  </a:cubicBezTo>
                  <a:cubicBezTo>
                    <a:pt x="948" y="1086"/>
                    <a:pt x="1014" y="1106"/>
                    <a:pt x="1050" y="1114"/>
                  </a:cubicBezTo>
                  <a:cubicBezTo>
                    <a:pt x="1141" y="1133"/>
                    <a:pt x="1234" y="1127"/>
                    <a:pt x="1290" y="1121"/>
                  </a:cubicBezTo>
                  <a:cubicBezTo>
                    <a:pt x="1346" y="1202"/>
                    <a:pt x="1346" y="1202"/>
                    <a:pt x="1346" y="1202"/>
                  </a:cubicBezTo>
                  <a:cubicBezTo>
                    <a:pt x="1384" y="1257"/>
                    <a:pt x="1384" y="1257"/>
                    <a:pt x="1384" y="1257"/>
                  </a:cubicBezTo>
                  <a:cubicBezTo>
                    <a:pt x="1443" y="1226"/>
                    <a:pt x="1443" y="1226"/>
                    <a:pt x="1443" y="1226"/>
                  </a:cubicBezTo>
                  <a:cubicBezTo>
                    <a:pt x="1651" y="1117"/>
                    <a:pt x="1651" y="1117"/>
                    <a:pt x="1651" y="1117"/>
                  </a:cubicBezTo>
                  <a:cubicBezTo>
                    <a:pt x="1694" y="1094"/>
                    <a:pt x="1694" y="1094"/>
                    <a:pt x="1694" y="1094"/>
                  </a:cubicBezTo>
                  <a:lnTo>
                    <a:pt x="1691" y="10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53528" tIns="26764" rIns="53528" bIns="26764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292929">
                    <a:lumMod val="75000"/>
                  </a:srgbClr>
                </a:solidFill>
                <a:latin typeface="NotesStyle-Medium" pitchFamily="2" charset="0"/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15728" y="-123410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976804" y="1898497"/>
            <a:ext cx="792000" cy="792000"/>
            <a:chOff x="3117113" y="-1896349"/>
            <a:chExt cx="792000" cy="792000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3636" y="-1878349"/>
              <a:ext cx="478954" cy="756000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/>
          </p:nvSpPr>
          <p:spPr>
            <a:xfrm>
              <a:off x="3117113" y="-189634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028155" y="1086709"/>
            <a:ext cx="792000" cy="792000"/>
            <a:chOff x="3223508" y="-1869838"/>
            <a:chExt cx="792000" cy="792000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9699" y="-1810938"/>
              <a:ext cx="579619" cy="674200"/>
            </a:xfrm>
            <a:prstGeom prst="rect">
              <a:avLst/>
            </a:prstGeom>
            <a:noFill/>
          </p:spPr>
        </p:pic>
        <p:sp>
          <p:nvSpPr>
            <p:cNvPr id="35" name="Rectangle 34"/>
            <p:cNvSpPr/>
            <p:nvPr/>
          </p:nvSpPr>
          <p:spPr>
            <a:xfrm>
              <a:off x="3223508" y="-18698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031154" y="376361"/>
            <a:ext cx="792000" cy="792000"/>
            <a:chOff x="10053737" y="579451"/>
            <a:chExt cx="792000" cy="792000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07799" y="670591"/>
              <a:ext cx="683876" cy="609720"/>
            </a:xfrm>
            <a:prstGeom prst="rect">
              <a:avLst/>
            </a:prstGeom>
          </p:spPr>
        </p:pic>
        <p:sp>
          <p:nvSpPr>
            <p:cNvPr id="39" name="Rectangle 38"/>
            <p:cNvSpPr/>
            <p:nvPr/>
          </p:nvSpPr>
          <p:spPr>
            <a:xfrm>
              <a:off x="10053737" y="57945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sp>
        <p:nvSpPr>
          <p:cNvPr id="40" name="Freeform 39"/>
          <p:cNvSpPr>
            <a:spLocks/>
          </p:cNvSpPr>
          <p:nvPr/>
        </p:nvSpPr>
        <p:spPr bwMode="auto">
          <a:xfrm rot="60000">
            <a:off x="5240129" y="4797154"/>
            <a:ext cx="1344759" cy="243918"/>
          </a:xfrm>
          <a:custGeom>
            <a:avLst/>
            <a:gdLst/>
            <a:ahLst/>
            <a:cxnLst>
              <a:cxn ang="0">
                <a:pos x="3712" y="277"/>
              </a:cxn>
              <a:cxn ang="0">
                <a:pos x="3885" y="381"/>
              </a:cxn>
              <a:cxn ang="0">
                <a:pos x="3823" y="454"/>
              </a:cxn>
              <a:cxn ang="0">
                <a:pos x="3296" y="369"/>
              </a:cxn>
              <a:cxn ang="0">
                <a:pos x="1641" y="430"/>
              </a:cxn>
              <a:cxn ang="0">
                <a:pos x="685" y="651"/>
              </a:cxn>
              <a:cxn ang="0">
                <a:pos x="121" y="847"/>
              </a:cxn>
              <a:cxn ang="0">
                <a:pos x="32" y="777"/>
              </a:cxn>
              <a:cxn ang="0">
                <a:pos x="1275" y="345"/>
              </a:cxn>
              <a:cxn ang="0">
                <a:pos x="3712" y="277"/>
              </a:cxn>
            </a:cxnLst>
            <a:rect l="0" t="0" r="r" b="b"/>
            <a:pathLst>
              <a:path w="3889" h="860">
                <a:moveTo>
                  <a:pt x="3712" y="277"/>
                </a:moveTo>
                <a:cubicBezTo>
                  <a:pt x="3708" y="310"/>
                  <a:pt x="3889" y="348"/>
                  <a:pt x="3885" y="381"/>
                </a:cubicBezTo>
                <a:cubicBezTo>
                  <a:pt x="3864" y="405"/>
                  <a:pt x="3866" y="454"/>
                  <a:pt x="3823" y="454"/>
                </a:cubicBezTo>
                <a:cubicBezTo>
                  <a:pt x="3781" y="454"/>
                  <a:pt x="3472" y="397"/>
                  <a:pt x="3296" y="369"/>
                </a:cubicBezTo>
                <a:cubicBezTo>
                  <a:pt x="2776" y="286"/>
                  <a:pt x="2098" y="340"/>
                  <a:pt x="1641" y="430"/>
                </a:cubicBezTo>
                <a:cubicBezTo>
                  <a:pt x="1323" y="503"/>
                  <a:pt x="949" y="566"/>
                  <a:pt x="685" y="651"/>
                </a:cubicBezTo>
                <a:cubicBezTo>
                  <a:pt x="421" y="735"/>
                  <a:pt x="309" y="781"/>
                  <a:pt x="121" y="847"/>
                </a:cubicBezTo>
                <a:cubicBezTo>
                  <a:pt x="74" y="860"/>
                  <a:pt x="0" y="800"/>
                  <a:pt x="32" y="777"/>
                </a:cubicBezTo>
                <a:cubicBezTo>
                  <a:pt x="144" y="697"/>
                  <a:pt x="805" y="472"/>
                  <a:pt x="1275" y="345"/>
                </a:cubicBezTo>
                <a:cubicBezTo>
                  <a:pt x="1503" y="284"/>
                  <a:pt x="2656" y="0"/>
                  <a:pt x="3712" y="277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52460" tIns="26228" rIns="52460" bIns="26228" numCol="1" anchor="t" anchorCtr="0" compatLnSpc="1">
            <a:prstTxWarp prst="textNoShape">
              <a:avLst/>
            </a:prstTxWarp>
          </a:bodyPr>
          <a:lstStyle/>
          <a:p>
            <a:pPr defTabSz="698909"/>
            <a:endParaRPr lang="en-US" sz="1600" kern="0" dirty="0">
              <a:noFill/>
              <a:latin typeface="NotesStyle-Medium" pitchFamily="2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015062" y="1145609"/>
            <a:ext cx="792000" cy="792000"/>
            <a:chOff x="9973849" y="784733"/>
            <a:chExt cx="792000" cy="792000"/>
          </a:xfrm>
        </p:grpSpPr>
        <p:grpSp>
          <p:nvGrpSpPr>
            <p:cNvPr id="42" name="Group 41"/>
            <p:cNvGrpSpPr/>
            <p:nvPr/>
          </p:nvGrpSpPr>
          <p:grpSpPr>
            <a:xfrm>
              <a:off x="9984363" y="968247"/>
              <a:ext cx="770973" cy="424973"/>
              <a:chOff x="676490" y="4787853"/>
              <a:chExt cx="1476561" cy="813905"/>
            </a:xfrm>
          </p:grpSpPr>
          <p:sp>
            <p:nvSpPr>
              <p:cNvPr id="44" name="Oval 43"/>
              <p:cNvSpPr/>
              <p:nvPr/>
            </p:nvSpPr>
            <p:spPr bwMode="auto">
              <a:xfrm rot="3347388">
                <a:off x="793397" y="4807624"/>
                <a:ext cx="87170" cy="8715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3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NotesStyle-Medium" pitchFamily="2" charset="0"/>
                </a:endParaRPr>
              </a:p>
            </p:txBody>
          </p:sp>
          <p:grpSp>
            <p:nvGrpSpPr>
              <p:cNvPr id="45" name="Group 44"/>
              <p:cNvGrpSpPr/>
              <p:nvPr/>
            </p:nvGrpSpPr>
            <p:grpSpPr>
              <a:xfrm>
                <a:off x="676490" y="4787853"/>
                <a:ext cx="1476561" cy="813905"/>
                <a:chOff x="676490" y="4787853"/>
                <a:chExt cx="1476561" cy="813905"/>
              </a:xfrm>
            </p:grpSpPr>
            <p:sp>
              <p:nvSpPr>
                <p:cNvPr id="46" name="Oval 45"/>
                <p:cNvSpPr/>
                <p:nvPr/>
              </p:nvSpPr>
              <p:spPr bwMode="auto">
                <a:xfrm rot="1527449">
                  <a:off x="676490" y="5137833"/>
                  <a:ext cx="87157" cy="871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6637" rIns="0" bIns="4663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536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NotesStyle-Medium" pitchFamily="2" charset="0"/>
                  </a:endParaRPr>
                </a:p>
              </p:txBody>
            </p:sp>
            <p:sp>
              <p:nvSpPr>
                <p:cNvPr id="47" name="Oval 46"/>
                <p:cNvSpPr/>
                <p:nvPr/>
              </p:nvSpPr>
              <p:spPr bwMode="auto">
                <a:xfrm rot="3347388">
                  <a:off x="2000027" y="5490021"/>
                  <a:ext cx="87170" cy="8715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6637" rIns="0" bIns="4663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536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NotesStyle-Medium" pitchFamily="2" charset="0"/>
                  </a:endParaRPr>
                </a:p>
              </p:txBody>
            </p:sp>
            <p:grpSp>
              <p:nvGrpSpPr>
                <p:cNvPr id="51" name="Group 50"/>
                <p:cNvGrpSpPr/>
                <p:nvPr/>
              </p:nvGrpSpPr>
              <p:grpSpPr>
                <a:xfrm>
                  <a:off x="756546" y="4787853"/>
                  <a:ext cx="1396505" cy="813905"/>
                  <a:chOff x="756546" y="4787853"/>
                  <a:chExt cx="1396505" cy="813905"/>
                </a:xfrm>
              </p:grpSpPr>
              <p:sp>
                <p:nvSpPr>
                  <p:cNvPr id="52" name="Donut 51"/>
                  <p:cNvSpPr/>
                  <p:nvPr/>
                </p:nvSpPr>
                <p:spPr bwMode="auto">
                  <a:xfrm rot="647388">
                    <a:off x="1115522" y="4928465"/>
                    <a:ext cx="609516" cy="609602"/>
                  </a:xfrm>
                  <a:prstGeom prst="donut">
                    <a:avLst>
                      <a:gd name="adj" fmla="val 9136"/>
                    </a:avLst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0" tIns="46637" rIns="0" bIns="46637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685536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NotesStyle-Medium" pitchFamily="2" charset="0"/>
                    </a:endParaRPr>
                  </a:p>
                </p:txBody>
              </p:sp>
              <p:sp>
                <p:nvSpPr>
                  <p:cNvPr id="53" name="Oval 52"/>
                  <p:cNvSpPr/>
                  <p:nvPr/>
                </p:nvSpPr>
                <p:spPr bwMode="auto">
                  <a:xfrm rot="1875459">
                    <a:off x="2065894" y="5198733"/>
                    <a:ext cx="87157" cy="8717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0" tIns="46637" rIns="0" bIns="46637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685536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NotesStyle-Medium" pitchFamily="2" charset="0"/>
                    </a:endParaRPr>
                  </a:p>
                </p:txBody>
              </p:sp>
              <p:cxnSp>
                <p:nvCxnSpPr>
                  <p:cNvPr id="54" name="Straight Connector 53"/>
                  <p:cNvCxnSpPr/>
                  <p:nvPr/>
                </p:nvCxnSpPr>
                <p:spPr>
                  <a:xfrm rot="1875459" flipH="1">
                    <a:off x="1697306" y="5137314"/>
                    <a:ext cx="353234" cy="186597"/>
                  </a:xfrm>
                  <a:prstGeom prst="line">
                    <a:avLst/>
                  </a:prstGeom>
                  <a:ln w="19050">
                    <a:solidFill>
                      <a:schemeClr val="bg1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Straight Connector 54"/>
                  <p:cNvCxnSpPr/>
                  <p:nvPr/>
                </p:nvCxnSpPr>
                <p:spPr>
                  <a:xfrm rot="1527449" flipV="1">
                    <a:off x="756546" y="5116639"/>
                    <a:ext cx="357476" cy="145074"/>
                  </a:xfrm>
                  <a:prstGeom prst="line">
                    <a:avLst/>
                  </a:prstGeom>
                  <a:ln w="19050">
                    <a:solidFill>
                      <a:schemeClr val="bg1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Straight Connector 55"/>
                  <p:cNvCxnSpPr/>
                  <p:nvPr/>
                </p:nvCxnSpPr>
                <p:spPr>
                  <a:xfrm rot="3347388" flipH="1">
                    <a:off x="1657541" y="5331831"/>
                    <a:ext cx="353283" cy="186571"/>
                  </a:xfrm>
                  <a:prstGeom prst="line">
                    <a:avLst/>
                  </a:prstGeom>
                  <a:ln w="19050">
                    <a:solidFill>
                      <a:schemeClr val="bg1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Straight Connector 56"/>
                  <p:cNvCxnSpPr/>
                  <p:nvPr/>
                </p:nvCxnSpPr>
                <p:spPr>
                  <a:xfrm rot="3347388" flipV="1">
                    <a:off x="840061" y="4894089"/>
                    <a:ext cx="357526" cy="145053"/>
                  </a:xfrm>
                  <a:prstGeom prst="line">
                    <a:avLst/>
                  </a:prstGeom>
                  <a:ln w="19050">
                    <a:solidFill>
                      <a:schemeClr val="bg1"/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43" name="Rectangle 42"/>
            <p:cNvSpPr/>
            <p:nvPr/>
          </p:nvSpPr>
          <p:spPr>
            <a:xfrm>
              <a:off x="9973849" y="78473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6"/>
          <a:srcRect l="8409" t="8421" r="8408" b="8396"/>
          <a:stretch/>
        </p:blipFill>
        <p:spPr>
          <a:xfrm>
            <a:off x="5556838" y="2833566"/>
            <a:ext cx="792001" cy="744533"/>
          </a:xfrm>
          <a:prstGeom prst="rect">
            <a:avLst/>
          </a:prstGeom>
          <a:noFill/>
        </p:spPr>
      </p:pic>
      <p:grpSp>
        <p:nvGrpSpPr>
          <p:cNvPr id="59" name="Group 58"/>
          <p:cNvGrpSpPr/>
          <p:nvPr/>
        </p:nvGrpSpPr>
        <p:grpSpPr>
          <a:xfrm>
            <a:off x="5570448" y="1905014"/>
            <a:ext cx="792000" cy="792000"/>
            <a:chOff x="10277721" y="565509"/>
            <a:chExt cx="792000" cy="792000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419712" y="636169"/>
              <a:ext cx="508018" cy="650680"/>
            </a:xfrm>
            <a:prstGeom prst="rect">
              <a:avLst/>
            </a:prstGeom>
          </p:spPr>
        </p:pic>
        <p:sp>
          <p:nvSpPr>
            <p:cNvPr id="61" name="Rectangle 60"/>
            <p:cNvSpPr/>
            <p:nvPr/>
          </p:nvSpPr>
          <p:spPr>
            <a:xfrm>
              <a:off x="10277721" y="56550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7050" y="317834"/>
            <a:ext cx="792000" cy="792000"/>
            <a:chOff x="824749" y="-1551501"/>
            <a:chExt cx="792000" cy="792000"/>
          </a:xfrm>
        </p:grpSpPr>
        <p:sp>
          <p:nvSpPr>
            <p:cNvPr id="92" name="Rectangle 91"/>
            <p:cNvSpPr/>
            <p:nvPr/>
          </p:nvSpPr>
          <p:spPr>
            <a:xfrm>
              <a:off x="824749" y="-155150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93" name="Picture 2" descr="C:\Users\RKoning\Desktop\Juni tm augustus\Labs\labsegmentenDEF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28249" r="37826" b="65242"/>
            <a:stretch/>
          </p:blipFill>
          <p:spPr bwMode="auto">
            <a:xfrm>
              <a:off x="824749" y="-1298131"/>
              <a:ext cx="792000" cy="2852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2410237" y="273629"/>
            <a:ext cx="792000" cy="792000"/>
            <a:chOff x="652162" y="-1643394"/>
            <a:chExt cx="792000" cy="792000"/>
          </a:xfrm>
        </p:grpSpPr>
        <p:sp>
          <p:nvSpPr>
            <p:cNvPr id="98" name="Rectangle 97"/>
            <p:cNvSpPr/>
            <p:nvPr/>
          </p:nvSpPr>
          <p:spPr>
            <a:xfrm>
              <a:off x="652162" y="-164339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pic>
          <p:nvPicPr>
            <p:cNvPr id="100" name="Picture 2" descr="C:\Users\RKoning\Desktop\Juni tm augustus\Labs\labsegmentenDEF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8" t="53221" r="14189" b="40270"/>
            <a:stretch/>
          </p:blipFill>
          <p:spPr bwMode="auto">
            <a:xfrm>
              <a:off x="652162" y="-1351217"/>
              <a:ext cx="792000" cy="2076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5" name="Group 104"/>
          <p:cNvGrpSpPr/>
          <p:nvPr/>
        </p:nvGrpSpPr>
        <p:grpSpPr>
          <a:xfrm>
            <a:off x="1409824" y="310680"/>
            <a:ext cx="792000" cy="792000"/>
            <a:chOff x="909038" y="-1274392"/>
            <a:chExt cx="792000" cy="792000"/>
          </a:xfrm>
        </p:grpSpPr>
        <p:sp>
          <p:nvSpPr>
            <p:cNvPr id="78" name="Freeform 77"/>
            <p:cNvSpPr/>
            <p:nvPr/>
          </p:nvSpPr>
          <p:spPr>
            <a:xfrm>
              <a:off x="939433" y="-1131029"/>
              <a:ext cx="731210" cy="505275"/>
            </a:xfrm>
            <a:custGeom>
              <a:avLst/>
              <a:gdLst>
                <a:gd name="connsiteX0" fmla="*/ 5699566 w 6617641"/>
                <a:gd name="connsiteY0" fmla="*/ 3029980 h 4572866"/>
                <a:gd name="connsiteX1" fmla="*/ 5074755 w 6617641"/>
                <a:gd name="connsiteY1" fmla="*/ 3654791 h 4572866"/>
                <a:gd name="connsiteX2" fmla="*/ 5699566 w 6617641"/>
                <a:gd name="connsiteY2" fmla="*/ 4279601 h 4572866"/>
                <a:gd name="connsiteX3" fmla="*/ 6324376 w 6617641"/>
                <a:gd name="connsiteY3" fmla="*/ 3654791 h 4572866"/>
                <a:gd name="connsiteX4" fmla="*/ 5699566 w 6617641"/>
                <a:gd name="connsiteY4" fmla="*/ 3029980 h 4572866"/>
                <a:gd name="connsiteX5" fmla="*/ 5698844 w 6617641"/>
                <a:gd name="connsiteY5" fmla="*/ 2735271 h 4572866"/>
                <a:gd name="connsiteX6" fmla="*/ 6617641 w 6617641"/>
                <a:gd name="connsiteY6" fmla="*/ 3654069 h 4572866"/>
                <a:gd name="connsiteX7" fmla="*/ 5698844 w 6617641"/>
                <a:gd name="connsiteY7" fmla="*/ 4572866 h 4572866"/>
                <a:gd name="connsiteX8" fmla="*/ 4780046 w 6617641"/>
                <a:gd name="connsiteY8" fmla="*/ 3654069 h 4572866"/>
                <a:gd name="connsiteX9" fmla="*/ 5698844 w 6617641"/>
                <a:gd name="connsiteY9" fmla="*/ 2735271 h 4572866"/>
                <a:gd name="connsiteX10" fmla="*/ 1590423 w 6617641"/>
                <a:gd name="connsiteY10" fmla="*/ 2431244 h 4572866"/>
                <a:gd name="connsiteX11" fmla="*/ 723147 w 6617641"/>
                <a:gd name="connsiteY11" fmla="*/ 3298520 h 4572866"/>
                <a:gd name="connsiteX12" fmla="*/ 1590423 w 6617641"/>
                <a:gd name="connsiteY12" fmla="*/ 4165796 h 4572866"/>
                <a:gd name="connsiteX13" fmla="*/ 2457699 w 6617641"/>
                <a:gd name="connsiteY13" fmla="*/ 3298520 h 4572866"/>
                <a:gd name="connsiteX14" fmla="*/ 1590423 w 6617641"/>
                <a:gd name="connsiteY14" fmla="*/ 2431244 h 4572866"/>
                <a:gd name="connsiteX15" fmla="*/ 1589421 w 6617641"/>
                <a:gd name="connsiteY15" fmla="*/ 2022170 h 4572866"/>
                <a:gd name="connsiteX16" fmla="*/ 2864769 w 6617641"/>
                <a:gd name="connsiteY16" fmla="*/ 3297518 h 4572866"/>
                <a:gd name="connsiteX17" fmla="*/ 1589421 w 6617641"/>
                <a:gd name="connsiteY17" fmla="*/ 4572866 h 4572866"/>
                <a:gd name="connsiteX18" fmla="*/ 314073 w 6617641"/>
                <a:gd name="connsiteY18" fmla="*/ 3297518 h 4572866"/>
                <a:gd name="connsiteX19" fmla="*/ 1589421 w 6617641"/>
                <a:gd name="connsiteY19" fmla="*/ 2022170 h 4572866"/>
                <a:gd name="connsiteX20" fmla="*/ 1298558 w 6617641"/>
                <a:gd name="connsiteY20" fmla="*/ 330503 h 4572866"/>
                <a:gd name="connsiteX21" fmla="*/ 1109442 w 6617641"/>
                <a:gd name="connsiteY21" fmla="*/ 1398192 h 4572866"/>
                <a:gd name="connsiteX22" fmla="*/ 1126441 w 6617641"/>
                <a:gd name="connsiteY22" fmla="*/ 1392521 h 4572866"/>
                <a:gd name="connsiteX23" fmla="*/ 1660356 w 6617641"/>
                <a:gd name="connsiteY23" fmla="*/ 1316046 h 4572866"/>
                <a:gd name="connsiteX24" fmla="*/ 3045823 w 6617641"/>
                <a:gd name="connsiteY24" fmla="*/ 1935060 h 4572866"/>
                <a:gd name="connsiteX25" fmla="*/ 3051855 w 6617641"/>
                <a:gd name="connsiteY25" fmla="*/ 1942701 h 4572866"/>
                <a:gd name="connsiteX26" fmla="*/ 3047029 w 6617641"/>
                <a:gd name="connsiteY26" fmla="*/ 1902425 h 4572866"/>
                <a:gd name="connsiteX27" fmla="*/ 3025155 w 6617641"/>
                <a:gd name="connsiteY27" fmla="*/ 1731297 h 4572866"/>
                <a:gd name="connsiteX28" fmla="*/ 3013360 w 6617641"/>
                <a:gd name="connsiteY28" fmla="*/ 1621391 h 4572866"/>
                <a:gd name="connsiteX29" fmla="*/ 2858704 w 6617641"/>
                <a:gd name="connsiteY29" fmla="*/ 330504 h 4572866"/>
                <a:gd name="connsiteX30" fmla="*/ 667442 w 6617641"/>
                <a:gd name="connsiteY30" fmla="*/ 0 h 4572866"/>
                <a:gd name="connsiteX31" fmla="*/ 3495985 w 6617641"/>
                <a:gd name="connsiteY31" fmla="*/ 0 h 4572866"/>
                <a:gd name="connsiteX32" fmla="*/ 3551070 w 6617641"/>
                <a:gd name="connsiteY32" fmla="*/ 55085 h 4572866"/>
                <a:gd name="connsiteX33" fmla="*/ 3551070 w 6617641"/>
                <a:gd name="connsiteY33" fmla="*/ 275418 h 4572866"/>
                <a:gd name="connsiteX34" fmla="*/ 3495985 w 6617641"/>
                <a:gd name="connsiteY34" fmla="*/ 330503 h 4572866"/>
                <a:gd name="connsiteX35" fmla="*/ 3191571 w 6617641"/>
                <a:gd name="connsiteY35" fmla="*/ 330504 h 4572866"/>
                <a:gd name="connsiteX36" fmla="*/ 3310268 w 6617641"/>
                <a:gd name="connsiteY36" fmla="*/ 1321250 h 4572866"/>
                <a:gd name="connsiteX37" fmla="*/ 4053905 w 6617641"/>
                <a:gd name="connsiteY37" fmla="*/ 1497520 h 4572866"/>
                <a:gd name="connsiteX38" fmla="*/ 4053905 w 6617641"/>
                <a:gd name="connsiteY38" fmla="*/ 545376 h 4572866"/>
                <a:gd name="connsiteX39" fmla="*/ 4647582 w 6617641"/>
                <a:gd name="connsiteY39" fmla="*/ 190533 h 4572866"/>
                <a:gd name="connsiteX40" fmla="*/ 4661230 w 6617641"/>
                <a:gd name="connsiteY40" fmla="*/ 449841 h 4572866"/>
                <a:gd name="connsiteX41" fmla="*/ 4367803 w 6617641"/>
                <a:gd name="connsiteY41" fmla="*/ 668206 h 4572866"/>
                <a:gd name="connsiteX42" fmla="*/ 4361218 w 6617641"/>
                <a:gd name="connsiteY42" fmla="*/ 1570365 h 4572866"/>
                <a:gd name="connsiteX43" fmla="*/ 6238626 w 6617641"/>
                <a:gd name="connsiteY43" fmla="*/ 2015381 h 4572866"/>
                <a:gd name="connsiteX44" fmla="*/ 6238625 w 6617641"/>
                <a:gd name="connsiteY44" fmla="*/ 2520705 h 4572866"/>
                <a:gd name="connsiteX45" fmla="*/ 6210458 w 6617641"/>
                <a:gd name="connsiteY45" fmla="*/ 2531999 h 4572866"/>
                <a:gd name="connsiteX46" fmla="*/ 6168934 w 6617641"/>
                <a:gd name="connsiteY46" fmla="*/ 2516802 h 4572866"/>
                <a:gd name="connsiteX47" fmla="*/ 5796840 w 6617641"/>
                <a:gd name="connsiteY47" fmla="*/ 2460546 h 4572866"/>
                <a:gd name="connsiteX48" fmla="*/ 4552016 w 6617641"/>
                <a:gd name="connsiteY48" fmla="*/ 3583896 h 4572866"/>
                <a:gd name="connsiteX49" fmla="*/ 4549969 w 6617641"/>
                <a:gd name="connsiteY49" fmla="*/ 3624424 h 4572866"/>
                <a:gd name="connsiteX50" fmla="*/ 4482013 w 6617641"/>
                <a:gd name="connsiteY50" fmla="*/ 3651675 h 4572866"/>
                <a:gd name="connsiteX51" fmla="*/ 2990100 w 6617641"/>
                <a:gd name="connsiteY51" fmla="*/ 3675737 h 4572866"/>
                <a:gd name="connsiteX52" fmla="*/ 3168408 w 6617641"/>
                <a:gd name="connsiteY52" fmla="*/ 3187374 h 4572866"/>
                <a:gd name="connsiteX53" fmla="*/ 3169558 w 6617641"/>
                <a:gd name="connsiteY53" fmla="*/ 3007558 h 4572866"/>
                <a:gd name="connsiteX54" fmla="*/ 3150246 w 6617641"/>
                <a:gd name="connsiteY54" fmla="*/ 2878311 h 4572866"/>
                <a:gd name="connsiteX55" fmla="*/ 1641932 w 6617641"/>
                <a:gd name="connsiteY55" fmla="*/ 1641147 h 4572866"/>
                <a:gd name="connsiteX56" fmla="*/ 289858 w 6617641"/>
                <a:gd name="connsiteY56" fmla="*/ 2445868 h 4572866"/>
                <a:gd name="connsiteX57" fmla="*/ 5990 w 6617641"/>
                <a:gd name="connsiteY57" fmla="*/ 2354953 h 4572866"/>
                <a:gd name="connsiteX58" fmla="*/ 656496 w 6617641"/>
                <a:gd name="connsiteY58" fmla="*/ 1606554 h 4572866"/>
                <a:gd name="connsiteX59" fmla="*/ 746294 w 6617641"/>
                <a:gd name="connsiteY59" fmla="*/ 1553451 h 4572866"/>
                <a:gd name="connsiteX60" fmla="*/ 962911 w 6617641"/>
                <a:gd name="connsiteY60" fmla="*/ 330503 h 4572866"/>
                <a:gd name="connsiteX61" fmla="*/ 667442 w 6617641"/>
                <a:gd name="connsiteY61" fmla="*/ 330504 h 4572866"/>
                <a:gd name="connsiteX62" fmla="*/ 612357 w 6617641"/>
                <a:gd name="connsiteY62" fmla="*/ 275418 h 4572866"/>
                <a:gd name="connsiteX63" fmla="*/ 612357 w 6617641"/>
                <a:gd name="connsiteY63" fmla="*/ 55085 h 4572866"/>
                <a:gd name="connsiteX64" fmla="*/ 667442 w 6617641"/>
                <a:gd name="connsiteY64" fmla="*/ 0 h 45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617641" h="4572866">
                  <a:moveTo>
                    <a:pt x="5699566" y="3029980"/>
                  </a:moveTo>
                  <a:cubicBezTo>
                    <a:pt x="5354492" y="3029980"/>
                    <a:pt x="5074755" y="3309717"/>
                    <a:pt x="5074755" y="3654791"/>
                  </a:cubicBezTo>
                  <a:cubicBezTo>
                    <a:pt x="5074755" y="3999864"/>
                    <a:pt x="5354492" y="4279601"/>
                    <a:pt x="5699566" y="4279601"/>
                  </a:cubicBezTo>
                  <a:cubicBezTo>
                    <a:pt x="6044638" y="4279601"/>
                    <a:pt x="6324376" y="3999864"/>
                    <a:pt x="6324376" y="3654791"/>
                  </a:cubicBezTo>
                  <a:cubicBezTo>
                    <a:pt x="6324376" y="3309717"/>
                    <a:pt x="6044638" y="3029980"/>
                    <a:pt x="5699566" y="3029980"/>
                  </a:cubicBezTo>
                  <a:close/>
                  <a:moveTo>
                    <a:pt x="5698844" y="2735271"/>
                  </a:moveTo>
                  <a:cubicBezTo>
                    <a:pt x="6206281" y="2735271"/>
                    <a:pt x="6617641" y="3146631"/>
                    <a:pt x="6617641" y="3654069"/>
                  </a:cubicBezTo>
                  <a:cubicBezTo>
                    <a:pt x="6617641" y="4161506"/>
                    <a:pt x="6206281" y="4572866"/>
                    <a:pt x="5698844" y="4572866"/>
                  </a:cubicBezTo>
                  <a:cubicBezTo>
                    <a:pt x="5191406" y="4572866"/>
                    <a:pt x="4780046" y="4161506"/>
                    <a:pt x="4780046" y="3654069"/>
                  </a:cubicBezTo>
                  <a:cubicBezTo>
                    <a:pt x="4780046" y="3146631"/>
                    <a:pt x="5191406" y="2735271"/>
                    <a:pt x="5698844" y="2735271"/>
                  </a:cubicBezTo>
                  <a:close/>
                  <a:moveTo>
                    <a:pt x="1590423" y="2431244"/>
                  </a:moveTo>
                  <a:cubicBezTo>
                    <a:pt x="1111440" y="2431244"/>
                    <a:pt x="723147" y="2819537"/>
                    <a:pt x="723147" y="3298520"/>
                  </a:cubicBezTo>
                  <a:cubicBezTo>
                    <a:pt x="723147" y="3777503"/>
                    <a:pt x="1111440" y="4165796"/>
                    <a:pt x="1590423" y="4165796"/>
                  </a:cubicBezTo>
                  <a:cubicBezTo>
                    <a:pt x="2069406" y="4165796"/>
                    <a:pt x="2457699" y="3777503"/>
                    <a:pt x="2457699" y="3298520"/>
                  </a:cubicBezTo>
                  <a:cubicBezTo>
                    <a:pt x="2457699" y="2819537"/>
                    <a:pt x="2069406" y="2431244"/>
                    <a:pt x="1590423" y="2431244"/>
                  </a:cubicBezTo>
                  <a:close/>
                  <a:moveTo>
                    <a:pt x="1589421" y="2022170"/>
                  </a:moveTo>
                  <a:cubicBezTo>
                    <a:pt x="2293776" y="2022170"/>
                    <a:pt x="2864769" y="2593163"/>
                    <a:pt x="2864769" y="3297518"/>
                  </a:cubicBezTo>
                  <a:cubicBezTo>
                    <a:pt x="2864769" y="4001873"/>
                    <a:pt x="2293776" y="4572866"/>
                    <a:pt x="1589421" y="4572866"/>
                  </a:cubicBezTo>
                  <a:cubicBezTo>
                    <a:pt x="885066" y="4572866"/>
                    <a:pt x="314073" y="4001873"/>
                    <a:pt x="314073" y="3297518"/>
                  </a:cubicBezTo>
                  <a:cubicBezTo>
                    <a:pt x="314073" y="2593163"/>
                    <a:pt x="885066" y="2022170"/>
                    <a:pt x="1589421" y="2022170"/>
                  </a:cubicBezTo>
                  <a:close/>
                  <a:moveTo>
                    <a:pt x="1298558" y="330503"/>
                  </a:moveTo>
                  <a:lnTo>
                    <a:pt x="1109442" y="1398192"/>
                  </a:lnTo>
                  <a:lnTo>
                    <a:pt x="1126441" y="1392521"/>
                  </a:lnTo>
                  <a:cubicBezTo>
                    <a:pt x="1295104" y="1342820"/>
                    <a:pt x="1474430" y="1316046"/>
                    <a:pt x="1660356" y="1316046"/>
                  </a:cubicBezTo>
                  <a:cubicBezTo>
                    <a:pt x="2218135" y="1316046"/>
                    <a:pt x="2716509" y="1557013"/>
                    <a:pt x="3045823" y="1935060"/>
                  </a:cubicBezTo>
                  <a:lnTo>
                    <a:pt x="3051855" y="1942701"/>
                  </a:lnTo>
                  <a:lnTo>
                    <a:pt x="3047029" y="1902425"/>
                  </a:lnTo>
                  <a:lnTo>
                    <a:pt x="3025155" y="1731297"/>
                  </a:lnTo>
                  <a:lnTo>
                    <a:pt x="3013360" y="1621391"/>
                  </a:lnTo>
                  <a:lnTo>
                    <a:pt x="2858704" y="330504"/>
                  </a:lnTo>
                  <a:close/>
                  <a:moveTo>
                    <a:pt x="667442" y="0"/>
                  </a:moveTo>
                  <a:lnTo>
                    <a:pt x="3495985" y="0"/>
                  </a:lnTo>
                  <a:cubicBezTo>
                    <a:pt x="3526408" y="1"/>
                    <a:pt x="3551070" y="24662"/>
                    <a:pt x="3551070" y="55085"/>
                  </a:cubicBezTo>
                  <a:lnTo>
                    <a:pt x="3551070" y="275418"/>
                  </a:lnTo>
                  <a:cubicBezTo>
                    <a:pt x="3551070" y="305842"/>
                    <a:pt x="3526408" y="330503"/>
                    <a:pt x="3495985" y="330503"/>
                  </a:cubicBezTo>
                  <a:lnTo>
                    <a:pt x="3191571" y="330504"/>
                  </a:lnTo>
                  <a:lnTo>
                    <a:pt x="3310268" y="1321250"/>
                  </a:lnTo>
                  <a:lnTo>
                    <a:pt x="4053905" y="1497520"/>
                  </a:lnTo>
                  <a:lnTo>
                    <a:pt x="4053905" y="545376"/>
                  </a:lnTo>
                  <a:cubicBezTo>
                    <a:pt x="4078924" y="122296"/>
                    <a:pt x="4516792" y="188258"/>
                    <a:pt x="4647582" y="190533"/>
                  </a:cubicBezTo>
                  <a:cubicBezTo>
                    <a:pt x="4716958" y="233751"/>
                    <a:pt x="4737430" y="353169"/>
                    <a:pt x="4661230" y="449841"/>
                  </a:cubicBezTo>
                  <a:cubicBezTo>
                    <a:pt x="4454239" y="465764"/>
                    <a:pt x="4397374" y="427095"/>
                    <a:pt x="4367803" y="668206"/>
                  </a:cubicBezTo>
                  <a:lnTo>
                    <a:pt x="4361218" y="1570365"/>
                  </a:lnTo>
                  <a:lnTo>
                    <a:pt x="6238626" y="2015381"/>
                  </a:lnTo>
                  <a:cubicBezTo>
                    <a:pt x="6238626" y="2207884"/>
                    <a:pt x="6238625" y="2328200"/>
                    <a:pt x="6238625" y="2520705"/>
                  </a:cubicBezTo>
                  <a:lnTo>
                    <a:pt x="6210458" y="2531999"/>
                  </a:lnTo>
                  <a:lnTo>
                    <a:pt x="6168934" y="2516802"/>
                  </a:lnTo>
                  <a:cubicBezTo>
                    <a:pt x="6051390" y="2480242"/>
                    <a:pt x="5926415" y="2460547"/>
                    <a:pt x="5796840" y="2460546"/>
                  </a:cubicBezTo>
                  <a:cubicBezTo>
                    <a:pt x="5148966" y="2460547"/>
                    <a:pt x="4616094" y="2952926"/>
                    <a:pt x="4552016" y="3583896"/>
                  </a:cubicBezTo>
                  <a:lnTo>
                    <a:pt x="4549969" y="3624424"/>
                  </a:lnTo>
                  <a:lnTo>
                    <a:pt x="4482013" y="3651675"/>
                  </a:lnTo>
                  <a:lnTo>
                    <a:pt x="2990100" y="3675737"/>
                  </a:lnTo>
                  <a:cubicBezTo>
                    <a:pt x="3105152" y="3576476"/>
                    <a:pt x="3155487" y="3402982"/>
                    <a:pt x="3168408" y="3187374"/>
                  </a:cubicBezTo>
                  <a:lnTo>
                    <a:pt x="3169558" y="3007558"/>
                  </a:lnTo>
                  <a:lnTo>
                    <a:pt x="3150246" y="2878311"/>
                  </a:lnTo>
                  <a:cubicBezTo>
                    <a:pt x="3010507" y="2172947"/>
                    <a:pt x="2388324" y="1641147"/>
                    <a:pt x="1641932" y="1641147"/>
                  </a:cubicBezTo>
                  <a:cubicBezTo>
                    <a:pt x="1058089" y="1641147"/>
                    <a:pt x="550244" y="1966540"/>
                    <a:pt x="289858" y="2445868"/>
                  </a:cubicBezTo>
                  <a:cubicBezTo>
                    <a:pt x="248847" y="2531725"/>
                    <a:pt x="-45334" y="2528227"/>
                    <a:pt x="5990" y="2354953"/>
                  </a:cubicBezTo>
                  <a:cubicBezTo>
                    <a:pt x="142273" y="2049692"/>
                    <a:pt x="369938" y="1789965"/>
                    <a:pt x="656496" y="1606554"/>
                  </a:cubicBezTo>
                  <a:lnTo>
                    <a:pt x="746294" y="1553451"/>
                  </a:lnTo>
                  <a:lnTo>
                    <a:pt x="962911" y="330503"/>
                  </a:lnTo>
                  <a:lnTo>
                    <a:pt x="667442" y="330504"/>
                  </a:lnTo>
                  <a:cubicBezTo>
                    <a:pt x="637019" y="330504"/>
                    <a:pt x="612357" y="305841"/>
                    <a:pt x="612357" y="275418"/>
                  </a:cubicBezTo>
                  <a:lnTo>
                    <a:pt x="612357" y="55085"/>
                  </a:lnTo>
                  <a:cubicBezTo>
                    <a:pt x="612357" y="24663"/>
                    <a:pt x="637018" y="0"/>
                    <a:pt x="66744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909038" y="-127439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710326" y="1790138"/>
            <a:ext cx="792000" cy="792000"/>
            <a:chOff x="3346553" y="-1872080"/>
            <a:chExt cx="792000" cy="792000"/>
          </a:xfrm>
        </p:grpSpPr>
        <p:sp>
          <p:nvSpPr>
            <p:cNvPr id="83" name="Freeform 82"/>
            <p:cNvSpPr/>
            <p:nvPr/>
          </p:nvSpPr>
          <p:spPr>
            <a:xfrm>
              <a:off x="3380691" y="-1790926"/>
              <a:ext cx="723724" cy="629693"/>
            </a:xfrm>
            <a:custGeom>
              <a:avLst/>
              <a:gdLst>
                <a:gd name="connsiteX0" fmla="*/ 3079893 w 5545393"/>
                <a:gd name="connsiteY0" fmla="*/ 2888832 h 4824901"/>
                <a:gd name="connsiteX1" fmla="*/ 3249094 w 5545393"/>
                <a:gd name="connsiteY1" fmla="*/ 3075896 h 4824901"/>
                <a:gd name="connsiteX2" fmla="*/ 2835160 w 5545393"/>
                <a:gd name="connsiteY2" fmla="*/ 3578042 h 4824901"/>
                <a:gd name="connsiteX3" fmla="*/ 2771024 w 5545393"/>
                <a:gd name="connsiteY3" fmla="*/ 3575003 h 4824901"/>
                <a:gd name="connsiteX4" fmla="*/ 2399243 w 5545393"/>
                <a:gd name="connsiteY4" fmla="*/ 3111699 h 4824901"/>
                <a:gd name="connsiteX5" fmla="*/ 2549672 w 5545393"/>
                <a:gd name="connsiteY5" fmla="*/ 2893239 h 4824901"/>
                <a:gd name="connsiteX6" fmla="*/ 3079893 w 5545393"/>
                <a:gd name="connsiteY6" fmla="*/ 2888832 h 4824901"/>
                <a:gd name="connsiteX7" fmla="*/ 3646823 w 5545393"/>
                <a:gd name="connsiteY7" fmla="*/ 1746558 h 4824901"/>
                <a:gd name="connsiteX8" fmla="*/ 3811256 w 5545393"/>
                <a:gd name="connsiteY8" fmla="*/ 1910992 h 4824901"/>
                <a:gd name="connsiteX9" fmla="*/ 3646823 w 5545393"/>
                <a:gd name="connsiteY9" fmla="*/ 2075425 h 4824901"/>
                <a:gd name="connsiteX10" fmla="*/ 3482389 w 5545393"/>
                <a:gd name="connsiteY10" fmla="*/ 1910992 h 4824901"/>
                <a:gd name="connsiteX11" fmla="*/ 3646823 w 5545393"/>
                <a:gd name="connsiteY11" fmla="*/ 1746558 h 4824901"/>
                <a:gd name="connsiteX12" fmla="*/ 1965173 w 5545393"/>
                <a:gd name="connsiteY12" fmla="*/ 1746558 h 4824901"/>
                <a:gd name="connsiteX13" fmla="*/ 2129606 w 5545393"/>
                <a:gd name="connsiteY13" fmla="*/ 1910992 h 4824901"/>
                <a:gd name="connsiteX14" fmla="*/ 1965173 w 5545393"/>
                <a:gd name="connsiteY14" fmla="*/ 2075425 h 4824901"/>
                <a:gd name="connsiteX15" fmla="*/ 1800740 w 5545393"/>
                <a:gd name="connsiteY15" fmla="*/ 1910992 h 4824901"/>
                <a:gd name="connsiteX16" fmla="*/ 1965173 w 5545393"/>
                <a:gd name="connsiteY16" fmla="*/ 1746558 h 4824901"/>
                <a:gd name="connsiteX17" fmla="*/ 2860452 w 5545393"/>
                <a:gd name="connsiteY17" fmla="*/ 1098968 h 4824901"/>
                <a:gd name="connsiteX18" fmla="*/ 2676205 w 5545393"/>
                <a:gd name="connsiteY18" fmla="*/ 1100562 h 4824901"/>
                <a:gd name="connsiteX19" fmla="*/ 1810610 w 5545393"/>
                <a:gd name="connsiteY19" fmla="*/ 1415226 h 4824901"/>
                <a:gd name="connsiteX20" fmla="*/ 1606335 w 5545393"/>
                <a:gd name="connsiteY20" fmla="*/ 1797135 h 4824901"/>
                <a:gd name="connsiteX21" fmla="*/ 2307983 w 5545393"/>
                <a:gd name="connsiteY21" fmla="*/ 3600104 h 4824901"/>
                <a:gd name="connsiteX22" fmla="*/ 3240552 w 5545393"/>
                <a:gd name="connsiteY22" fmla="*/ 3635630 h 4824901"/>
                <a:gd name="connsiteX23" fmla="*/ 4013252 w 5545393"/>
                <a:gd name="connsiteY23" fmla="*/ 1734964 h 4824901"/>
                <a:gd name="connsiteX24" fmla="*/ 3826738 w 5545393"/>
                <a:gd name="connsiteY24" fmla="*/ 1406345 h 4824901"/>
                <a:gd name="connsiteX25" fmla="*/ 2860452 w 5545393"/>
                <a:gd name="connsiteY25" fmla="*/ 1098968 h 4824901"/>
                <a:gd name="connsiteX26" fmla="*/ 4318560 w 5545393"/>
                <a:gd name="connsiteY26" fmla="*/ 77 h 4824901"/>
                <a:gd name="connsiteX27" fmla="*/ 5545393 w 5545393"/>
                <a:gd name="connsiteY27" fmla="*/ 531133 h 4824901"/>
                <a:gd name="connsiteX28" fmla="*/ 4093605 w 5545393"/>
                <a:gd name="connsiteY28" fmla="*/ 613840 h 4824901"/>
                <a:gd name="connsiteX29" fmla="*/ 3947808 w 5545393"/>
                <a:gd name="connsiteY29" fmla="*/ 674459 h 4824901"/>
                <a:gd name="connsiteX30" fmla="*/ 4036183 w 5545393"/>
                <a:gd name="connsiteY30" fmla="*/ 705030 h 4824901"/>
                <a:gd name="connsiteX31" fmla="*/ 4628973 w 5545393"/>
                <a:gd name="connsiteY31" fmla="*/ 1022239 h 4824901"/>
                <a:gd name="connsiteX32" fmla="*/ 4729023 w 5545393"/>
                <a:gd name="connsiteY32" fmla="*/ 1099858 h 4824901"/>
                <a:gd name="connsiteX33" fmla="*/ 4758551 w 5545393"/>
                <a:gd name="connsiteY33" fmla="*/ 1120365 h 4824901"/>
                <a:gd name="connsiteX34" fmla="*/ 5397522 w 5545393"/>
                <a:gd name="connsiteY34" fmla="*/ 1461590 h 4824901"/>
                <a:gd name="connsiteX35" fmla="*/ 4513368 w 5545393"/>
                <a:gd name="connsiteY35" fmla="*/ 2045492 h 4824901"/>
                <a:gd name="connsiteX36" fmla="*/ 4478508 w 5545393"/>
                <a:gd name="connsiteY36" fmla="*/ 2213814 h 4824901"/>
                <a:gd name="connsiteX37" fmla="*/ 4364056 w 5545393"/>
                <a:gd name="connsiteY37" fmla="*/ 2449159 h 4824901"/>
                <a:gd name="connsiteX38" fmla="*/ 3245797 w 5545393"/>
                <a:gd name="connsiteY38" fmla="*/ 3953992 h 4824901"/>
                <a:gd name="connsiteX39" fmla="*/ 3243290 w 5545393"/>
                <a:gd name="connsiteY39" fmla="*/ 3955413 h 4824901"/>
                <a:gd name="connsiteX40" fmla="*/ 3222098 w 5545393"/>
                <a:gd name="connsiteY40" fmla="*/ 3974935 h 4824901"/>
                <a:gd name="connsiteX41" fmla="*/ 3009428 w 5545393"/>
                <a:gd name="connsiteY41" fmla="*/ 4824901 h 4824901"/>
                <a:gd name="connsiteX42" fmla="*/ 2903027 w 5545393"/>
                <a:gd name="connsiteY42" fmla="*/ 4575763 h 4824901"/>
                <a:gd name="connsiteX43" fmla="*/ 2884581 w 5545393"/>
                <a:gd name="connsiteY43" fmla="*/ 4501722 h 4824901"/>
                <a:gd name="connsiteX44" fmla="*/ 2856218 w 5545393"/>
                <a:gd name="connsiteY44" fmla="*/ 4591613 h 4824901"/>
                <a:gd name="connsiteX45" fmla="*/ 2784835 w 5545393"/>
                <a:gd name="connsiteY45" fmla="*/ 4713694 h 4824901"/>
                <a:gd name="connsiteX46" fmla="*/ 2758047 w 5545393"/>
                <a:gd name="connsiteY46" fmla="*/ 4302340 h 4824901"/>
                <a:gd name="connsiteX47" fmla="*/ 2746396 w 5545393"/>
                <a:gd name="connsiteY47" fmla="*/ 4219032 h 4824901"/>
                <a:gd name="connsiteX48" fmla="*/ 2745089 w 5545393"/>
                <a:gd name="connsiteY48" fmla="*/ 4203739 h 4824901"/>
                <a:gd name="connsiteX49" fmla="*/ 2744258 w 5545393"/>
                <a:gd name="connsiteY49" fmla="*/ 4203739 h 4824901"/>
                <a:gd name="connsiteX50" fmla="*/ 2746396 w 5545393"/>
                <a:gd name="connsiteY50" fmla="*/ 4219032 h 4824901"/>
                <a:gd name="connsiteX51" fmla="*/ 2748855 w 5545393"/>
                <a:gd name="connsiteY51" fmla="*/ 4247810 h 4824901"/>
                <a:gd name="connsiteX52" fmla="*/ 2693256 w 5545393"/>
                <a:gd name="connsiteY52" fmla="*/ 4725959 h 4824901"/>
                <a:gd name="connsiteX53" fmla="*/ 2666468 w 5545393"/>
                <a:gd name="connsiteY53" fmla="*/ 4314605 h 4824901"/>
                <a:gd name="connsiteX54" fmla="*/ 2659315 w 5545393"/>
                <a:gd name="connsiteY54" fmla="*/ 4263454 h 4824901"/>
                <a:gd name="connsiteX55" fmla="*/ 2649477 w 5545393"/>
                <a:gd name="connsiteY55" fmla="*/ 4428985 h 4824901"/>
                <a:gd name="connsiteX56" fmla="*/ 2640377 w 5545393"/>
                <a:gd name="connsiteY56" fmla="*/ 4713694 h 4824901"/>
                <a:gd name="connsiteX57" fmla="*/ 2599291 w 5545393"/>
                <a:gd name="connsiteY57" fmla="*/ 4593751 h 4824901"/>
                <a:gd name="connsiteX58" fmla="*/ 2581700 w 5545393"/>
                <a:gd name="connsiteY58" fmla="*/ 4498594 h 4824901"/>
                <a:gd name="connsiteX59" fmla="*/ 2570755 w 5545393"/>
                <a:gd name="connsiteY59" fmla="*/ 4539456 h 4824901"/>
                <a:gd name="connsiteX60" fmla="*/ 2444932 w 5545393"/>
                <a:gd name="connsiteY60" fmla="*/ 4791893 h 4824901"/>
                <a:gd name="connsiteX61" fmla="*/ 2406243 w 5545393"/>
                <a:gd name="connsiteY61" fmla="*/ 4018395 h 4824901"/>
                <a:gd name="connsiteX62" fmla="*/ 2366601 w 5545393"/>
                <a:gd name="connsiteY62" fmla="*/ 3978092 h 4824901"/>
                <a:gd name="connsiteX63" fmla="*/ 2329441 w 5545393"/>
                <a:gd name="connsiteY63" fmla="*/ 3957465 h 4824901"/>
                <a:gd name="connsiteX64" fmla="*/ 1238089 w 5545393"/>
                <a:gd name="connsiteY64" fmla="*/ 2409761 h 4824901"/>
                <a:gd name="connsiteX65" fmla="*/ 1127462 w 5545393"/>
                <a:gd name="connsiteY65" fmla="*/ 2144737 h 4824901"/>
                <a:gd name="connsiteX66" fmla="*/ 1110624 w 5545393"/>
                <a:gd name="connsiteY66" fmla="*/ 2087986 h 4824901"/>
                <a:gd name="connsiteX67" fmla="*/ 289683 w 5545393"/>
                <a:gd name="connsiteY67" fmla="*/ 1543872 h 4824901"/>
                <a:gd name="connsiteX68" fmla="*/ 881497 w 5545393"/>
                <a:gd name="connsiteY68" fmla="*/ 1145245 h 4824901"/>
                <a:gd name="connsiteX69" fmla="*/ 909503 w 5545393"/>
                <a:gd name="connsiteY69" fmla="*/ 1115210 h 4824901"/>
                <a:gd name="connsiteX70" fmla="*/ 1005529 w 5545393"/>
                <a:gd name="connsiteY70" fmla="*/ 1022239 h 4824901"/>
                <a:gd name="connsiteX71" fmla="*/ 1598320 w 5545393"/>
                <a:gd name="connsiteY71" fmla="*/ 705030 h 4824901"/>
                <a:gd name="connsiteX72" fmla="*/ 1671057 w 5545393"/>
                <a:gd name="connsiteY72" fmla="*/ 679868 h 4824901"/>
                <a:gd name="connsiteX73" fmla="*/ 1506291 w 5545393"/>
                <a:gd name="connsiteY73" fmla="*/ 613841 h 4824901"/>
                <a:gd name="connsiteX74" fmla="*/ 0 w 5545393"/>
                <a:gd name="connsiteY74" fmla="*/ 531134 h 4824901"/>
                <a:gd name="connsiteX75" fmla="*/ 1272890 w 5545393"/>
                <a:gd name="connsiteY75" fmla="*/ 78 h 4824901"/>
                <a:gd name="connsiteX76" fmla="*/ 1448266 w 5545393"/>
                <a:gd name="connsiteY76" fmla="*/ 6491 h 4824901"/>
                <a:gd name="connsiteX77" fmla="*/ 2477700 w 5545393"/>
                <a:gd name="connsiteY77" fmla="*/ 403647 h 4824901"/>
                <a:gd name="connsiteX78" fmla="*/ 2544017 w 5545393"/>
                <a:gd name="connsiteY78" fmla="*/ 493869 h 4824901"/>
                <a:gd name="connsiteX79" fmla="*/ 2556172 w 5545393"/>
                <a:gd name="connsiteY79" fmla="*/ 492534 h 4824901"/>
                <a:gd name="connsiteX80" fmla="*/ 2817250 w 5545393"/>
                <a:gd name="connsiteY80" fmla="*/ 483050 h 4824901"/>
                <a:gd name="connsiteX81" fmla="*/ 3078329 w 5545393"/>
                <a:gd name="connsiteY81" fmla="*/ 492534 h 4824901"/>
                <a:gd name="connsiteX82" fmla="*/ 3093213 w 5545393"/>
                <a:gd name="connsiteY82" fmla="*/ 494168 h 4824901"/>
                <a:gd name="connsiteX83" fmla="*/ 3157344 w 5545393"/>
                <a:gd name="connsiteY83" fmla="*/ 403646 h 4824901"/>
                <a:gd name="connsiteX84" fmla="*/ 4149530 w 5545393"/>
                <a:gd name="connsiteY84" fmla="*/ 6490 h 4824901"/>
                <a:gd name="connsiteX85" fmla="*/ 4318560 w 5545393"/>
                <a:gd name="connsiteY85" fmla="*/ 77 h 482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545393" h="4824901">
                  <a:moveTo>
                    <a:pt x="3079893" y="2888832"/>
                  </a:moveTo>
                  <a:cubicBezTo>
                    <a:pt x="3196464" y="2883471"/>
                    <a:pt x="3283915" y="2972299"/>
                    <a:pt x="3249094" y="3075896"/>
                  </a:cubicBezTo>
                  <a:cubicBezTo>
                    <a:pt x="3206317" y="3247122"/>
                    <a:pt x="2879348" y="3153776"/>
                    <a:pt x="2835160" y="3578042"/>
                  </a:cubicBezTo>
                  <a:cubicBezTo>
                    <a:pt x="2814840" y="3620399"/>
                    <a:pt x="2793947" y="3598357"/>
                    <a:pt x="2771024" y="3575003"/>
                  </a:cubicBezTo>
                  <a:cubicBezTo>
                    <a:pt x="2680470" y="3137913"/>
                    <a:pt x="2475918" y="3257152"/>
                    <a:pt x="2399243" y="3111699"/>
                  </a:cubicBezTo>
                  <a:cubicBezTo>
                    <a:pt x="2362352" y="2998072"/>
                    <a:pt x="2416339" y="2903199"/>
                    <a:pt x="2549672" y="2893239"/>
                  </a:cubicBezTo>
                  <a:cubicBezTo>
                    <a:pt x="2726765" y="2911125"/>
                    <a:pt x="2843976" y="2953867"/>
                    <a:pt x="3079893" y="2888832"/>
                  </a:cubicBezTo>
                  <a:close/>
                  <a:moveTo>
                    <a:pt x="3646823" y="1746558"/>
                  </a:moveTo>
                  <a:cubicBezTo>
                    <a:pt x="3737637" y="1746558"/>
                    <a:pt x="3811256" y="1820177"/>
                    <a:pt x="3811256" y="1910992"/>
                  </a:cubicBezTo>
                  <a:cubicBezTo>
                    <a:pt x="3811256" y="2001806"/>
                    <a:pt x="3737637" y="2075425"/>
                    <a:pt x="3646823" y="2075425"/>
                  </a:cubicBezTo>
                  <a:cubicBezTo>
                    <a:pt x="3556008" y="2075425"/>
                    <a:pt x="3482389" y="2001806"/>
                    <a:pt x="3482389" y="1910992"/>
                  </a:cubicBezTo>
                  <a:cubicBezTo>
                    <a:pt x="3482389" y="1820177"/>
                    <a:pt x="3556008" y="1746558"/>
                    <a:pt x="3646823" y="1746558"/>
                  </a:cubicBezTo>
                  <a:close/>
                  <a:moveTo>
                    <a:pt x="1965173" y="1746558"/>
                  </a:moveTo>
                  <a:cubicBezTo>
                    <a:pt x="2055988" y="1746558"/>
                    <a:pt x="2129606" y="1820177"/>
                    <a:pt x="2129606" y="1910992"/>
                  </a:cubicBezTo>
                  <a:cubicBezTo>
                    <a:pt x="2129606" y="2001806"/>
                    <a:pt x="2055988" y="2075425"/>
                    <a:pt x="1965173" y="2075425"/>
                  </a:cubicBezTo>
                  <a:cubicBezTo>
                    <a:pt x="1874358" y="2075425"/>
                    <a:pt x="1800740" y="2001806"/>
                    <a:pt x="1800740" y="1910992"/>
                  </a:cubicBezTo>
                  <a:cubicBezTo>
                    <a:pt x="1800740" y="1820177"/>
                    <a:pt x="1874358" y="1746558"/>
                    <a:pt x="1965173" y="1746558"/>
                  </a:cubicBezTo>
                  <a:close/>
                  <a:moveTo>
                    <a:pt x="2860452" y="1098968"/>
                  </a:moveTo>
                  <a:cubicBezTo>
                    <a:pt x="2799786" y="1096629"/>
                    <a:pt x="2738202" y="1097021"/>
                    <a:pt x="2676205" y="1100562"/>
                  </a:cubicBezTo>
                  <a:cubicBezTo>
                    <a:pt x="2378617" y="1117552"/>
                    <a:pt x="2071508" y="1207064"/>
                    <a:pt x="1810610" y="1415226"/>
                  </a:cubicBezTo>
                  <a:cubicBezTo>
                    <a:pt x="1674425" y="1526247"/>
                    <a:pt x="1621137" y="1620984"/>
                    <a:pt x="1606335" y="1797135"/>
                  </a:cubicBezTo>
                  <a:cubicBezTo>
                    <a:pt x="1538243" y="2408486"/>
                    <a:pt x="2035614" y="3293688"/>
                    <a:pt x="2307983" y="3600104"/>
                  </a:cubicBezTo>
                  <a:cubicBezTo>
                    <a:pt x="2571470" y="3888758"/>
                    <a:pt x="2956340" y="3946487"/>
                    <a:pt x="3240552" y="3635630"/>
                  </a:cubicBezTo>
                  <a:cubicBezTo>
                    <a:pt x="3657988" y="3333656"/>
                    <a:pt x="4075422" y="2291544"/>
                    <a:pt x="4013252" y="1734964"/>
                  </a:cubicBezTo>
                  <a:cubicBezTo>
                    <a:pt x="4004369" y="1595819"/>
                    <a:pt x="3962922" y="1521806"/>
                    <a:pt x="3826738" y="1406345"/>
                  </a:cubicBezTo>
                  <a:cubicBezTo>
                    <a:pt x="3664834" y="1265488"/>
                    <a:pt x="3285116" y="1115333"/>
                    <a:pt x="2860452" y="1098968"/>
                  </a:cubicBezTo>
                  <a:close/>
                  <a:moveTo>
                    <a:pt x="4318560" y="77"/>
                  </a:moveTo>
                  <a:cubicBezTo>
                    <a:pt x="5136449" y="-6138"/>
                    <a:pt x="5545393" y="362580"/>
                    <a:pt x="5545393" y="531133"/>
                  </a:cubicBezTo>
                  <a:cubicBezTo>
                    <a:pt x="4889217" y="295425"/>
                    <a:pt x="4445553" y="465733"/>
                    <a:pt x="4093605" y="613840"/>
                  </a:cubicBezTo>
                  <a:lnTo>
                    <a:pt x="3947808" y="674459"/>
                  </a:lnTo>
                  <a:lnTo>
                    <a:pt x="4036183" y="705030"/>
                  </a:lnTo>
                  <a:cubicBezTo>
                    <a:pt x="4254210" y="790036"/>
                    <a:pt x="4453672" y="897135"/>
                    <a:pt x="4628973" y="1022239"/>
                  </a:cubicBezTo>
                  <a:lnTo>
                    <a:pt x="4729023" y="1099858"/>
                  </a:lnTo>
                  <a:lnTo>
                    <a:pt x="4758551" y="1120365"/>
                  </a:lnTo>
                  <a:cubicBezTo>
                    <a:pt x="4945303" y="1242621"/>
                    <a:pt x="5255448" y="1220024"/>
                    <a:pt x="5397522" y="1461590"/>
                  </a:cubicBezTo>
                  <a:cubicBezTo>
                    <a:pt x="5110759" y="1851157"/>
                    <a:pt x="4800130" y="1958271"/>
                    <a:pt x="4513368" y="2045492"/>
                  </a:cubicBezTo>
                  <a:lnTo>
                    <a:pt x="4478508" y="2213814"/>
                  </a:lnTo>
                  <a:lnTo>
                    <a:pt x="4364056" y="2449159"/>
                  </a:lnTo>
                  <a:cubicBezTo>
                    <a:pt x="4083741" y="3014390"/>
                    <a:pt x="3721431" y="3656559"/>
                    <a:pt x="3245797" y="3953992"/>
                  </a:cubicBezTo>
                  <a:lnTo>
                    <a:pt x="3243290" y="3955413"/>
                  </a:lnTo>
                  <a:lnTo>
                    <a:pt x="3222098" y="3974935"/>
                  </a:lnTo>
                  <a:cubicBezTo>
                    <a:pt x="2967184" y="4242138"/>
                    <a:pt x="3015383" y="4696953"/>
                    <a:pt x="3009428" y="4824901"/>
                  </a:cubicBezTo>
                  <a:cubicBezTo>
                    <a:pt x="2967304" y="4760927"/>
                    <a:pt x="2930377" y="4671044"/>
                    <a:pt x="2903027" y="4575763"/>
                  </a:cubicBezTo>
                  <a:lnTo>
                    <a:pt x="2884581" y="4501722"/>
                  </a:lnTo>
                  <a:lnTo>
                    <a:pt x="2856218" y="4591613"/>
                  </a:lnTo>
                  <a:cubicBezTo>
                    <a:pt x="2836629" y="4638240"/>
                    <a:pt x="2812918" y="4680576"/>
                    <a:pt x="2784835" y="4713694"/>
                  </a:cubicBezTo>
                  <a:cubicBezTo>
                    <a:pt x="2780667" y="4644146"/>
                    <a:pt x="2776585" y="4475329"/>
                    <a:pt x="2758047" y="4302340"/>
                  </a:cubicBezTo>
                  <a:lnTo>
                    <a:pt x="2746396" y="4219032"/>
                  </a:lnTo>
                  <a:lnTo>
                    <a:pt x="2745089" y="4203739"/>
                  </a:lnTo>
                  <a:lnTo>
                    <a:pt x="2744258" y="4203739"/>
                  </a:lnTo>
                  <a:lnTo>
                    <a:pt x="2746396" y="4219032"/>
                  </a:lnTo>
                  <a:lnTo>
                    <a:pt x="2748855" y="4247810"/>
                  </a:lnTo>
                  <a:cubicBezTo>
                    <a:pt x="2756865" y="4365918"/>
                    <a:pt x="2753894" y="4548862"/>
                    <a:pt x="2693256" y="4725959"/>
                  </a:cubicBezTo>
                  <a:cubicBezTo>
                    <a:pt x="2689088" y="4656411"/>
                    <a:pt x="2685006" y="4487594"/>
                    <a:pt x="2666468" y="4314605"/>
                  </a:cubicBezTo>
                  <a:lnTo>
                    <a:pt x="2659315" y="4263454"/>
                  </a:lnTo>
                  <a:lnTo>
                    <a:pt x="2649477" y="4428985"/>
                  </a:lnTo>
                  <a:cubicBezTo>
                    <a:pt x="2644005" y="4552956"/>
                    <a:pt x="2642205" y="4661633"/>
                    <a:pt x="2640377" y="4713694"/>
                  </a:cubicBezTo>
                  <a:cubicBezTo>
                    <a:pt x="2624213" y="4681156"/>
                    <a:pt x="2610566" y="4639562"/>
                    <a:pt x="2599291" y="4593751"/>
                  </a:cubicBezTo>
                  <a:lnTo>
                    <a:pt x="2581700" y="4498594"/>
                  </a:lnTo>
                  <a:lnTo>
                    <a:pt x="2570755" y="4539456"/>
                  </a:lnTo>
                  <a:cubicBezTo>
                    <a:pt x="2540760" y="4636277"/>
                    <a:pt x="2499179" y="4727919"/>
                    <a:pt x="2444932" y="4791893"/>
                  </a:cubicBezTo>
                  <a:cubicBezTo>
                    <a:pt x="2437264" y="4663945"/>
                    <a:pt x="2633738" y="4287099"/>
                    <a:pt x="2406243" y="4018395"/>
                  </a:cubicBezTo>
                  <a:lnTo>
                    <a:pt x="2366601" y="3978092"/>
                  </a:lnTo>
                  <a:lnTo>
                    <a:pt x="2329441" y="3957465"/>
                  </a:lnTo>
                  <a:cubicBezTo>
                    <a:pt x="1857462" y="3662147"/>
                    <a:pt x="1519059" y="2986768"/>
                    <a:pt x="1238089" y="2409761"/>
                  </a:cubicBezTo>
                  <a:lnTo>
                    <a:pt x="1127462" y="2144737"/>
                  </a:lnTo>
                  <a:cubicBezTo>
                    <a:pt x="1126766" y="2125001"/>
                    <a:pt x="1111320" y="2107722"/>
                    <a:pt x="1110624" y="2087986"/>
                  </a:cubicBezTo>
                  <a:cubicBezTo>
                    <a:pt x="1090258" y="2019331"/>
                    <a:pt x="405527" y="1711983"/>
                    <a:pt x="289683" y="1543872"/>
                  </a:cubicBezTo>
                  <a:cubicBezTo>
                    <a:pt x="140103" y="1410617"/>
                    <a:pt x="397067" y="1221374"/>
                    <a:pt x="881497" y="1145245"/>
                  </a:cubicBezTo>
                  <a:lnTo>
                    <a:pt x="909503" y="1115210"/>
                  </a:lnTo>
                  <a:cubicBezTo>
                    <a:pt x="949449" y="1084220"/>
                    <a:pt x="965583" y="1053229"/>
                    <a:pt x="1005529" y="1022239"/>
                  </a:cubicBezTo>
                  <a:cubicBezTo>
                    <a:pt x="1180831" y="897135"/>
                    <a:pt x="1380293" y="790036"/>
                    <a:pt x="1598320" y="705030"/>
                  </a:cubicBezTo>
                  <a:lnTo>
                    <a:pt x="1671057" y="679868"/>
                  </a:lnTo>
                  <a:lnTo>
                    <a:pt x="1506291" y="613841"/>
                  </a:lnTo>
                  <a:cubicBezTo>
                    <a:pt x="1141130" y="465734"/>
                    <a:pt x="680810" y="295426"/>
                    <a:pt x="0" y="531134"/>
                  </a:cubicBezTo>
                  <a:cubicBezTo>
                    <a:pt x="0" y="362581"/>
                    <a:pt x="424297" y="-6137"/>
                    <a:pt x="1272890" y="78"/>
                  </a:cubicBezTo>
                  <a:cubicBezTo>
                    <a:pt x="1329463" y="494"/>
                    <a:pt x="1387922" y="2573"/>
                    <a:pt x="1448266" y="6491"/>
                  </a:cubicBezTo>
                  <a:cubicBezTo>
                    <a:pt x="2051711" y="45666"/>
                    <a:pt x="2334414" y="236351"/>
                    <a:pt x="2477700" y="403647"/>
                  </a:cubicBezTo>
                  <a:lnTo>
                    <a:pt x="2544017" y="493869"/>
                  </a:lnTo>
                  <a:lnTo>
                    <a:pt x="2556172" y="492534"/>
                  </a:lnTo>
                  <a:cubicBezTo>
                    <a:pt x="2642034" y="486261"/>
                    <a:pt x="2729129" y="483050"/>
                    <a:pt x="2817250" y="483050"/>
                  </a:cubicBezTo>
                  <a:cubicBezTo>
                    <a:pt x="2905372" y="483050"/>
                    <a:pt x="2992467" y="486261"/>
                    <a:pt x="3078329" y="492534"/>
                  </a:cubicBezTo>
                  <a:lnTo>
                    <a:pt x="3093213" y="494168"/>
                  </a:lnTo>
                  <a:lnTo>
                    <a:pt x="3157344" y="403646"/>
                  </a:lnTo>
                  <a:cubicBezTo>
                    <a:pt x="3295445" y="236349"/>
                    <a:pt x="3567920" y="45665"/>
                    <a:pt x="4149530" y="6490"/>
                  </a:cubicBezTo>
                  <a:cubicBezTo>
                    <a:pt x="4207691" y="2573"/>
                    <a:pt x="4264034" y="492"/>
                    <a:pt x="4318560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3346553" y="-18720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11831" y="1334490"/>
            <a:ext cx="792000" cy="792000"/>
            <a:chOff x="401878" y="-1205977"/>
            <a:chExt cx="792000" cy="792000"/>
          </a:xfrm>
        </p:grpSpPr>
        <p:sp>
          <p:nvSpPr>
            <p:cNvPr id="88" name="Freeform 87"/>
            <p:cNvSpPr/>
            <p:nvPr/>
          </p:nvSpPr>
          <p:spPr>
            <a:xfrm>
              <a:off x="421745" y="-1054118"/>
              <a:ext cx="752267" cy="488283"/>
            </a:xfrm>
            <a:custGeom>
              <a:avLst/>
              <a:gdLst>
                <a:gd name="connsiteX0" fmla="*/ 2403783 w 5246704"/>
                <a:gd name="connsiteY0" fmla="*/ 2361736 h 3405540"/>
                <a:gd name="connsiteX1" fmla="*/ 2539721 w 5246704"/>
                <a:gd name="connsiteY1" fmla="*/ 2524284 h 3405540"/>
                <a:gd name="connsiteX2" fmla="*/ 2406202 w 5246704"/>
                <a:gd name="connsiteY2" fmla="*/ 2657803 h 3405540"/>
                <a:gd name="connsiteX3" fmla="*/ 2272683 w 5246704"/>
                <a:gd name="connsiteY3" fmla="*/ 2524284 h 3405540"/>
                <a:gd name="connsiteX4" fmla="*/ 2403783 w 5246704"/>
                <a:gd name="connsiteY4" fmla="*/ 2361736 h 3405540"/>
                <a:gd name="connsiteX5" fmla="*/ 2836792 w 5246704"/>
                <a:gd name="connsiteY5" fmla="*/ 2361735 h 3405540"/>
                <a:gd name="connsiteX6" fmla="*/ 2972730 w 5246704"/>
                <a:gd name="connsiteY6" fmla="*/ 2524283 h 3405540"/>
                <a:gd name="connsiteX7" fmla="*/ 2839211 w 5246704"/>
                <a:gd name="connsiteY7" fmla="*/ 2657802 h 3405540"/>
                <a:gd name="connsiteX8" fmla="*/ 2705692 w 5246704"/>
                <a:gd name="connsiteY8" fmla="*/ 2524283 h 3405540"/>
                <a:gd name="connsiteX9" fmla="*/ 2836792 w 5246704"/>
                <a:gd name="connsiteY9" fmla="*/ 2361735 h 3405540"/>
                <a:gd name="connsiteX10" fmla="*/ 2617700 w 5246704"/>
                <a:gd name="connsiteY10" fmla="*/ 1852346 h 3405540"/>
                <a:gd name="connsiteX11" fmla="*/ 2005790 w 5246704"/>
                <a:gd name="connsiteY11" fmla="*/ 2469072 h 3405540"/>
                <a:gd name="connsiteX12" fmla="*/ 2622463 w 5246704"/>
                <a:gd name="connsiteY12" fmla="*/ 2997692 h 3405540"/>
                <a:gd name="connsiteX13" fmla="*/ 3239136 w 5246704"/>
                <a:gd name="connsiteY13" fmla="*/ 2469072 h 3405540"/>
                <a:gd name="connsiteX14" fmla="*/ 2617700 w 5246704"/>
                <a:gd name="connsiteY14" fmla="*/ 1852346 h 3405540"/>
                <a:gd name="connsiteX15" fmla="*/ 2032943 w 5246704"/>
                <a:gd name="connsiteY15" fmla="*/ 1210295 h 3405540"/>
                <a:gd name="connsiteX16" fmla="*/ 1882817 w 5246704"/>
                <a:gd name="connsiteY16" fmla="*/ 1360421 h 3405540"/>
                <a:gd name="connsiteX17" fmla="*/ 2032943 w 5246704"/>
                <a:gd name="connsiteY17" fmla="*/ 1510547 h 3405540"/>
                <a:gd name="connsiteX18" fmla="*/ 2183069 w 5246704"/>
                <a:gd name="connsiteY18" fmla="*/ 1360421 h 3405540"/>
                <a:gd name="connsiteX19" fmla="*/ 2032943 w 5246704"/>
                <a:gd name="connsiteY19" fmla="*/ 1210295 h 3405540"/>
                <a:gd name="connsiteX20" fmla="*/ 3208925 w 5246704"/>
                <a:gd name="connsiteY20" fmla="*/ 1210294 h 3405540"/>
                <a:gd name="connsiteX21" fmla="*/ 3058799 w 5246704"/>
                <a:gd name="connsiteY21" fmla="*/ 1360420 h 3405540"/>
                <a:gd name="connsiteX22" fmla="*/ 3208925 w 5246704"/>
                <a:gd name="connsiteY22" fmla="*/ 1510546 h 3405540"/>
                <a:gd name="connsiteX23" fmla="*/ 3359051 w 5246704"/>
                <a:gd name="connsiteY23" fmla="*/ 1360420 h 3405540"/>
                <a:gd name="connsiteX24" fmla="*/ 3208925 w 5246704"/>
                <a:gd name="connsiteY24" fmla="*/ 1210294 h 3405540"/>
                <a:gd name="connsiteX25" fmla="*/ 1132908 w 5246704"/>
                <a:gd name="connsiteY25" fmla="*/ 434892 h 3405540"/>
                <a:gd name="connsiteX26" fmla="*/ 1103253 w 5246704"/>
                <a:gd name="connsiteY26" fmla="*/ 440968 h 3405540"/>
                <a:gd name="connsiteX27" fmla="*/ 436905 w 5246704"/>
                <a:gd name="connsiteY27" fmla="*/ 1022462 h 3405540"/>
                <a:gd name="connsiteX28" fmla="*/ 1128015 w 5246704"/>
                <a:gd name="connsiteY28" fmla="*/ 1405288 h 3405540"/>
                <a:gd name="connsiteX29" fmla="*/ 1573897 w 5246704"/>
                <a:gd name="connsiteY29" fmla="*/ 952177 h 3405540"/>
                <a:gd name="connsiteX30" fmla="*/ 1132908 w 5246704"/>
                <a:gd name="connsiteY30" fmla="*/ 434892 h 3405540"/>
                <a:gd name="connsiteX31" fmla="*/ 4183633 w 5246704"/>
                <a:gd name="connsiteY31" fmla="*/ 434816 h 3405540"/>
                <a:gd name="connsiteX32" fmla="*/ 3672626 w 5246704"/>
                <a:gd name="connsiteY32" fmla="*/ 945353 h 3405540"/>
                <a:gd name="connsiteX33" fmla="*/ 4189333 w 5246704"/>
                <a:gd name="connsiteY33" fmla="*/ 1405288 h 3405540"/>
                <a:gd name="connsiteX34" fmla="*/ 4809801 w 5246704"/>
                <a:gd name="connsiteY34" fmla="*/ 1022462 h 3405540"/>
                <a:gd name="connsiteX35" fmla="*/ 4211564 w 5246704"/>
                <a:gd name="connsiteY35" fmla="*/ 440969 h 3405540"/>
                <a:gd name="connsiteX36" fmla="*/ 4183633 w 5246704"/>
                <a:gd name="connsiteY36" fmla="*/ 434816 h 3405540"/>
                <a:gd name="connsiteX37" fmla="*/ 2623352 w 5246704"/>
                <a:gd name="connsiteY37" fmla="*/ 0 h 3405540"/>
                <a:gd name="connsiteX38" fmla="*/ 3469090 w 5246704"/>
                <a:gd name="connsiteY38" fmla="*/ 290806 h 3405540"/>
                <a:gd name="connsiteX39" fmla="*/ 3489103 w 5246704"/>
                <a:gd name="connsiteY39" fmla="*/ 307653 h 3405540"/>
                <a:gd name="connsiteX40" fmla="*/ 3547511 w 5246704"/>
                <a:gd name="connsiteY40" fmla="*/ 289004 h 3405540"/>
                <a:gd name="connsiteX41" fmla="*/ 4098715 w 5246704"/>
                <a:gd name="connsiteY41" fmla="*/ 76520 h 3405540"/>
                <a:gd name="connsiteX42" fmla="*/ 4197468 w 5246704"/>
                <a:gd name="connsiteY42" fmla="*/ 77824 h 3405540"/>
                <a:gd name="connsiteX43" fmla="*/ 5218670 w 5246704"/>
                <a:gd name="connsiteY43" fmla="*/ 1002560 h 3405540"/>
                <a:gd name="connsiteX44" fmla="*/ 5067072 w 5246704"/>
                <a:gd name="connsiteY44" fmla="*/ 1142294 h 3405540"/>
                <a:gd name="connsiteX45" fmla="*/ 4191383 w 5246704"/>
                <a:gd name="connsiteY45" fmla="*/ 1653907 h 3405540"/>
                <a:gd name="connsiteX46" fmla="*/ 4133395 w 5246704"/>
                <a:gd name="connsiteY46" fmla="*/ 1644629 h 3405540"/>
                <a:gd name="connsiteX47" fmla="*/ 4136003 w 5246704"/>
                <a:gd name="connsiteY47" fmla="*/ 1702770 h 3405540"/>
                <a:gd name="connsiteX48" fmla="*/ 2623352 w 5246704"/>
                <a:gd name="connsiteY48" fmla="*/ 3405540 h 3405540"/>
                <a:gd name="connsiteX49" fmla="*/ 1110701 w 5246704"/>
                <a:gd name="connsiteY49" fmla="*/ 1702770 h 3405540"/>
                <a:gd name="connsiteX50" fmla="*/ 1113238 w 5246704"/>
                <a:gd name="connsiteY50" fmla="*/ 1646201 h 3405540"/>
                <a:gd name="connsiteX51" fmla="*/ 1064652 w 5246704"/>
                <a:gd name="connsiteY51" fmla="*/ 1653907 h 3405540"/>
                <a:gd name="connsiteX52" fmla="*/ 181220 w 5246704"/>
                <a:gd name="connsiteY52" fmla="*/ 1142294 h 3405540"/>
                <a:gd name="connsiteX53" fmla="*/ 28282 w 5246704"/>
                <a:gd name="connsiteY53" fmla="*/ 1002560 h 3405540"/>
                <a:gd name="connsiteX54" fmla="*/ 1058513 w 5246704"/>
                <a:gd name="connsiteY54" fmla="*/ 77824 h 3405540"/>
                <a:gd name="connsiteX55" fmla="*/ 1156740 w 5246704"/>
                <a:gd name="connsiteY55" fmla="*/ 75121 h 3405540"/>
                <a:gd name="connsiteX56" fmla="*/ 1705337 w 5246704"/>
                <a:gd name="connsiteY56" fmla="*/ 280124 h 3405540"/>
                <a:gd name="connsiteX57" fmla="*/ 1764652 w 5246704"/>
                <a:gd name="connsiteY57" fmla="*/ 301717 h 3405540"/>
                <a:gd name="connsiteX58" fmla="*/ 1777614 w 5246704"/>
                <a:gd name="connsiteY58" fmla="*/ 290806 h 3405540"/>
                <a:gd name="connsiteX59" fmla="*/ 2623352 w 5246704"/>
                <a:gd name="connsiteY59" fmla="*/ 0 h 340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246704" h="3405540">
                  <a:moveTo>
                    <a:pt x="2403783" y="2361736"/>
                  </a:moveTo>
                  <a:cubicBezTo>
                    <a:pt x="2477524" y="2361736"/>
                    <a:pt x="2539721" y="2450543"/>
                    <a:pt x="2539721" y="2524284"/>
                  </a:cubicBezTo>
                  <a:cubicBezTo>
                    <a:pt x="2539721" y="2598025"/>
                    <a:pt x="2479943" y="2657803"/>
                    <a:pt x="2406202" y="2657803"/>
                  </a:cubicBezTo>
                  <a:cubicBezTo>
                    <a:pt x="2332461" y="2657803"/>
                    <a:pt x="2273086" y="2573628"/>
                    <a:pt x="2272683" y="2524284"/>
                  </a:cubicBezTo>
                  <a:cubicBezTo>
                    <a:pt x="2272280" y="2474940"/>
                    <a:pt x="2330042" y="2361736"/>
                    <a:pt x="2403783" y="2361736"/>
                  </a:cubicBezTo>
                  <a:close/>
                  <a:moveTo>
                    <a:pt x="2836792" y="2361735"/>
                  </a:moveTo>
                  <a:cubicBezTo>
                    <a:pt x="2910533" y="2361735"/>
                    <a:pt x="2972730" y="2450542"/>
                    <a:pt x="2972730" y="2524283"/>
                  </a:cubicBezTo>
                  <a:cubicBezTo>
                    <a:pt x="2972730" y="2598024"/>
                    <a:pt x="2912952" y="2657802"/>
                    <a:pt x="2839211" y="2657802"/>
                  </a:cubicBezTo>
                  <a:cubicBezTo>
                    <a:pt x="2765470" y="2657802"/>
                    <a:pt x="2706095" y="2573627"/>
                    <a:pt x="2705692" y="2524283"/>
                  </a:cubicBezTo>
                  <a:cubicBezTo>
                    <a:pt x="2705289" y="2474939"/>
                    <a:pt x="2763051" y="2361735"/>
                    <a:pt x="2836792" y="2361735"/>
                  </a:cubicBezTo>
                  <a:close/>
                  <a:moveTo>
                    <a:pt x="2617700" y="1852346"/>
                  </a:moveTo>
                  <a:cubicBezTo>
                    <a:pt x="2277121" y="1852346"/>
                    <a:pt x="2007377" y="2211506"/>
                    <a:pt x="2005790" y="2469072"/>
                  </a:cubicBezTo>
                  <a:cubicBezTo>
                    <a:pt x="2004203" y="2726638"/>
                    <a:pt x="2281884" y="2997692"/>
                    <a:pt x="2622463" y="2997692"/>
                  </a:cubicBezTo>
                  <a:cubicBezTo>
                    <a:pt x="2963042" y="2997692"/>
                    <a:pt x="3239136" y="2761021"/>
                    <a:pt x="3239136" y="2469072"/>
                  </a:cubicBezTo>
                  <a:cubicBezTo>
                    <a:pt x="3239136" y="2177123"/>
                    <a:pt x="2958279" y="1852346"/>
                    <a:pt x="2617700" y="1852346"/>
                  </a:cubicBezTo>
                  <a:close/>
                  <a:moveTo>
                    <a:pt x="2032943" y="1210295"/>
                  </a:moveTo>
                  <a:cubicBezTo>
                    <a:pt x="1950031" y="1210295"/>
                    <a:pt x="1882817" y="1277509"/>
                    <a:pt x="1882817" y="1360421"/>
                  </a:cubicBezTo>
                  <a:cubicBezTo>
                    <a:pt x="1882817" y="1443333"/>
                    <a:pt x="1950031" y="1510547"/>
                    <a:pt x="2032943" y="1510547"/>
                  </a:cubicBezTo>
                  <a:cubicBezTo>
                    <a:pt x="2115855" y="1510547"/>
                    <a:pt x="2183069" y="1443333"/>
                    <a:pt x="2183069" y="1360421"/>
                  </a:cubicBezTo>
                  <a:cubicBezTo>
                    <a:pt x="2183069" y="1277509"/>
                    <a:pt x="2115855" y="1210295"/>
                    <a:pt x="2032943" y="1210295"/>
                  </a:cubicBezTo>
                  <a:close/>
                  <a:moveTo>
                    <a:pt x="3208925" y="1210294"/>
                  </a:moveTo>
                  <a:cubicBezTo>
                    <a:pt x="3126013" y="1210294"/>
                    <a:pt x="3058799" y="1277508"/>
                    <a:pt x="3058799" y="1360420"/>
                  </a:cubicBezTo>
                  <a:cubicBezTo>
                    <a:pt x="3058799" y="1443332"/>
                    <a:pt x="3126013" y="1510546"/>
                    <a:pt x="3208925" y="1510546"/>
                  </a:cubicBezTo>
                  <a:cubicBezTo>
                    <a:pt x="3291837" y="1510546"/>
                    <a:pt x="3359051" y="1443332"/>
                    <a:pt x="3359051" y="1360420"/>
                  </a:cubicBezTo>
                  <a:cubicBezTo>
                    <a:pt x="3359051" y="1277508"/>
                    <a:pt x="3291837" y="1210294"/>
                    <a:pt x="3208925" y="1210294"/>
                  </a:cubicBezTo>
                  <a:close/>
                  <a:moveTo>
                    <a:pt x="1132908" y="434892"/>
                  </a:moveTo>
                  <a:cubicBezTo>
                    <a:pt x="1123083" y="434861"/>
                    <a:pt x="1113201" y="436806"/>
                    <a:pt x="1103253" y="440968"/>
                  </a:cubicBezTo>
                  <a:cubicBezTo>
                    <a:pt x="885128" y="518978"/>
                    <a:pt x="483492" y="960230"/>
                    <a:pt x="436905" y="1022462"/>
                  </a:cubicBezTo>
                  <a:cubicBezTo>
                    <a:pt x="448547" y="1163735"/>
                    <a:pt x="947410" y="1466558"/>
                    <a:pt x="1128015" y="1405288"/>
                  </a:cubicBezTo>
                  <a:cubicBezTo>
                    <a:pt x="1289468" y="1334374"/>
                    <a:pt x="1491279" y="1097134"/>
                    <a:pt x="1573897" y="952177"/>
                  </a:cubicBezTo>
                  <a:cubicBezTo>
                    <a:pt x="1415087" y="880395"/>
                    <a:pt x="1280289" y="435360"/>
                    <a:pt x="1132908" y="434892"/>
                  </a:cubicBezTo>
                  <a:close/>
                  <a:moveTo>
                    <a:pt x="4183633" y="434816"/>
                  </a:moveTo>
                  <a:cubicBezTo>
                    <a:pt x="4038529" y="434534"/>
                    <a:pt x="3815204" y="873571"/>
                    <a:pt x="3672626" y="945353"/>
                  </a:cubicBezTo>
                  <a:cubicBezTo>
                    <a:pt x="3746799" y="1090309"/>
                    <a:pt x="4044383" y="1334374"/>
                    <a:pt x="4189333" y="1405288"/>
                  </a:cubicBezTo>
                  <a:cubicBezTo>
                    <a:pt x="4351478" y="1466558"/>
                    <a:pt x="4799349" y="1163735"/>
                    <a:pt x="4809801" y="1022462"/>
                  </a:cubicBezTo>
                  <a:cubicBezTo>
                    <a:pt x="4767976" y="960230"/>
                    <a:pt x="4407393" y="518978"/>
                    <a:pt x="4211564" y="440969"/>
                  </a:cubicBezTo>
                  <a:cubicBezTo>
                    <a:pt x="4202633" y="436806"/>
                    <a:pt x="4193307" y="434835"/>
                    <a:pt x="4183633" y="434816"/>
                  </a:cubicBezTo>
                  <a:close/>
                  <a:moveTo>
                    <a:pt x="2623352" y="0"/>
                  </a:moveTo>
                  <a:cubicBezTo>
                    <a:pt x="2936632" y="0"/>
                    <a:pt x="3227669" y="107206"/>
                    <a:pt x="3469090" y="290806"/>
                  </a:cubicBezTo>
                  <a:lnTo>
                    <a:pt x="3489103" y="307653"/>
                  </a:lnTo>
                  <a:lnTo>
                    <a:pt x="3547511" y="289004"/>
                  </a:lnTo>
                  <a:cubicBezTo>
                    <a:pt x="3800433" y="198117"/>
                    <a:pt x="3911473" y="90224"/>
                    <a:pt x="4098715" y="76520"/>
                  </a:cubicBezTo>
                  <a:cubicBezTo>
                    <a:pt x="4129285" y="74283"/>
                    <a:pt x="4161887" y="74556"/>
                    <a:pt x="4197468" y="77824"/>
                  </a:cubicBezTo>
                  <a:cubicBezTo>
                    <a:pt x="4548795" y="146829"/>
                    <a:pt x="4966621" y="997594"/>
                    <a:pt x="5218670" y="1002560"/>
                  </a:cubicBezTo>
                  <a:cubicBezTo>
                    <a:pt x="5289743" y="1012289"/>
                    <a:pt x="5220789" y="1114226"/>
                    <a:pt x="5067072" y="1142294"/>
                  </a:cubicBezTo>
                  <a:cubicBezTo>
                    <a:pt x="4940822" y="1173073"/>
                    <a:pt x="4717088" y="1701323"/>
                    <a:pt x="4191383" y="1653907"/>
                  </a:cubicBezTo>
                  <a:lnTo>
                    <a:pt x="4133395" y="1644629"/>
                  </a:lnTo>
                  <a:lnTo>
                    <a:pt x="4136003" y="1702770"/>
                  </a:lnTo>
                  <a:cubicBezTo>
                    <a:pt x="4136003" y="2643184"/>
                    <a:pt x="3458766" y="3405540"/>
                    <a:pt x="2623352" y="3405540"/>
                  </a:cubicBezTo>
                  <a:cubicBezTo>
                    <a:pt x="1787938" y="3405540"/>
                    <a:pt x="1110701" y="2643184"/>
                    <a:pt x="1110701" y="1702770"/>
                  </a:cubicBezTo>
                  <a:lnTo>
                    <a:pt x="1113238" y="1646201"/>
                  </a:lnTo>
                  <a:lnTo>
                    <a:pt x="1064652" y="1653907"/>
                  </a:lnTo>
                  <a:cubicBezTo>
                    <a:pt x="534299" y="1701323"/>
                    <a:pt x="308587" y="1173073"/>
                    <a:pt x="181220" y="1142294"/>
                  </a:cubicBezTo>
                  <a:cubicBezTo>
                    <a:pt x="26144" y="1114226"/>
                    <a:pt x="-43420" y="1012289"/>
                    <a:pt x="28282" y="1002560"/>
                  </a:cubicBezTo>
                  <a:cubicBezTo>
                    <a:pt x="282559" y="997594"/>
                    <a:pt x="704080" y="146829"/>
                    <a:pt x="1058513" y="77824"/>
                  </a:cubicBezTo>
                  <a:cubicBezTo>
                    <a:pt x="1094409" y="74556"/>
                    <a:pt x="1126766" y="73750"/>
                    <a:pt x="1156740" y="75121"/>
                  </a:cubicBezTo>
                  <a:cubicBezTo>
                    <a:pt x="1340331" y="83519"/>
                    <a:pt x="1434548" y="173606"/>
                    <a:pt x="1705337" y="280124"/>
                  </a:cubicBezTo>
                  <a:lnTo>
                    <a:pt x="1764652" y="301717"/>
                  </a:lnTo>
                  <a:lnTo>
                    <a:pt x="1777614" y="290806"/>
                  </a:lnTo>
                  <a:cubicBezTo>
                    <a:pt x="2019035" y="107206"/>
                    <a:pt x="2310072" y="0"/>
                    <a:pt x="262335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401878" y="-120597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755270" y="712291"/>
            <a:ext cx="792000" cy="792000"/>
            <a:chOff x="2255424" y="-1199640"/>
            <a:chExt cx="792000" cy="792000"/>
          </a:xfrm>
        </p:grpSpPr>
        <p:sp>
          <p:nvSpPr>
            <p:cNvPr id="87" name="Freeform 86"/>
            <p:cNvSpPr/>
            <p:nvPr/>
          </p:nvSpPr>
          <p:spPr>
            <a:xfrm>
              <a:off x="2286786" y="-1122049"/>
              <a:ext cx="729276" cy="636819"/>
            </a:xfrm>
            <a:custGeom>
              <a:avLst/>
              <a:gdLst>
                <a:gd name="connsiteX0" fmla="*/ 2509760 w 3700130"/>
                <a:gd name="connsiteY0" fmla="*/ 2415150 h 3231029"/>
                <a:gd name="connsiteX1" fmla="*/ 2009583 w 3700130"/>
                <a:gd name="connsiteY1" fmla="*/ 2759442 h 3231029"/>
                <a:gd name="connsiteX2" fmla="*/ 2509760 w 3700130"/>
                <a:gd name="connsiteY2" fmla="*/ 3103735 h 3231029"/>
                <a:gd name="connsiteX3" fmla="*/ 1187489 w 3700130"/>
                <a:gd name="connsiteY3" fmla="*/ 2415150 h 3231029"/>
                <a:gd name="connsiteX4" fmla="*/ 1187489 w 3700130"/>
                <a:gd name="connsiteY4" fmla="*/ 3103735 h 3231029"/>
                <a:gd name="connsiteX5" fmla="*/ 1687666 w 3700130"/>
                <a:gd name="connsiteY5" fmla="*/ 2759443 h 3231029"/>
                <a:gd name="connsiteX6" fmla="*/ 1343269 w 3700130"/>
                <a:gd name="connsiteY6" fmla="*/ 2283079 h 3231029"/>
                <a:gd name="connsiteX7" fmla="*/ 1848625 w 3700130"/>
                <a:gd name="connsiteY7" fmla="*/ 2661747 h 3231029"/>
                <a:gd name="connsiteX8" fmla="*/ 2353981 w 3700130"/>
                <a:gd name="connsiteY8" fmla="*/ 2283079 h 3231029"/>
                <a:gd name="connsiteX9" fmla="*/ 1848625 w 3700130"/>
                <a:gd name="connsiteY9" fmla="*/ 1225377 h 3231029"/>
                <a:gd name="connsiteX10" fmla="*/ 1529608 w 3700130"/>
                <a:gd name="connsiteY10" fmla="*/ 1624574 h 3231029"/>
                <a:gd name="connsiteX11" fmla="*/ 2167641 w 3700130"/>
                <a:gd name="connsiteY11" fmla="*/ 1624574 h 3231029"/>
                <a:gd name="connsiteX12" fmla="*/ 1843152 w 3700130"/>
                <a:gd name="connsiteY12" fmla="*/ 553084 h 3231029"/>
                <a:gd name="connsiteX13" fmla="*/ 2758263 w 3700130"/>
                <a:gd name="connsiteY13" fmla="*/ 1143063 h 3231029"/>
                <a:gd name="connsiteX14" fmla="*/ 3182765 w 3700130"/>
                <a:gd name="connsiteY14" fmla="*/ 1907054 h 3231029"/>
                <a:gd name="connsiteX15" fmla="*/ 3329763 w 3700130"/>
                <a:gd name="connsiteY15" fmla="*/ 3231029 h 3231029"/>
                <a:gd name="connsiteX16" fmla="*/ 2340396 w 3700130"/>
                <a:gd name="connsiteY16" fmla="*/ 3231029 h 3231029"/>
                <a:gd name="connsiteX17" fmla="*/ 1848624 w 3700130"/>
                <a:gd name="connsiteY17" fmla="*/ 2862540 h 3231029"/>
                <a:gd name="connsiteX18" fmla="*/ 1356853 w 3700130"/>
                <a:gd name="connsiteY18" fmla="*/ 3231029 h 3231029"/>
                <a:gd name="connsiteX19" fmla="*/ 367488 w 3700130"/>
                <a:gd name="connsiteY19" fmla="*/ 3231029 h 3231029"/>
                <a:gd name="connsiteX20" fmla="*/ 481788 w 3700130"/>
                <a:gd name="connsiteY20" fmla="*/ 2011829 h 3231029"/>
                <a:gd name="connsiteX21" fmla="*/ 996138 w 3700130"/>
                <a:gd name="connsiteY21" fmla="*/ 1126004 h 3231029"/>
                <a:gd name="connsiteX22" fmla="*/ 1843152 w 3700130"/>
                <a:gd name="connsiteY22" fmla="*/ 553084 h 3231029"/>
                <a:gd name="connsiteX23" fmla="*/ 1884684 w 3700130"/>
                <a:gd name="connsiteY23" fmla="*/ 0 h 3231029"/>
                <a:gd name="connsiteX24" fmla="*/ 3072810 w 3700130"/>
                <a:gd name="connsiteY24" fmla="*/ 722633 h 3231029"/>
                <a:gd name="connsiteX25" fmla="*/ 3700130 w 3700130"/>
                <a:gd name="connsiteY25" fmla="*/ 1785890 h 3231029"/>
                <a:gd name="connsiteX26" fmla="*/ 3423683 w 3700130"/>
                <a:gd name="connsiteY26" fmla="*/ 1929429 h 3231029"/>
                <a:gd name="connsiteX27" fmla="*/ 2838893 w 3700130"/>
                <a:gd name="connsiteY27" fmla="*/ 945917 h 3231029"/>
                <a:gd name="connsiteX28" fmla="*/ 1884684 w 3700130"/>
                <a:gd name="connsiteY28" fmla="*/ 323153 h 3231029"/>
                <a:gd name="connsiteX29" fmla="*/ 893135 w 3700130"/>
                <a:gd name="connsiteY29" fmla="*/ 892754 h 3231029"/>
                <a:gd name="connsiteX30" fmla="*/ 276446 w 3700130"/>
                <a:gd name="connsiteY30" fmla="*/ 1929430 h 3231029"/>
                <a:gd name="connsiteX31" fmla="*/ 0 w 3700130"/>
                <a:gd name="connsiteY31" fmla="*/ 1791206 h 3231029"/>
                <a:gd name="connsiteX32" fmla="*/ 643269 w 3700130"/>
                <a:gd name="connsiteY32" fmla="*/ 733266 h 3231029"/>
                <a:gd name="connsiteX33" fmla="*/ 1884684 w 3700130"/>
                <a:gd name="connsiteY33" fmla="*/ 0 h 323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700130" h="3231029">
                  <a:moveTo>
                    <a:pt x="2509760" y="2415150"/>
                  </a:moveTo>
                  <a:lnTo>
                    <a:pt x="2009583" y="2759442"/>
                  </a:lnTo>
                  <a:lnTo>
                    <a:pt x="2509760" y="3103735"/>
                  </a:lnTo>
                  <a:close/>
                  <a:moveTo>
                    <a:pt x="1187489" y="2415150"/>
                  </a:moveTo>
                  <a:lnTo>
                    <a:pt x="1187489" y="3103735"/>
                  </a:lnTo>
                  <a:lnTo>
                    <a:pt x="1687666" y="2759443"/>
                  </a:lnTo>
                  <a:close/>
                  <a:moveTo>
                    <a:pt x="1343269" y="2283079"/>
                  </a:moveTo>
                  <a:lnTo>
                    <a:pt x="1848625" y="2661747"/>
                  </a:lnTo>
                  <a:lnTo>
                    <a:pt x="2353981" y="2283079"/>
                  </a:lnTo>
                  <a:close/>
                  <a:moveTo>
                    <a:pt x="1848625" y="1225377"/>
                  </a:moveTo>
                  <a:lnTo>
                    <a:pt x="1529608" y="1624574"/>
                  </a:lnTo>
                  <a:lnTo>
                    <a:pt x="2167641" y="1624574"/>
                  </a:lnTo>
                  <a:close/>
                  <a:moveTo>
                    <a:pt x="1843152" y="553084"/>
                  </a:moveTo>
                  <a:lnTo>
                    <a:pt x="2758263" y="1143063"/>
                  </a:lnTo>
                  <a:cubicBezTo>
                    <a:pt x="2992123" y="1558941"/>
                    <a:pt x="2849958" y="1296696"/>
                    <a:pt x="3182765" y="1907054"/>
                  </a:cubicBezTo>
                  <a:lnTo>
                    <a:pt x="3329763" y="3231029"/>
                  </a:lnTo>
                  <a:lnTo>
                    <a:pt x="2340396" y="3231029"/>
                  </a:lnTo>
                  <a:lnTo>
                    <a:pt x="1848624" y="2862540"/>
                  </a:lnTo>
                  <a:lnTo>
                    <a:pt x="1356853" y="3231029"/>
                  </a:lnTo>
                  <a:lnTo>
                    <a:pt x="367488" y="3231029"/>
                  </a:lnTo>
                  <a:lnTo>
                    <a:pt x="481788" y="2011829"/>
                  </a:lnTo>
                  <a:cubicBezTo>
                    <a:pt x="642434" y="1687979"/>
                    <a:pt x="480935" y="2010573"/>
                    <a:pt x="996138" y="1126004"/>
                  </a:cubicBezTo>
                  <a:cubicBezTo>
                    <a:pt x="1698997" y="630396"/>
                    <a:pt x="1151548" y="1016799"/>
                    <a:pt x="1843152" y="553084"/>
                  </a:cubicBezTo>
                  <a:close/>
                  <a:moveTo>
                    <a:pt x="1884684" y="0"/>
                  </a:moveTo>
                  <a:cubicBezTo>
                    <a:pt x="2639595" y="444795"/>
                    <a:pt x="2567764" y="389480"/>
                    <a:pt x="3072810" y="722633"/>
                  </a:cubicBezTo>
                  <a:lnTo>
                    <a:pt x="3700130" y="1785890"/>
                  </a:lnTo>
                  <a:lnTo>
                    <a:pt x="3423683" y="1929429"/>
                  </a:lnTo>
                  <a:cubicBezTo>
                    <a:pt x="2845981" y="956550"/>
                    <a:pt x="3419570" y="1918797"/>
                    <a:pt x="2838893" y="945917"/>
                  </a:cubicBezTo>
                  <a:cubicBezTo>
                    <a:pt x="1901457" y="332139"/>
                    <a:pt x="2837500" y="939651"/>
                    <a:pt x="1884684" y="323153"/>
                  </a:cubicBezTo>
                  <a:lnTo>
                    <a:pt x="893135" y="892754"/>
                  </a:lnTo>
                  <a:lnTo>
                    <a:pt x="276446" y="1929430"/>
                  </a:lnTo>
                  <a:lnTo>
                    <a:pt x="0" y="1791206"/>
                  </a:lnTo>
                  <a:cubicBezTo>
                    <a:pt x="650485" y="722507"/>
                    <a:pt x="633" y="1788295"/>
                    <a:pt x="643269" y="733266"/>
                  </a:cubicBezTo>
                  <a:cubicBezTo>
                    <a:pt x="1881584" y="4238"/>
                    <a:pt x="647068" y="749595"/>
                    <a:pt x="18846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2255424" y="-119964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1443954" y="1180271"/>
            <a:ext cx="792000" cy="792000"/>
            <a:chOff x="1018478" y="-1982821"/>
            <a:chExt cx="792000" cy="792000"/>
          </a:xfrm>
        </p:grpSpPr>
        <p:sp>
          <p:nvSpPr>
            <p:cNvPr id="82" name="Freeform 81"/>
            <p:cNvSpPr/>
            <p:nvPr/>
          </p:nvSpPr>
          <p:spPr>
            <a:xfrm>
              <a:off x="1122236" y="-1959801"/>
              <a:ext cx="584485" cy="745960"/>
            </a:xfrm>
            <a:custGeom>
              <a:avLst/>
              <a:gdLst>
                <a:gd name="connsiteX0" fmla="*/ 1844100 w 3744357"/>
                <a:gd name="connsiteY0" fmla="*/ 3166086 h 4778805"/>
                <a:gd name="connsiteX1" fmla="*/ 1626878 w 3744357"/>
                <a:gd name="connsiteY1" fmla="*/ 3265586 h 4778805"/>
                <a:gd name="connsiteX2" fmla="*/ 1039028 w 3744357"/>
                <a:gd name="connsiteY2" fmla="*/ 3649267 h 4778805"/>
                <a:gd name="connsiteX3" fmla="*/ 1582000 w 3744357"/>
                <a:gd name="connsiteY3" fmla="*/ 4095837 h 4778805"/>
                <a:gd name="connsiteX4" fmla="*/ 1858153 w 3744357"/>
                <a:gd name="connsiteY4" fmla="*/ 4448668 h 4778805"/>
                <a:gd name="connsiteX5" fmla="*/ 2154202 w 3744357"/>
                <a:gd name="connsiteY5" fmla="*/ 4101448 h 4778805"/>
                <a:gd name="connsiteX6" fmla="*/ 2705328 w 3744357"/>
                <a:gd name="connsiteY6" fmla="*/ 3660488 h 4778805"/>
                <a:gd name="connsiteX7" fmla="*/ 2103712 w 3744357"/>
                <a:gd name="connsiteY7" fmla="*/ 3276806 h 4778805"/>
                <a:gd name="connsiteX8" fmla="*/ 1844100 w 3744357"/>
                <a:gd name="connsiteY8" fmla="*/ 3166086 h 4778805"/>
                <a:gd name="connsiteX9" fmla="*/ 2501720 w 3744357"/>
                <a:gd name="connsiteY9" fmla="*/ 2463001 h 4778805"/>
                <a:gd name="connsiteX10" fmla="*/ 2338789 w 3744357"/>
                <a:gd name="connsiteY10" fmla="*/ 2729701 h 4778805"/>
                <a:gd name="connsiteX11" fmla="*/ 2501720 w 3744357"/>
                <a:gd name="connsiteY11" fmla="*/ 2996401 h 4778805"/>
                <a:gd name="connsiteX12" fmla="*/ 2664651 w 3744357"/>
                <a:gd name="connsiteY12" fmla="*/ 2729701 h 4778805"/>
                <a:gd name="connsiteX13" fmla="*/ 2501720 w 3744357"/>
                <a:gd name="connsiteY13" fmla="*/ 2463001 h 4778805"/>
                <a:gd name="connsiteX14" fmla="*/ 1288645 w 3744357"/>
                <a:gd name="connsiteY14" fmla="*/ 2441074 h 4778805"/>
                <a:gd name="connsiteX15" fmla="*/ 1125714 w 3744357"/>
                <a:gd name="connsiteY15" fmla="*/ 2707774 h 4778805"/>
                <a:gd name="connsiteX16" fmla="*/ 1288645 w 3744357"/>
                <a:gd name="connsiteY16" fmla="*/ 2974474 h 4778805"/>
                <a:gd name="connsiteX17" fmla="*/ 1451576 w 3744357"/>
                <a:gd name="connsiteY17" fmla="*/ 2707774 h 4778805"/>
                <a:gd name="connsiteX18" fmla="*/ 1288645 w 3744357"/>
                <a:gd name="connsiteY18" fmla="*/ 2441074 h 4778805"/>
                <a:gd name="connsiteX19" fmla="*/ 1511545 w 3744357"/>
                <a:gd name="connsiteY19" fmla="*/ 250337 h 4778805"/>
                <a:gd name="connsiteX20" fmla="*/ 1397746 w 3744357"/>
                <a:gd name="connsiteY20" fmla="*/ 375046 h 4778805"/>
                <a:gd name="connsiteX21" fmla="*/ 1750441 w 3744357"/>
                <a:gd name="connsiteY21" fmla="*/ 1083648 h 4778805"/>
                <a:gd name="connsiteX22" fmla="*/ 1219219 w 3744357"/>
                <a:gd name="connsiteY22" fmla="*/ 1041252 h 4778805"/>
                <a:gd name="connsiteX23" fmla="*/ 1558853 w 3744357"/>
                <a:gd name="connsiteY23" fmla="*/ 1754209 h 4778805"/>
                <a:gd name="connsiteX24" fmla="*/ 1937676 w 3744357"/>
                <a:gd name="connsiteY24" fmla="*/ 2595731 h 4778805"/>
                <a:gd name="connsiteX25" fmla="*/ 2333917 w 3744357"/>
                <a:gd name="connsiteY25" fmla="*/ 1346052 h 4778805"/>
                <a:gd name="connsiteX26" fmla="*/ 1511545 w 3744357"/>
                <a:gd name="connsiteY26" fmla="*/ 250337 h 4778805"/>
                <a:gd name="connsiteX27" fmla="*/ 1527186 w 3744357"/>
                <a:gd name="connsiteY27" fmla="*/ 10 h 4778805"/>
                <a:gd name="connsiteX28" fmla="*/ 2586972 w 3744357"/>
                <a:gd name="connsiteY28" fmla="*/ 1535354 h 4778805"/>
                <a:gd name="connsiteX29" fmla="*/ 2585322 w 3744357"/>
                <a:gd name="connsiteY29" fmla="*/ 1566674 h 4778805"/>
                <a:gd name="connsiteX30" fmla="*/ 2759536 w 3744357"/>
                <a:gd name="connsiteY30" fmla="*/ 1696181 h 4778805"/>
                <a:gd name="connsiteX31" fmla="*/ 3230804 w 3744357"/>
                <a:gd name="connsiteY31" fmla="*/ 2535024 h 4778805"/>
                <a:gd name="connsiteX32" fmla="*/ 3247779 w 3744357"/>
                <a:gd name="connsiteY32" fmla="*/ 2654336 h 4778805"/>
                <a:gd name="connsiteX33" fmla="*/ 3258670 w 3744357"/>
                <a:gd name="connsiteY33" fmla="*/ 2647234 h 4778805"/>
                <a:gd name="connsiteX34" fmla="*/ 3744258 w 3744357"/>
                <a:gd name="connsiteY34" fmla="*/ 3443225 h 4778805"/>
                <a:gd name="connsiteX35" fmla="*/ 1887070 w 3744357"/>
                <a:gd name="connsiteY35" fmla="*/ 4778805 h 4778805"/>
                <a:gd name="connsiteX36" fmla="*/ 0 w 3744357"/>
                <a:gd name="connsiteY36" fmla="*/ 3371507 h 4778805"/>
                <a:gd name="connsiteX37" fmla="*/ 497855 w 3744357"/>
                <a:gd name="connsiteY37" fmla="*/ 2890177 h 4778805"/>
                <a:gd name="connsiteX38" fmla="*/ 518332 w 3744357"/>
                <a:gd name="connsiteY38" fmla="*/ 2770767 h 4778805"/>
                <a:gd name="connsiteX39" fmla="*/ 519664 w 3744357"/>
                <a:gd name="connsiteY39" fmla="*/ 2742461 h 4778805"/>
                <a:gd name="connsiteX40" fmla="*/ 521446 w 3744357"/>
                <a:gd name="connsiteY40" fmla="*/ 2647234 h 4778805"/>
                <a:gd name="connsiteX41" fmla="*/ 526895 w 3744357"/>
                <a:gd name="connsiteY41" fmla="*/ 2650589 h 4778805"/>
                <a:gd name="connsiteX42" fmla="*/ 543336 w 3744357"/>
                <a:gd name="connsiteY42" fmla="*/ 2535024 h 4778805"/>
                <a:gd name="connsiteX43" fmla="*/ 1014606 w 3744357"/>
                <a:gd name="connsiteY43" fmla="*/ 1696181 h 4778805"/>
                <a:gd name="connsiteX44" fmla="*/ 1172482 w 3744357"/>
                <a:gd name="connsiteY44" fmla="*/ 1578820 h 4778805"/>
                <a:gd name="connsiteX45" fmla="*/ 1121188 w 3744357"/>
                <a:gd name="connsiteY45" fmla="*/ 1490911 h 4778805"/>
                <a:gd name="connsiteX46" fmla="*/ 1156763 w 3744357"/>
                <a:gd name="connsiteY46" fmla="*/ 722279 h 4778805"/>
                <a:gd name="connsiteX47" fmla="*/ 1263744 w 3744357"/>
                <a:gd name="connsiteY47" fmla="*/ 165468 h 4778805"/>
                <a:gd name="connsiteX48" fmla="*/ 1527186 w 3744357"/>
                <a:gd name="connsiteY48" fmla="*/ 10 h 477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744357" h="4778805">
                  <a:moveTo>
                    <a:pt x="1844100" y="3166086"/>
                  </a:moveTo>
                  <a:cubicBezTo>
                    <a:pt x="1759255" y="3169942"/>
                    <a:pt x="1681476" y="3208836"/>
                    <a:pt x="1626878" y="3265586"/>
                  </a:cubicBezTo>
                  <a:cubicBezTo>
                    <a:pt x="1427926" y="3496893"/>
                    <a:pt x="1087647" y="3499673"/>
                    <a:pt x="1039028" y="3649267"/>
                  </a:cubicBezTo>
                  <a:cubicBezTo>
                    <a:pt x="1052117" y="3821301"/>
                    <a:pt x="1280924" y="3947645"/>
                    <a:pt x="1582000" y="4095837"/>
                  </a:cubicBezTo>
                  <a:cubicBezTo>
                    <a:pt x="1787708" y="4288908"/>
                    <a:pt x="1784290" y="4403789"/>
                    <a:pt x="1858153" y="4448668"/>
                  </a:cubicBezTo>
                  <a:cubicBezTo>
                    <a:pt x="1948846" y="4392570"/>
                    <a:pt x="2028900" y="4230006"/>
                    <a:pt x="2154202" y="4101448"/>
                  </a:cubicBezTo>
                  <a:cubicBezTo>
                    <a:pt x="2380480" y="3871913"/>
                    <a:pt x="2582846" y="3932566"/>
                    <a:pt x="2705328" y="3660488"/>
                  </a:cubicBezTo>
                  <a:cubicBezTo>
                    <a:pt x="2636862" y="3483878"/>
                    <a:pt x="2346819" y="3577399"/>
                    <a:pt x="2103712" y="3276806"/>
                  </a:cubicBezTo>
                  <a:cubicBezTo>
                    <a:pt x="2020854" y="3193410"/>
                    <a:pt x="1928944" y="3162229"/>
                    <a:pt x="1844100" y="3166086"/>
                  </a:cubicBezTo>
                  <a:close/>
                  <a:moveTo>
                    <a:pt x="2501720" y="2463001"/>
                  </a:moveTo>
                  <a:cubicBezTo>
                    <a:pt x="2411736" y="2463001"/>
                    <a:pt x="2338789" y="2582407"/>
                    <a:pt x="2338789" y="2729701"/>
                  </a:cubicBezTo>
                  <a:cubicBezTo>
                    <a:pt x="2338789" y="2876995"/>
                    <a:pt x="2411736" y="2996401"/>
                    <a:pt x="2501720" y="2996401"/>
                  </a:cubicBezTo>
                  <a:cubicBezTo>
                    <a:pt x="2591704" y="2996401"/>
                    <a:pt x="2664651" y="2876995"/>
                    <a:pt x="2664651" y="2729701"/>
                  </a:cubicBezTo>
                  <a:cubicBezTo>
                    <a:pt x="2664651" y="2582407"/>
                    <a:pt x="2591704" y="2463001"/>
                    <a:pt x="2501720" y="2463001"/>
                  </a:cubicBezTo>
                  <a:close/>
                  <a:moveTo>
                    <a:pt x="1288645" y="2441074"/>
                  </a:moveTo>
                  <a:cubicBezTo>
                    <a:pt x="1198661" y="2441074"/>
                    <a:pt x="1125714" y="2560480"/>
                    <a:pt x="1125714" y="2707774"/>
                  </a:cubicBezTo>
                  <a:cubicBezTo>
                    <a:pt x="1125714" y="2855068"/>
                    <a:pt x="1198661" y="2974474"/>
                    <a:pt x="1288645" y="2974474"/>
                  </a:cubicBezTo>
                  <a:cubicBezTo>
                    <a:pt x="1378629" y="2974474"/>
                    <a:pt x="1451576" y="2855068"/>
                    <a:pt x="1451576" y="2707774"/>
                  </a:cubicBezTo>
                  <a:cubicBezTo>
                    <a:pt x="1451576" y="2560480"/>
                    <a:pt x="1378629" y="2441074"/>
                    <a:pt x="1288645" y="2441074"/>
                  </a:cubicBezTo>
                  <a:close/>
                  <a:moveTo>
                    <a:pt x="1511545" y="250337"/>
                  </a:moveTo>
                  <a:cubicBezTo>
                    <a:pt x="1458043" y="257605"/>
                    <a:pt x="1417613" y="296705"/>
                    <a:pt x="1397746" y="375046"/>
                  </a:cubicBezTo>
                  <a:cubicBezTo>
                    <a:pt x="1326626" y="766741"/>
                    <a:pt x="1833898" y="775219"/>
                    <a:pt x="1750441" y="1083648"/>
                  </a:cubicBezTo>
                  <a:cubicBezTo>
                    <a:pt x="1632150" y="1200488"/>
                    <a:pt x="1307030" y="834233"/>
                    <a:pt x="1219219" y="1041252"/>
                  </a:cubicBezTo>
                  <a:cubicBezTo>
                    <a:pt x="1124876" y="1160270"/>
                    <a:pt x="1378150" y="1495129"/>
                    <a:pt x="1558853" y="1754209"/>
                  </a:cubicBezTo>
                  <a:cubicBezTo>
                    <a:pt x="1704722" y="2013289"/>
                    <a:pt x="1804144" y="2663757"/>
                    <a:pt x="1937676" y="2595731"/>
                  </a:cubicBezTo>
                  <a:cubicBezTo>
                    <a:pt x="2219253" y="2498486"/>
                    <a:pt x="2307791" y="1940694"/>
                    <a:pt x="2333917" y="1346052"/>
                  </a:cubicBezTo>
                  <a:cubicBezTo>
                    <a:pt x="2220706" y="785073"/>
                    <a:pt x="1743390" y="218842"/>
                    <a:pt x="1511545" y="250337"/>
                  </a:cubicBezTo>
                  <a:close/>
                  <a:moveTo>
                    <a:pt x="1527186" y="10"/>
                  </a:moveTo>
                  <a:cubicBezTo>
                    <a:pt x="1946665" y="3209"/>
                    <a:pt x="2571220" y="824316"/>
                    <a:pt x="2586972" y="1535354"/>
                  </a:cubicBezTo>
                  <a:lnTo>
                    <a:pt x="2585322" y="1566674"/>
                  </a:lnTo>
                  <a:lnTo>
                    <a:pt x="2759536" y="1696181"/>
                  </a:lnTo>
                  <a:cubicBezTo>
                    <a:pt x="2996629" y="1906079"/>
                    <a:pt x="3166856" y="2199787"/>
                    <a:pt x="3230804" y="2535024"/>
                  </a:cubicBezTo>
                  <a:lnTo>
                    <a:pt x="3247779" y="2654336"/>
                  </a:lnTo>
                  <a:lnTo>
                    <a:pt x="3258670" y="2647234"/>
                  </a:lnTo>
                  <a:cubicBezTo>
                    <a:pt x="3301252" y="3362133"/>
                    <a:pt x="3554505" y="3422645"/>
                    <a:pt x="3744258" y="3443225"/>
                  </a:cubicBezTo>
                  <a:cubicBezTo>
                    <a:pt x="3754717" y="4109264"/>
                    <a:pt x="2939172" y="4778805"/>
                    <a:pt x="1887070" y="4778805"/>
                  </a:cubicBezTo>
                  <a:cubicBezTo>
                    <a:pt x="834968" y="4778805"/>
                    <a:pt x="0" y="4201547"/>
                    <a:pt x="0" y="3371507"/>
                  </a:cubicBezTo>
                  <a:cubicBezTo>
                    <a:pt x="263338" y="3387448"/>
                    <a:pt x="436328" y="3141123"/>
                    <a:pt x="497855" y="2890177"/>
                  </a:cubicBezTo>
                  <a:lnTo>
                    <a:pt x="518332" y="2770767"/>
                  </a:lnTo>
                  <a:lnTo>
                    <a:pt x="519664" y="2742461"/>
                  </a:lnTo>
                  <a:lnTo>
                    <a:pt x="521446" y="2647234"/>
                  </a:lnTo>
                  <a:lnTo>
                    <a:pt x="526895" y="2650589"/>
                  </a:lnTo>
                  <a:lnTo>
                    <a:pt x="543336" y="2535024"/>
                  </a:lnTo>
                  <a:cubicBezTo>
                    <a:pt x="607284" y="2199787"/>
                    <a:pt x="777512" y="1906079"/>
                    <a:pt x="1014606" y="1696181"/>
                  </a:cubicBezTo>
                  <a:lnTo>
                    <a:pt x="1172482" y="1578820"/>
                  </a:lnTo>
                  <a:lnTo>
                    <a:pt x="1121188" y="1490911"/>
                  </a:lnTo>
                  <a:cubicBezTo>
                    <a:pt x="758569" y="817536"/>
                    <a:pt x="1130171" y="759860"/>
                    <a:pt x="1156763" y="722279"/>
                  </a:cubicBezTo>
                  <a:cubicBezTo>
                    <a:pt x="1149655" y="567939"/>
                    <a:pt x="1061403" y="425648"/>
                    <a:pt x="1263744" y="165468"/>
                  </a:cubicBezTo>
                  <a:cubicBezTo>
                    <a:pt x="1330263" y="49529"/>
                    <a:pt x="1422316" y="-790"/>
                    <a:pt x="1527186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1018478" y="-198282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-40452" y="2181193"/>
            <a:ext cx="792000" cy="792000"/>
            <a:chOff x="716550" y="-1415220"/>
            <a:chExt cx="792000" cy="792000"/>
          </a:xfrm>
        </p:grpSpPr>
        <p:sp>
          <p:nvSpPr>
            <p:cNvPr id="84" name="Freeform 83"/>
            <p:cNvSpPr/>
            <p:nvPr/>
          </p:nvSpPr>
          <p:spPr>
            <a:xfrm>
              <a:off x="762608" y="-1313180"/>
              <a:ext cx="699884" cy="587920"/>
            </a:xfrm>
            <a:custGeom>
              <a:avLst/>
              <a:gdLst>
                <a:gd name="connsiteX0" fmla="*/ 2495017 w 4394828"/>
                <a:gd name="connsiteY0" fmla="*/ 3112582 h 3691763"/>
                <a:gd name="connsiteX1" fmla="*/ 2567645 w 4394828"/>
                <a:gd name="connsiteY1" fmla="*/ 3194735 h 3691763"/>
                <a:gd name="connsiteX2" fmla="*/ 2495017 w 4394828"/>
                <a:gd name="connsiteY2" fmla="*/ 3276888 h 3691763"/>
                <a:gd name="connsiteX3" fmla="*/ 2422389 w 4394828"/>
                <a:gd name="connsiteY3" fmla="*/ 3194735 h 3691763"/>
                <a:gd name="connsiteX4" fmla="*/ 2495017 w 4394828"/>
                <a:gd name="connsiteY4" fmla="*/ 3112582 h 3691763"/>
                <a:gd name="connsiteX5" fmla="*/ 1937804 w 4394828"/>
                <a:gd name="connsiteY5" fmla="*/ 3112582 h 3691763"/>
                <a:gd name="connsiteX6" fmla="*/ 2010432 w 4394828"/>
                <a:gd name="connsiteY6" fmla="*/ 3194735 h 3691763"/>
                <a:gd name="connsiteX7" fmla="*/ 1937804 w 4394828"/>
                <a:gd name="connsiteY7" fmla="*/ 3276888 h 3691763"/>
                <a:gd name="connsiteX8" fmla="*/ 1865176 w 4394828"/>
                <a:gd name="connsiteY8" fmla="*/ 3194735 h 3691763"/>
                <a:gd name="connsiteX9" fmla="*/ 1937804 w 4394828"/>
                <a:gd name="connsiteY9" fmla="*/ 3112582 h 3691763"/>
                <a:gd name="connsiteX10" fmla="*/ 1894514 w 4394828"/>
                <a:gd name="connsiteY10" fmla="*/ 2924281 h 3691763"/>
                <a:gd name="connsiteX11" fmla="*/ 1660890 w 4394828"/>
                <a:gd name="connsiteY11" fmla="*/ 3193074 h 3691763"/>
                <a:gd name="connsiteX12" fmla="*/ 1894514 w 4394828"/>
                <a:gd name="connsiteY12" fmla="*/ 3461867 h 3691763"/>
                <a:gd name="connsiteX13" fmla="*/ 1985451 w 4394828"/>
                <a:gd name="connsiteY13" fmla="*/ 3440744 h 3691763"/>
                <a:gd name="connsiteX14" fmla="*/ 2421244 w 4394828"/>
                <a:gd name="connsiteY14" fmla="*/ 3440744 h 3691763"/>
                <a:gd name="connsiteX15" fmla="*/ 2512181 w 4394828"/>
                <a:gd name="connsiteY15" fmla="*/ 3461867 h 3691763"/>
                <a:gd name="connsiteX16" fmla="*/ 2745805 w 4394828"/>
                <a:gd name="connsiteY16" fmla="*/ 3193074 h 3691763"/>
                <a:gd name="connsiteX17" fmla="*/ 2512181 w 4394828"/>
                <a:gd name="connsiteY17" fmla="*/ 2924281 h 3691763"/>
                <a:gd name="connsiteX18" fmla="*/ 2381560 w 4394828"/>
                <a:gd name="connsiteY18" fmla="*/ 2970186 h 3691763"/>
                <a:gd name="connsiteX19" fmla="*/ 2025136 w 4394828"/>
                <a:gd name="connsiteY19" fmla="*/ 2970186 h 3691763"/>
                <a:gd name="connsiteX20" fmla="*/ 1894514 w 4394828"/>
                <a:gd name="connsiteY20" fmla="*/ 2924281 h 3691763"/>
                <a:gd name="connsiteX21" fmla="*/ 2891501 w 4394828"/>
                <a:gd name="connsiteY21" fmla="*/ 1873831 h 3691763"/>
                <a:gd name="connsiteX22" fmla="*/ 2747122 w 4394828"/>
                <a:gd name="connsiteY22" fmla="*/ 2018210 h 3691763"/>
                <a:gd name="connsiteX23" fmla="*/ 2891501 w 4394828"/>
                <a:gd name="connsiteY23" fmla="*/ 2162589 h 3691763"/>
                <a:gd name="connsiteX24" fmla="*/ 3035880 w 4394828"/>
                <a:gd name="connsiteY24" fmla="*/ 2018210 h 3691763"/>
                <a:gd name="connsiteX25" fmla="*/ 2891501 w 4394828"/>
                <a:gd name="connsiteY25" fmla="*/ 1873831 h 3691763"/>
                <a:gd name="connsiteX26" fmla="*/ 1532554 w 4394828"/>
                <a:gd name="connsiteY26" fmla="*/ 1873831 h 3691763"/>
                <a:gd name="connsiteX27" fmla="*/ 1388175 w 4394828"/>
                <a:gd name="connsiteY27" fmla="*/ 2018210 h 3691763"/>
                <a:gd name="connsiteX28" fmla="*/ 1532554 w 4394828"/>
                <a:gd name="connsiteY28" fmla="*/ 2162589 h 3691763"/>
                <a:gd name="connsiteX29" fmla="*/ 1676933 w 4394828"/>
                <a:gd name="connsiteY29" fmla="*/ 2018210 h 3691763"/>
                <a:gd name="connsiteX30" fmla="*/ 1532554 w 4394828"/>
                <a:gd name="connsiteY30" fmla="*/ 1873831 h 3691763"/>
                <a:gd name="connsiteX31" fmla="*/ 1945571 w 4394828"/>
                <a:gd name="connsiteY31" fmla="*/ 930623 h 3691763"/>
                <a:gd name="connsiteX32" fmla="*/ 1881784 w 4394828"/>
                <a:gd name="connsiteY32" fmla="*/ 937982 h 3691763"/>
                <a:gd name="connsiteX33" fmla="*/ 1706856 w 4394828"/>
                <a:gd name="connsiteY33" fmla="*/ 1144715 h 3691763"/>
                <a:gd name="connsiteX34" fmla="*/ 2048762 w 4394828"/>
                <a:gd name="connsiteY34" fmla="*/ 2623658 h 3691763"/>
                <a:gd name="connsiteX35" fmla="*/ 2353059 w 4394828"/>
                <a:gd name="connsiteY35" fmla="*/ 2637249 h 3691763"/>
                <a:gd name="connsiteX36" fmla="*/ 2747052 w 4394828"/>
                <a:gd name="connsiteY36" fmla="*/ 1149938 h 3691763"/>
                <a:gd name="connsiteX37" fmla="*/ 2577523 w 4394828"/>
                <a:gd name="connsiteY37" fmla="*/ 949909 h 3691763"/>
                <a:gd name="connsiteX38" fmla="*/ 2201984 w 4394828"/>
                <a:gd name="connsiteY38" fmla="*/ 974595 h 3691763"/>
                <a:gd name="connsiteX39" fmla="*/ 1945571 w 4394828"/>
                <a:gd name="connsiteY39" fmla="*/ 930623 h 3691763"/>
                <a:gd name="connsiteX40" fmla="*/ 3817991 w 4394828"/>
                <a:gd name="connsiteY40" fmla="*/ 357 h 3691763"/>
                <a:gd name="connsiteX41" fmla="*/ 3901015 w 4394828"/>
                <a:gd name="connsiteY41" fmla="*/ 73114 h 3691763"/>
                <a:gd name="connsiteX42" fmla="*/ 3715898 w 4394828"/>
                <a:gd name="connsiteY42" fmla="*/ 906013 h 3691763"/>
                <a:gd name="connsiteX43" fmla="*/ 3638080 w 4394828"/>
                <a:gd name="connsiteY43" fmla="*/ 964270 h 3691763"/>
                <a:gd name="connsiteX44" fmla="*/ 3594348 w 4394828"/>
                <a:gd name="connsiteY44" fmla="*/ 1092807 h 3691763"/>
                <a:gd name="connsiteX45" fmla="*/ 3863244 w 4394828"/>
                <a:gd name="connsiteY45" fmla="*/ 1062853 h 3691763"/>
                <a:gd name="connsiteX46" fmla="*/ 4394828 w 4394828"/>
                <a:gd name="connsiteY46" fmla="*/ 1203682 h 3691763"/>
                <a:gd name="connsiteX47" fmla="*/ 3810256 w 4394828"/>
                <a:gd name="connsiteY47" fmla="*/ 1619054 h 3691763"/>
                <a:gd name="connsiteX48" fmla="*/ 3454949 w 4394828"/>
                <a:gd name="connsiteY48" fmla="*/ 1684775 h 3691763"/>
                <a:gd name="connsiteX49" fmla="*/ 3426818 w 4394828"/>
                <a:gd name="connsiteY49" fmla="*/ 1680664 h 3691763"/>
                <a:gd name="connsiteX50" fmla="*/ 3425462 w 4394828"/>
                <a:gd name="connsiteY50" fmla="*/ 1709642 h 3691763"/>
                <a:gd name="connsiteX51" fmla="*/ 2982571 w 4394828"/>
                <a:gd name="connsiteY51" fmla="*/ 2697467 h 3691763"/>
                <a:gd name="connsiteX52" fmla="*/ 2890958 w 4394828"/>
                <a:gd name="connsiteY52" fmla="*/ 2776512 h 3691763"/>
                <a:gd name="connsiteX53" fmla="*/ 2890958 w 4394828"/>
                <a:gd name="connsiteY53" fmla="*/ 3253488 h 3691763"/>
                <a:gd name="connsiteX54" fmla="*/ 2223593 w 4394828"/>
                <a:gd name="connsiteY54" fmla="*/ 3691763 h 3691763"/>
                <a:gd name="connsiteX55" fmla="*/ 1556228 w 4394828"/>
                <a:gd name="connsiteY55" fmla="*/ 3253488 h 3691763"/>
                <a:gd name="connsiteX56" fmla="*/ 1548854 w 4394828"/>
                <a:gd name="connsiteY56" fmla="*/ 2820715 h 3691763"/>
                <a:gd name="connsiteX57" fmla="*/ 1406010 w 4394828"/>
                <a:gd name="connsiteY57" fmla="*/ 2697467 h 3691763"/>
                <a:gd name="connsiteX58" fmla="*/ 963119 w 4394828"/>
                <a:gd name="connsiteY58" fmla="*/ 1709642 h 3691763"/>
                <a:gd name="connsiteX59" fmla="*/ 962670 w 4394828"/>
                <a:gd name="connsiteY59" fmla="*/ 1700051 h 3691763"/>
                <a:gd name="connsiteX60" fmla="*/ 959116 w 4394828"/>
                <a:gd name="connsiteY60" fmla="*/ 1699742 h 3691763"/>
                <a:gd name="connsiteX61" fmla="*/ 663139 w 4394828"/>
                <a:gd name="connsiteY61" fmla="*/ 1633000 h 3691763"/>
                <a:gd name="connsiteX62" fmla="*/ 0 w 4394828"/>
                <a:gd name="connsiteY62" fmla="*/ 1199553 h 3691763"/>
                <a:gd name="connsiteX63" fmla="*/ 783302 w 4394828"/>
                <a:gd name="connsiteY63" fmla="*/ 1093147 h 3691763"/>
                <a:gd name="connsiteX64" fmla="*/ 869540 w 4394828"/>
                <a:gd name="connsiteY64" fmla="*/ 1114289 h 3691763"/>
                <a:gd name="connsiteX65" fmla="*/ 898646 w 4394828"/>
                <a:gd name="connsiteY65" fmla="*/ 1110692 h 3691763"/>
                <a:gd name="connsiteX66" fmla="*/ 870817 w 4394828"/>
                <a:gd name="connsiteY66" fmla="*/ 1027543 h 3691763"/>
                <a:gd name="connsiteX67" fmla="*/ 765918 w 4394828"/>
                <a:gd name="connsiteY67" fmla="*/ 957680 h 3691763"/>
                <a:gd name="connsiteX68" fmla="*/ 545966 w 4394828"/>
                <a:gd name="connsiteY68" fmla="*/ 77283 h 3691763"/>
                <a:gd name="connsiteX69" fmla="*/ 644614 w 4394828"/>
                <a:gd name="connsiteY69" fmla="*/ 377 h 3691763"/>
                <a:gd name="connsiteX70" fmla="*/ 666616 w 4394828"/>
                <a:gd name="connsiteY70" fmla="*/ 81790 h 3691763"/>
                <a:gd name="connsiteX71" fmla="*/ 996481 w 4394828"/>
                <a:gd name="connsiteY71" fmla="*/ 585778 h 3691763"/>
                <a:gd name="connsiteX72" fmla="*/ 1519999 w 4394828"/>
                <a:gd name="connsiteY72" fmla="*/ 536442 h 3691763"/>
                <a:gd name="connsiteX73" fmla="*/ 2998941 w 4394828"/>
                <a:gd name="connsiteY73" fmla="*/ 536442 h 3691763"/>
                <a:gd name="connsiteX74" fmla="*/ 3545272 w 4394828"/>
                <a:gd name="connsiteY74" fmla="*/ 572982 h 3691763"/>
                <a:gd name="connsiteX75" fmla="*/ 3799473 w 4394828"/>
                <a:gd name="connsiteY75" fmla="*/ 77377 h 3691763"/>
                <a:gd name="connsiteX76" fmla="*/ 3817991 w 4394828"/>
                <a:gd name="connsiteY76" fmla="*/ 357 h 369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4394828" h="3691763">
                  <a:moveTo>
                    <a:pt x="2495017" y="3112582"/>
                  </a:moveTo>
                  <a:cubicBezTo>
                    <a:pt x="2535128" y="3112582"/>
                    <a:pt x="2567645" y="3149363"/>
                    <a:pt x="2567645" y="3194735"/>
                  </a:cubicBezTo>
                  <a:cubicBezTo>
                    <a:pt x="2567645" y="3240107"/>
                    <a:pt x="2535128" y="3276888"/>
                    <a:pt x="2495017" y="3276888"/>
                  </a:cubicBezTo>
                  <a:cubicBezTo>
                    <a:pt x="2454906" y="3276888"/>
                    <a:pt x="2422389" y="3240107"/>
                    <a:pt x="2422389" y="3194735"/>
                  </a:cubicBezTo>
                  <a:cubicBezTo>
                    <a:pt x="2422389" y="3149363"/>
                    <a:pt x="2454906" y="3112582"/>
                    <a:pt x="2495017" y="3112582"/>
                  </a:cubicBezTo>
                  <a:close/>
                  <a:moveTo>
                    <a:pt x="1937804" y="3112582"/>
                  </a:moveTo>
                  <a:cubicBezTo>
                    <a:pt x="1977915" y="3112582"/>
                    <a:pt x="2010432" y="3149363"/>
                    <a:pt x="2010432" y="3194735"/>
                  </a:cubicBezTo>
                  <a:cubicBezTo>
                    <a:pt x="2010432" y="3240107"/>
                    <a:pt x="1977915" y="3276888"/>
                    <a:pt x="1937804" y="3276888"/>
                  </a:cubicBezTo>
                  <a:cubicBezTo>
                    <a:pt x="1897693" y="3276888"/>
                    <a:pt x="1865176" y="3240107"/>
                    <a:pt x="1865176" y="3194735"/>
                  </a:cubicBezTo>
                  <a:cubicBezTo>
                    <a:pt x="1865176" y="3149363"/>
                    <a:pt x="1897693" y="3112582"/>
                    <a:pt x="1937804" y="3112582"/>
                  </a:cubicBezTo>
                  <a:close/>
                  <a:moveTo>
                    <a:pt x="1894514" y="2924281"/>
                  </a:moveTo>
                  <a:cubicBezTo>
                    <a:pt x="1765487" y="2924281"/>
                    <a:pt x="1660890" y="3044624"/>
                    <a:pt x="1660890" y="3193074"/>
                  </a:cubicBezTo>
                  <a:cubicBezTo>
                    <a:pt x="1660890" y="3341524"/>
                    <a:pt x="1765487" y="3461867"/>
                    <a:pt x="1894514" y="3461867"/>
                  </a:cubicBezTo>
                  <a:cubicBezTo>
                    <a:pt x="1926771" y="3461867"/>
                    <a:pt x="1957501" y="3454346"/>
                    <a:pt x="1985451" y="3440744"/>
                  </a:cubicBezTo>
                  <a:cubicBezTo>
                    <a:pt x="2133096" y="3414550"/>
                    <a:pt x="2280742" y="3416931"/>
                    <a:pt x="2421244" y="3440744"/>
                  </a:cubicBezTo>
                  <a:cubicBezTo>
                    <a:pt x="2449195" y="3454346"/>
                    <a:pt x="2479924" y="3461867"/>
                    <a:pt x="2512181" y="3461867"/>
                  </a:cubicBezTo>
                  <a:cubicBezTo>
                    <a:pt x="2641208" y="3461867"/>
                    <a:pt x="2745805" y="3341524"/>
                    <a:pt x="2745805" y="3193074"/>
                  </a:cubicBezTo>
                  <a:cubicBezTo>
                    <a:pt x="2745805" y="3044624"/>
                    <a:pt x="2641208" y="2924281"/>
                    <a:pt x="2512181" y="2924281"/>
                  </a:cubicBezTo>
                  <a:cubicBezTo>
                    <a:pt x="2463796" y="2924281"/>
                    <a:pt x="2418846" y="2941204"/>
                    <a:pt x="2381560" y="2970186"/>
                  </a:cubicBezTo>
                  <a:cubicBezTo>
                    <a:pt x="2307996" y="3001142"/>
                    <a:pt x="2136800" y="3001142"/>
                    <a:pt x="2025136" y="2970186"/>
                  </a:cubicBezTo>
                  <a:cubicBezTo>
                    <a:pt x="1987849" y="2941204"/>
                    <a:pt x="1942899" y="2924281"/>
                    <a:pt x="1894514" y="2924281"/>
                  </a:cubicBezTo>
                  <a:close/>
                  <a:moveTo>
                    <a:pt x="2891501" y="1873831"/>
                  </a:moveTo>
                  <a:cubicBezTo>
                    <a:pt x="2811763" y="1873831"/>
                    <a:pt x="2747122" y="1938472"/>
                    <a:pt x="2747122" y="2018210"/>
                  </a:cubicBezTo>
                  <a:cubicBezTo>
                    <a:pt x="2747122" y="2097948"/>
                    <a:pt x="2811763" y="2162589"/>
                    <a:pt x="2891501" y="2162589"/>
                  </a:cubicBezTo>
                  <a:cubicBezTo>
                    <a:pt x="2971239" y="2162589"/>
                    <a:pt x="3035880" y="2097948"/>
                    <a:pt x="3035880" y="2018210"/>
                  </a:cubicBezTo>
                  <a:cubicBezTo>
                    <a:pt x="3035880" y="1938472"/>
                    <a:pt x="2971239" y="1873831"/>
                    <a:pt x="2891501" y="1873831"/>
                  </a:cubicBezTo>
                  <a:close/>
                  <a:moveTo>
                    <a:pt x="1532554" y="1873831"/>
                  </a:moveTo>
                  <a:cubicBezTo>
                    <a:pt x="1452816" y="1873831"/>
                    <a:pt x="1388175" y="1938472"/>
                    <a:pt x="1388175" y="2018210"/>
                  </a:cubicBezTo>
                  <a:cubicBezTo>
                    <a:pt x="1388175" y="2097948"/>
                    <a:pt x="1452816" y="2162589"/>
                    <a:pt x="1532554" y="2162589"/>
                  </a:cubicBezTo>
                  <a:cubicBezTo>
                    <a:pt x="1612292" y="2162589"/>
                    <a:pt x="1676933" y="2097948"/>
                    <a:pt x="1676933" y="2018210"/>
                  </a:cubicBezTo>
                  <a:cubicBezTo>
                    <a:pt x="1676933" y="1938472"/>
                    <a:pt x="1612292" y="1873831"/>
                    <a:pt x="1532554" y="1873831"/>
                  </a:cubicBezTo>
                  <a:close/>
                  <a:moveTo>
                    <a:pt x="1945571" y="930623"/>
                  </a:moveTo>
                  <a:cubicBezTo>
                    <a:pt x="1921271" y="928768"/>
                    <a:pt x="1899599" y="930397"/>
                    <a:pt x="1881784" y="937982"/>
                  </a:cubicBezTo>
                  <a:cubicBezTo>
                    <a:pt x="1802575" y="952420"/>
                    <a:pt x="1692651" y="1054393"/>
                    <a:pt x="1706856" y="1144715"/>
                  </a:cubicBezTo>
                  <a:cubicBezTo>
                    <a:pt x="1787031" y="1423011"/>
                    <a:pt x="1980885" y="2612849"/>
                    <a:pt x="2048762" y="2623658"/>
                  </a:cubicBezTo>
                  <a:cubicBezTo>
                    <a:pt x="2157788" y="2726640"/>
                    <a:pt x="2236013" y="2719204"/>
                    <a:pt x="2353059" y="2637249"/>
                  </a:cubicBezTo>
                  <a:cubicBezTo>
                    <a:pt x="2414444" y="2606977"/>
                    <a:pt x="2642055" y="1435137"/>
                    <a:pt x="2747052" y="1149938"/>
                  </a:cubicBezTo>
                  <a:cubicBezTo>
                    <a:pt x="2764585" y="1019790"/>
                    <a:pt x="2676982" y="973170"/>
                    <a:pt x="2577523" y="949909"/>
                  </a:cubicBezTo>
                  <a:cubicBezTo>
                    <a:pt x="2478064" y="926648"/>
                    <a:pt x="2317940" y="976583"/>
                    <a:pt x="2201984" y="974595"/>
                  </a:cubicBezTo>
                  <a:cubicBezTo>
                    <a:pt x="2115017" y="973104"/>
                    <a:pt x="2018470" y="936188"/>
                    <a:pt x="1945571" y="930623"/>
                  </a:cubicBezTo>
                  <a:close/>
                  <a:moveTo>
                    <a:pt x="3817991" y="357"/>
                  </a:moveTo>
                  <a:cubicBezTo>
                    <a:pt x="3833065" y="3214"/>
                    <a:pt x="3858573" y="23553"/>
                    <a:pt x="3901015" y="73114"/>
                  </a:cubicBezTo>
                  <a:cubicBezTo>
                    <a:pt x="3929825" y="117697"/>
                    <a:pt x="4172014" y="526193"/>
                    <a:pt x="3715898" y="906013"/>
                  </a:cubicBezTo>
                  <a:lnTo>
                    <a:pt x="3638080" y="964270"/>
                  </a:lnTo>
                  <a:lnTo>
                    <a:pt x="3594348" y="1092807"/>
                  </a:lnTo>
                  <a:cubicBezTo>
                    <a:pt x="3631875" y="1109237"/>
                    <a:pt x="3729831" y="1044374"/>
                    <a:pt x="3863244" y="1062853"/>
                  </a:cubicBezTo>
                  <a:cubicBezTo>
                    <a:pt x="3996657" y="1081332"/>
                    <a:pt x="4303671" y="1108444"/>
                    <a:pt x="4394828" y="1203682"/>
                  </a:cubicBezTo>
                  <a:cubicBezTo>
                    <a:pt x="4354141" y="1345415"/>
                    <a:pt x="3999253" y="1576734"/>
                    <a:pt x="3810256" y="1619054"/>
                  </a:cubicBezTo>
                  <a:cubicBezTo>
                    <a:pt x="3715757" y="1640214"/>
                    <a:pt x="3571920" y="1686903"/>
                    <a:pt x="3454949" y="1684775"/>
                  </a:cubicBezTo>
                  <a:lnTo>
                    <a:pt x="3426818" y="1680664"/>
                  </a:lnTo>
                  <a:lnTo>
                    <a:pt x="3425462" y="1709642"/>
                  </a:lnTo>
                  <a:cubicBezTo>
                    <a:pt x="3388095" y="2106316"/>
                    <a:pt x="3223564" y="2456102"/>
                    <a:pt x="2982571" y="2697467"/>
                  </a:cubicBezTo>
                  <a:lnTo>
                    <a:pt x="2890958" y="2776512"/>
                  </a:lnTo>
                  <a:lnTo>
                    <a:pt x="2890958" y="3253488"/>
                  </a:lnTo>
                  <a:cubicBezTo>
                    <a:pt x="2890958" y="3495541"/>
                    <a:pt x="2592169" y="3691763"/>
                    <a:pt x="2223593" y="3691763"/>
                  </a:cubicBezTo>
                  <a:cubicBezTo>
                    <a:pt x="1855017" y="3691763"/>
                    <a:pt x="1556228" y="3495541"/>
                    <a:pt x="1556228" y="3253488"/>
                  </a:cubicBezTo>
                  <a:lnTo>
                    <a:pt x="1548854" y="2820715"/>
                  </a:lnTo>
                  <a:lnTo>
                    <a:pt x="1406010" y="2697467"/>
                  </a:lnTo>
                  <a:cubicBezTo>
                    <a:pt x="1165018" y="2456102"/>
                    <a:pt x="1000486" y="2106316"/>
                    <a:pt x="963119" y="1709642"/>
                  </a:cubicBezTo>
                  <a:cubicBezTo>
                    <a:pt x="962969" y="1706445"/>
                    <a:pt x="962820" y="1703248"/>
                    <a:pt x="962670" y="1700051"/>
                  </a:cubicBezTo>
                  <a:lnTo>
                    <a:pt x="959116" y="1699742"/>
                  </a:lnTo>
                  <a:cubicBezTo>
                    <a:pt x="853563" y="1683912"/>
                    <a:pt x="742676" y="1650863"/>
                    <a:pt x="663139" y="1633000"/>
                  </a:cubicBezTo>
                  <a:cubicBezTo>
                    <a:pt x="451039" y="1585365"/>
                    <a:pt x="48975" y="1343193"/>
                    <a:pt x="0" y="1199553"/>
                  </a:cubicBezTo>
                  <a:cubicBezTo>
                    <a:pt x="132546" y="1075099"/>
                    <a:pt x="571202" y="1045513"/>
                    <a:pt x="783302" y="1093147"/>
                  </a:cubicBezTo>
                  <a:cubicBezTo>
                    <a:pt x="809815" y="1099102"/>
                    <a:pt x="838989" y="1106119"/>
                    <a:pt x="869540" y="1114289"/>
                  </a:cubicBezTo>
                  <a:lnTo>
                    <a:pt x="898646" y="1110692"/>
                  </a:lnTo>
                  <a:lnTo>
                    <a:pt x="870817" y="1027543"/>
                  </a:lnTo>
                  <a:lnTo>
                    <a:pt x="765918" y="957680"/>
                  </a:lnTo>
                  <a:cubicBezTo>
                    <a:pt x="223972" y="556200"/>
                    <a:pt x="511735" y="124409"/>
                    <a:pt x="545966" y="77283"/>
                  </a:cubicBezTo>
                  <a:cubicBezTo>
                    <a:pt x="596395" y="24896"/>
                    <a:pt x="626703" y="3398"/>
                    <a:pt x="644614" y="377"/>
                  </a:cubicBezTo>
                  <a:cubicBezTo>
                    <a:pt x="674466" y="-4658"/>
                    <a:pt x="669881" y="41634"/>
                    <a:pt x="666616" y="81790"/>
                  </a:cubicBezTo>
                  <a:cubicBezTo>
                    <a:pt x="664568" y="342890"/>
                    <a:pt x="802806" y="504915"/>
                    <a:pt x="996481" y="585778"/>
                  </a:cubicBezTo>
                  <a:cubicBezTo>
                    <a:pt x="1171179" y="633725"/>
                    <a:pt x="1332691" y="575807"/>
                    <a:pt x="1519999" y="536442"/>
                  </a:cubicBezTo>
                  <a:cubicBezTo>
                    <a:pt x="1949821" y="640200"/>
                    <a:pt x="2642180" y="586010"/>
                    <a:pt x="2998941" y="536442"/>
                  </a:cubicBezTo>
                  <a:cubicBezTo>
                    <a:pt x="3181051" y="596329"/>
                    <a:pt x="3371113" y="596583"/>
                    <a:pt x="3545272" y="572982"/>
                  </a:cubicBezTo>
                  <a:cubicBezTo>
                    <a:pt x="3708274" y="496481"/>
                    <a:pt x="3801197" y="324391"/>
                    <a:pt x="3799473" y="77377"/>
                  </a:cubicBezTo>
                  <a:cubicBezTo>
                    <a:pt x="3796726" y="39388"/>
                    <a:pt x="3792867" y="-4406"/>
                    <a:pt x="3817991" y="3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716550" y="-141522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1382802" y="2181193"/>
            <a:ext cx="792000" cy="792000"/>
            <a:chOff x="523406" y="-1979113"/>
            <a:chExt cx="792000" cy="792000"/>
          </a:xfrm>
        </p:grpSpPr>
        <p:sp>
          <p:nvSpPr>
            <p:cNvPr id="85" name="Freeform 84"/>
            <p:cNvSpPr/>
            <p:nvPr/>
          </p:nvSpPr>
          <p:spPr>
            <a:xfrm>
              <a:off x="543625" y="-1876354"/>
              <a:ext cx="751562" cy="586483"/>
            </a:xfrm>
            <a:custGeom>
              <a:avLst/>
              <a:gdLst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1114 w 3082823"/>
                <a:gd name="connsiteY46" fmla="*/ 1719693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5877 w 3082823"/>
                <a:gd name="connsiteY46" fmla="*/ 1703024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25877 w 3082823"/>
                <a:gd name="connsiteY46" fmla="*/ 1703024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5884 w 3082823"/>
                <a:gd name="connsiteY46" fmla="*/ 170778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5884 w 3082823"/>
                <a:gd name="connsiteY46" fmla="*/ 170778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  <a:gd name="connsiteX0" fmla="*/ 1695557 w 3082823"/>
                <a:gd name="connsiteY0" fmla="*/ 1655538 h 2405686"/>
                <a:gd name="connsiteX1" fmla="*/ 1796836 w 3082823"/>
                <a:gd name="connsiteY1" fmla="*/ 1767509 h 2405686"/>
                <a:gd name="connsiteX2" fmla="*/ 1549067 w 3082823"/>
                <a:gd name="connsiteY2" fmla="*/ 2068079 h 2405686"/>
                <a:gd name="connsiteX3" fmla="*/ 1510677 w 3082823"/>
                <a:gd name="connsiteY3" fmla="*/ 2066260 h 2405686"/>
                <a:gd name="connsiteX4" fmla="*/ 1288140 w 3082823"/>
                <a:gd name="connsiteY4" fmla="*/ 1788940 h 2405686"/>
                <a:gd name="connsiteX5" fmla="*/ 1378182 w 3082823"/>
                <a:gd name="connsiteY5" fmla="*/ 1658176 h 2405686"/>
                <a:gd name="connsiteX6" fmla="*/ 1695557 w 3082823"/>
                <a:gd name="connsiteY6" fmla="*/ 1655538 h 2405686"/>
                <a:gd name="connsiteX7" fmla="*/ 2034905 w 3082823"/>
                <a:gd name="connsiteY7" fmla="*/ 971806 h 2405686"/>
                <a:gd name="connsiteX8" fmla="*/ 2133330 w 3082823"/>
                <a:gd name="connsiteY8" fmla="*/ 1070231 h 2405686"/>
                <a:gd name="connsiteX9" fmla="*/ 2034905 w 3082823"/>
                <a:gd name="connsiteY9" fmla="*/ 1168656 h 2405686"/>
                <a:gd name="connsiteX10" fmla="*/ 1936480 w 3082823"/>
                <a:gd name="connsiteY10" fmla="*/ 1070231 h 2405686"/>
                <a:gd name="connsiteX11" fmla="*/ 2034905 w 3082823"/>
                <a:gd name="connsiteY11" fmla="*/ 971806 h 2405686"/>
                <a:gd name="connsiteX12" fmla="*/ 1028318 w 3082823"/>
                <a:gd name="connsiteY12" fmla="*/ 971806 h 2405686"/>
                <a:gd name="connsiteX13" fmla="*/ 1126743 w 3082823"/>
                <a:gd name="connsiteY13" fmla="*/ 1070231 h 2405686"/>
                <a:gd name="connsiteX14" fmla="*/ 1028318 w 3082823"/>
                <a:gd name="connsiteY14" fmla="*/ 1168656 h 2405686"/>
                <a:gd name="connsiteX15" fmla="*/ 929893 w 3082823"/>
                <a:gd name="connsiteY15" fmla="*/ 1070231 h 2405686"/>
                <a:gd name="connsiteX16" fmla="*/ 1028318 w 3082823"/>
                <a:gd name="connsiteY16" fmla="*/ 971806 h 2405686"/>
                <a:gd name="connsiteX17" fmla="*/ 1564206 w 3082823"/>
                <a:gd name="connsiteY17" fmla="*/ 584177 h 2405686"/>
                <a:gd name="connsiteX18" fmla="*/ 1453921 w 3082823"/>
                <a:gd name="connsiteY18" fmla="*/ 585131 h 2405686"/>
                <a:gd name="connsiteX19" fmla="*/ 935801 w 3082823"/>
                <a:gd name="connsiteY19" fmla="*/ 773480 h 2405686"/>
                <a:gd name="connsiteX20" fmla="*/ 813528 w 3082823"/>
                <a:gd name="connsiteY20" fmla="*/ 1002080 h 2405686"/>
                <a:gd name="connsiteX21" fmla="*/ 1233514 w 3082823"/>
                <a:gd name="connsiteY21" fmla="*/ 2081285 h 2405686"/>
                <a:gd name="connsiteX22" fmla="*/ 1791723 w 3082823"/>
                <a:gd name="connsiteY22" fmla="*/ 2102550 h 2405686"/>
                <a:gd name="connsiteX23" fmla="*/ 2254239 w 3082823"/>
                <a:gd name="connsiteY23" fmla="*/ 964866 h 2405686"/>
                <a:gd name="connsiteX24" fmla="*/ 2142597 w 3082823"/>
                <a:gd name="connsiteY24" fmla="*/ 768164 h 2405686"/>
                <a:gd name="connsiteX25" fmla="*/ 1564206 w 3082823"/>
                <a:gd name="connsiteY25" fmla="*/ 584177 h 2405686"/>
                <a:gd name="connsiteX26" fmla="*/ 1309785 w 3082823"/>
                <a:gd name="connsiteY26" fmla="*/ 66 h 2405686"/>
                <a:gd name="connsiteX27" fmla="*/ 1508085 w 3082823"/>
                <a:gd name="connsiteY27" fmla="*/ 122056 h 2405686"/>
                <a:gd name="connsiteX28" fmla="*/ 1515110 w 3082823"/>
                <a:gd name="connsiteY28" fmla="*/ 135911 h 2405686"/>
                <a:gd name="connsiteX29" fmla="*/ 1545468 w 3082823"/>
                <a:gd name="connsiteY29" fmla="*/ 134986 h 2405686"/>
                <a:gd name="connsiteX30" fmla="*/ 1569711 w 3082823"/>
                <a:gd name="connsiteY30" fmla="*/ 136337 h 2405686"/>
                <a:gd name="connsiteX31" fmla="*/ 1574807 w 3082823"/>
                <a:gd name="connsiteY31" fmla="*/ 126476 h 2405686"/>
                <a:gd name="connsiteX32" fmla="*/ 1774033 w 3082823"/>
                <a:gd name="connsiteY32" fmla="*/ 6004 h 2405686"/>
                <a:gd name="connsiteX33" fmla="*/ 1821448 w 3082823"/>
                <a:gd name="connsiteY33" fmla="*/ 10687 h 2405686"/>
                <a:gd name="connsiteX34" fmla="*/ 1966809 w 3082823"/>
                <a:gd name="connsiteY34" fmla="*/ 123597 h 2405686"/>
                <a:gd name="connsiteX35" fmla="*/ 1975851 w 3082823"/>
                <a:gd name="connsiteY35" fmla="*/ 144621 h 2405686"/>
                <a:gd name="connsiteX36" fmla="*/ 2007633 w 3082823"/>
                <a:gd name="connsiteY36" fmla="*/ 131387 h 2405686"/>
                <a:gd name="connsiteX37" fmla="*/ 2088259 w 3082823"/>
                <a:gd name="connsiteY37" fmla="*/ 120830 h 2405686"/>
                <a:gd name="connsiteX38" fmla="*/ 2359390 w 3082823"/>
                <a:gd name="connsiteY38" fmla="*/ 355658 h 2405686"/>
                <a:gd name="connsiteX39" fmla="*/ 2358085 w 3082823"/>
                <a:gd name="connsiteY39" fmla="*/ 366874 h 2405686"/>
                <a:gd name="connsiteX40" fmla="*/ 2412119 w 3082823"/>
                <a:gd name="connsiteY40" fmla="*/ 362156 h 2405686"/>
                <a:gd name="connsiteX41" fmla="*/ 2683250 w 3082823"/>
                <a:gd name="connsiteY41" fmla="*/ 596984 h 2405686"/>
                <a:gd name="connsiteX42" fmla="*/ 3082823 w 3082823"/>
                <a:gd name="connsiteY42" fmla="*/ 801232 h 2405686"/>
                <a:gd name="connsiteX43" fmla="*/ 2553594 w 3082823"/>
                <a:gd name="connsiteY43" fmla="*/ 1150739 h 2405686"/>
                <a:gd name="connsiteX44" fmla="*/ 2532550 w 3082823"/>
                <a:gd name="connsiteY44" fmla="*/ 1252350 h 2405686"/>
                <a:gd name="connsiteX45" fmla="*/ 2626455 w 3082823"/>
                <a:gd name="connsiteY45" fmla="*/ 1524154 h 2405686"/>
                <a:gd name="connsiteX46" fmla="*/ 2473503 w 3082823"/>
                <a:gd name="connsiteY46" fmla="*/ 1726836 h 2405686"/>
                <a:gd name="connsiteX47" fmla="*/ 2373972 w 3082823"/>
                <a:gd name="connsiteY47" fmla="*/ 1714995 h 2405686"/>
                <a:gd name="connsiteX48" fmla="*/ 2368083 w 3082823"/>
                <a:gd name="connsiteY48" fmla="*/ 1713187 h 2405686"/>
                <a:gd name="connsiteX49" fmla="*/ 2392882 w 3082823"/>
                <a:gd name="connsiteY49" fmla="*/ 1750834 h 2405686"/>
                <a:gd name="connsiteX50" fmla="*/ 2421114 w 3082823"/>
                <a:gd name="connsiteY50" fmla="*/ 1871121 h 2405686"/>
                <a:gd name="connsiteX51" fmla="*/ 2187198 w 3082823"/>
                <a:gd name="connsiteY51" fmla="*/ 2123475 h 2405686"/>
                <a:gd name="connsiteX52" fmla="*/ 2096148 w 3082823"/>
                <a:gd name="connsiteY52" fmla="*/ 2103644 h 2405686"/>
                <a:gd name="connsiteX53" fmla="*/ 2073060 w 3082823"/>
                <a:gd name="connsiteY53" fmla="*/ 2090125 h 2405686"/>
                <a:gd name="connsiteX54" fmla="*/ 2076100 w 3082823"/>
                <a:gd name="connsiteY54" fmla="*/ 2123474 h 2405686"/>
                <a:gd name="connsiteX55" fmla="*/ 1820918 w 3082823"/>
                <a:gd name="connsiteY55" fmla="*/ 2405686 h 2405686"/>
                <a:gd name="connsiteX56" fmla="*/ 1678244 w 3082823"/>
                <a:gd name="connsiteY56" fmla="*/ 2357489 h 2405686"/>
                <a:gd name="connsiteX57" fmla="*/ 1673046 w 3082823"/>
                <a:gd name="connsiteY57" fmla="*/ 2352746 h 2405686"/>
                <a:gd name="connsiteX58" fmla="*/ 1599509 w 3082823"/>
                <a:gd name="connsiteY58" fmla="*/ 2374031 h 2405686"/>
                <a:gd name="connsiteX59" fmla="*/ 1498509 w 3082823"/>
                <a:gd name="connsiteY59" fmla="*/ 2378590 h 2405686"/>
                <a:gd name="connsiteX60" fmla="*/ 1413494 w 3082823"/>
                <a:gd name="connsiteY60" fmla="*/ 2362969 h 2405686"/>
                <a:gd name="connsiteX61" fmla="*/ 1400143 w 3082823"/>
                <a:gd name="connsiteY61" fmla="*/ 2370513 h 2405686"/>
                <a:gd name="connsiteX62" fmla="*/ 1294606 w 3082823"/>
                <a:gd name="connsiteY62" fmla="*/ 2392690 h 2405686"/>
                <a:gd name="connsiteX63" fmla="*/ 1023475 w 3082823"/>
                <a:gd name="connsiteY63" fmla="*/ 2110478 h 2405686"/>
                <a:gd name="connsiteX64" fmla="*/ 1024153 w 3082823"/>
                <a:gd name="connsiteY64" fmla="*/ 2103483 h 2405686"/>
                <a:gd name="connsiteX65" fmla="*/ 976566 w 3082823"/>
                <a:gd name="connsiteY65" fmla="*/ 2118045 h 2405686"/>
                <a:gd name="connsiteX66" fmla="*/ 921923 w 3082823"/>
                <a:gd name="connsiteY66" fmla="*/ 2123475 h 2405686"/>
                <a:gd name="connsiteX67" fmla="*/ 650792 w 3082823"/>
                <a:gd name="connsiteY67" fmla="*/ 1856192 h 2405686"/>
                <a:gd name="connsiteX68" fmla="*/ 672099 w 3082823"/>
                <a:gd name="connsiteY68" fmla="*/ 1752154 h 2405686"/>
                <a:gd name="connsiteX69" fmla="*/ 674313 w 3082823"/>
                <a:gd name="connsiteY69" fmla="*/ 1748133 h 2405686"/>
                <a:gd name="connsiteX70" fmla="*/ 662333 w 3082823"/>
                <a:gd name="connsiteY70" fmla="*/ 1746943 h 2405686"/>
                <a:gd name="connsiteX71" fmla="*/ 422031 w 3082823"/>
                <a:gd name="connsiteY71" fmla="*/ 1485090 h 2405686"/>
                <a:gd name="connsiteX72" fmla="*/ 520951 w 3082823"/>
                <a:gd name="connsiteY72" fmla="*/ 1293580 h 2405686"/>
                <a:gd name="connsiteX73" fmla="*/ 516810 w 3082823"/>
                <a:gd name="connsiteY73" fmla="*/ 1176175 h 2405686"/>
                <a:gd name="connsiteX74" fmla="*/ 25418 w 3082823"/>
                <a:gd name="connsiteY74" fmla="*/ 850484 h 2405686"/>
                <a:gd name="connsiteX75" fmla="*/ 379661 w 3082823"/>
                <a:gd name="connsiteY75" fmla="*/ 611877 h 2405686"/>
                <a:gd name="connsiteX76" fmla="*/ 650792 w 3082823"/>
                <a:gd name="connsiteY76" fmla="*/ 377049 h 2405686"/>
                <a:gd name="connsiteX77" fmla="*/ 705435 w 3082823"/>
                <a:gd name="connsiteY77" fmla="*/ 381820 h 2405686"/>
                <a:gd name="connsiteX78" fmla="*/ 718482 w 3082823"/>
                <a:gd name="connsiteY78" fmla="*/ 385328 h 2405686"/>
                <a:gd name="connsiteX79" fmla="*/ 715028 w 3082823"/>
                <a:gd name="connsiteY79" fmla="*/ 355658 h 2405686"/>
                <a:gd name="connsiteX80" fmla="*/ 986159 w 3082823"/>
                <a:gd name="connsiteY80" fmla="*/ 120830 h 2405686"/>
                <a:gd name="connsiteX81" fmla="*/ 1091696 w 3082823"/>
                <a:gd name="connsiteY81" fmla="*/ 139284 h 2405686"/>
                <a:gd name="connsiteX82" fmla="*/ 1103057 w 3082823"/>
                <a:gd name="connsiteY82" fmla="*/ 145919 h 2405686"/>
                <a:gd name="connsiteX83" fmla="*/ 1116116 w 3082823"/>
                <a:gd name="connsiteY83" fmla="*/ 116182 h 2405686"/>
                <a:gd name="connsiteX84" fmla="*/ 1262335 w 3082823"/>
                <a:gd name="connsiteY84" fmla="*/ 4386 h 2405686"/>
                <a:gd name="connsiteX85" fmla="*/ 1309785 w 3082823"/>
                <a:gd name="connsiteY85" fmla="*/ 66 h 240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3082823" h="2405686">
                  <a:moveTo>
                    <a:pt x="1695557" y="1655538"/>
                  </a:moveTo>
                  <a:cubicBezTo>
                    <a:pt x="1765333" y="1652329"/>
                    <a:pt x="1817679" y="1705499"/>
                    <a:pt x="1796836" y="1767509"/>
                  </a:cubicBezTo>
                  <a:cubicBezTo>
                    <a:pt x="1771231" y="1870000"/>
                    <a:pt x="1575517" y="1814126"/>
                    <a:pt x="1549067" y="2068079"/>
                  </a:cubicBezTo>
                  <a:cubicBezTo>
                    <a:pt x="1536904" y="2093433"/>
                    <a:pt x="1524398" y="2080239"/>
                    <a:pt x="1510677" y="2066260"/>
                  </a:cubicBezTo>
                  <a:cubicBezTo>
                    <a:pt x="1456474" y="1804631"/>
                    <a:pt x="1334035" y="1876004"/>
                    <a:pt x="1288140" y="1788940"/>
                  </a:cubicBezTo>
                  <a:cubicBezTo>
                    <a:pt x="1266058" y="1720926"/>
                    <a:pt x="1298373" y="1664138"/>
                    <a:pt x="1378182" y="1658176"/>
                  </a:cubicBezTo>
                  <a:cubicBezTo>
                    <a:pt x="1484185" y="1668882"/>
                    <a:pt x="1554344" y="1694466"/>
                    <a:pt x="1695557" y="1655538"/>
                  </a:cubicBezTo>
                  <a:close/>
                  <a:moveTo>
                    <a:pt x="2034905" y="971806"/>
                  </a:moveTo>
                  <a:cubicBezTo>
                    <a:pt x="2089264" y="971806"/>
                    <a:pt x="2133330" y="1015872"/>
                    <a:pt x="2133330" y="1070231"/>
                  </a:cubicBezTo>
                  <a:cubicBezTo>
                    <a:pt x="2133330" y="1124590"/>
                    <a:pt x="2089264" y="1168656"/>
                    <a:pt x="2034905" y="1168656"/>
                  </a:cubicBezTo>
                  <a:cubicBezTo>
                    <a:pt x="1980546" y="1168656"/>
                    <a:pt x="1936480" y="1124590"/>
                    <a:pt x="1936480" y="1070231"/>
                  </a:cubicBezTo>
                  <a:cubicBezTo>
                    <a:pt x="1936480" y="1015872"/>
                    <a:pt x="1980546" y="971806"/>
                    <a:pt x="2034905" y="971806"/>
                  </a:cubicBezTo>
                  <a:close/>
                  <a:moveTo>
                    <a:pt x="1028318" y="971806"/>
                  </a:moveTo>
                  <a:cubicBezTo>
                    <a:pt x="1082677" y="971806"/>
                    <a:pt x="1126743" y="1015872"/>
                    <a:pt x="1126743" y="1070231"/>
                  </a:cubicBezTo>
                  <a:cubicBezTo>
                    <a:pt x="1126743" y="1124590"/>
                    <a:pt x="1082677" y="1168656"/>
                    <a:pt x="1028318" y="1168656"/>
                  </a:cubicBezTo>
                  <a:cubicBezTo>
                    <a:pt x="973959" y="1168656"/>
                    <a:pt x="929893" y="1124590"/>
                    <a:pt x="929893" y="1070231"/>
                  </a:cubicBezTo>
                  <a:cubicBezTo>
                    <a:pt x="929893" y="1015872"/>
                    <a:pt x="973959" y="971806"/>
                    <a:pt x="1028318" y="971806"/>
                  </a:cubicBezTo>
                  <a:close/>
                  <a:moveTo>
                    <a:pt x="1564206" y="584177"/>
                  </a:moveTo>
                  <a:cubicBezTo>
                    <a:pt x="1527893" y="582777"/>
                    <a:pt x="1491031" y="583012"/>
                    <a:pt x="1453921" y="585131"/>
                  </a:cubicBezTo>
                  <a:cubicBezTo>
                    <a:pt x="1275794" y="595301"/>
                    <a:pt x="1091967" y="648880"/>
                    <a:pt x="935801" y="773480"/>
                  </a:cubicBezTo>
                  <a:cubicBezTo>
                    <a:pt x="854285" y="839934"/>
                    <a:pt x="822388" y="896641"/>
                    <a:pt x="813528" y="1002080"/>
                  </a:cubicBezTo>
                  <a:cubicBezTo>
                    <a:pt x="772770" y="1368017"/>
                    <a:pt x="1070482" y="1897873"/>
                    <a:pt x="1233514" y="2081285"/>
                  </a:cubicBezTo>
                  <a:cubicBezTo>
                    <a:pt x="1391230" y="2254065"/>
                    <a:pt x="1621602" y="2288620"/>
                    <a:pt x="1791723" y="2102550"/>
                  </a:cubicBezTo>
                  <a:cubicBezTo>
                    <a:pt x="2041588" y="1921797"/>
                    <a:pt x="2291452" y="1298019"/>
                    <a:pt x="2254239" y="964866"/>
                  </a:cubicBezTo>
                  <a:cubicBezTo>
                    <a:pt x="2248922" y="881578"/>
                    <a:pt x="2224113" y="837276"/>
                    <a:pt x="2142597" y="768164"/>
                  </a:cubicBezTo>
                  <a:cubicBezTo>
                    <a:pt x="2045686" y="683851"/>
                    <a:pt x="1818398" y="593973"/>
                    <a:pt x="1564206" y="584177"/>
                  </a:cubicBezTo>
                  <a:close/>
                  <a:moveTo>
                    <a:pt x="1309785" y="66"/>
                  </a:moveTo>
                  <a:cubicBezTo>
                    <a:pt x="1388297" y="2056"/>
                    <a:pt x="1462369" y="48784"/>
                    <a:pt x="1508085" y="122056"/>
                  </a:cubicBezTo>
                  <a:lnTo>
                    <a:pt x="1515110" y="135911"/>
                  </a:lnTo>
                  <a:lnTo>
                    <a:pt x="1545468" y="134986"/>
                  </a:lnTo>
                  <a:lnTo>
                    <a:pt x="1569711" y="136337"/>
                  </a:lnTo>
                  <a:lnTo>
                    <a:pt x="1574807" y="126476"/>
                  </a:lnTo>
                  <a:cubicBezTo>
                    <a:pt x="1621081" y="53555"/>
                    <a:pt x="1695508" y="7394"/>
                    <a:pt x="1774033" y="6004"/>
                  </a:cubicBezTo>
                  <a:cubicBezTo>
                    <a:pt x="1789739" y="5726"/>
                    <a:pt x="1805608" y="7239"/>
                    <a:pt x="1821448" y="10687"/>
                  </a:cubicBezTo>
                  <a:cubicBezTo>
                    <a:pt x="1884811" y="24478"/>
                    <a:pt x="1935721" y="66616"/>
                    <a:pt x="1966809" y="123597"/>
                  </a:cubicBezTo>
                  <a:lnTo>
                    <a:pt x="1975851" y="144621"/>
                  </a:lnTo>
                  <a:lnTo>
                    <a:pt x="2007633" y="131387"/>
                  </a:lnTo>
                  <a:cubicBezTo>
                    <a:pt x="2033103" y="124526"/>
                    <a:pt x="2060183" y="120830"/>
                    <a:pt x="2088259" y="120830"/>
                  </a:cubicBezTo>
                  <a:cubicBezTo>
                    <a:pt x="2238001" y="120830"/>
                    <a:pt x="2359390" y="225966"/>
                    <a:pt x="2359390" y="355658"/>
                  </a:cubicBezTo>
                  <a:lnTo>
                    <a:pt x="2358085" y="366874"/>
                  </a:lnTo>
                  <a:lnTo>
                    <a:pt x="2412119" y="362156"/>
                  </a:lnTo>
                  <a:cubicBezTo>
                    <a:pt x="2561861" y="362156"/>
                    <a:pt x="2695291" y="478561"/>
                    <a:pt x="2683250" y="596984"/>
                  </a:cubicBezTo>
                  <a:cubicBezTo>
                    <a:pt x="2795034" y="670163"/>
                    <a:pt x="2997782" y="656638"/>
                    <a:pt x="3082823" y="801232"/>
                  </a:cubicBezTo>
                  <a:cubicBezTo>
                    <a:pt x="2911175" y="1034416"/>
                    <a:pt x="2725241" y="1098531"/>
                    <a:pt x="2553594" y="1150739"/>
                  </a:cubicBezTo>
                  <a:lnTo>
                    <a:pt x="2532550" y="1252350"/>
                  </a:lnTo>
                  <a:cubicBezTo>
                    <a:pt x="2615328" y="1352495"/>
                    <a:pt x="2628755" y="1422848"/>
                    <a:pt x="2626455" y="1524154"/>
                  </a:cubicBezTo>
                  <a:cubicBezTo>
                    <a:pt x="2600341" y="1727854"/>
                    <a:pt x="2522728" y="1725986"/>
                    <a:pt x="2473503" y="1726836"/>
                  </a:cubicBezTo>
                  <a:cubicBezTo>
                    <a:pt x="2424278" y="1727686"/>
                    <a:pt x="2389199" y="1718075"/>
                    <a:pt x="2373972" y="1714995"/>
                  </a:cubicBezTo>
                  <a:lnTo>
                    <a:pt x="2368083" y="1713187"/>
                  </a:lnTo>
                  <a:lnTo>
                    <a:pt x="2392882" y="1750834"/>
                  </a:lnTo>
                  <a:cubicBezTo>
                    <a:pt x="2410887" y="1786591"/>
                    <a:pt x="2421114" y="1827568"/>
                    <a:pt x="2421114" y="1871121"/>
                  </a:cubicBezTo>
                  <a:cubicBezTo>
                    <a:pt x="2421114" y="2010492"/>
                    <a:pt x="2316386" y="2123475"/>
                    <a:pt x="2187198" y="2123475"/>
                  </a:cubicBezTo>
                  <a:cubicBezTo>
                    <a:pt x="2154901" y="2123475"/>
                    <a:pt x="2124133" y="2116414"/>
                    <a:pt x="2096148" y="2103644"/>
                  </a:cubicBezTo>
                  <a:lnTo>
                    <a:pt x="2073060" y="2090125"/>
                  </a:lnTo>
                  <a:lnTo>
                    <a:pt x="2076100" y="2123474"/>
                  </a:lnTo>
                  <a:cubicBezTo>
                    <a:pt x="2076100" y="2279335"/>
                    <a:pt x="1961851" y="2405686"/>
                    <a:pt x="1820918" y="2405686"/>
                  </a:cubicBezTo>
                  <a:cubicBezTo>
                    <a:pt x="1768068" y="2405686"/>
                    <a:pt x="1718971" y="2387918"/>
                    <a:pt x="1678244" y="2357489"/>
                  </a:cubicBezTo>
                  <a:lnTo>
                    <a:pt x="1673046" y="2352746"/>
                  </a:lnTo>
                  <a:lnTo>
                    <a:pt x="1599509" y="2374031"/>
                  </a:lnTo>
                  <a:cubicBezTo>
                    <a:pt x="1565946" y="2379526"/>
                    <a:pt x="1532161" y="2380972"/>
                    <a:pt x="1498509" y="2378590"/>
                  </a:cubicBezTo>
                  <a:lnTo>
                    <a:pt x="1413494" y="2362969"/>
                  </a:lnTo>
                  <a:lnTo>
                    <a:pt x="1400143" y="2370513"/>
                  </a:lnTo>
                  <a:cubicBezTo>
                    <a:pt x="1367705" y="2384793"/>
                    <a:pt x="1332042" y="2392690"/>
                    <a:pt x="1294606" y="2392690"/>
                  </a:cubicBezTo>
                  <a:cubicBezTo>
                    <a:pt x="1144864" y="2392690"/>
                    <a:pt x="1023475" y="2266339"/>
                    <a:pt x="1023475" y="2110478"/>
                  </a:cubicBezTo>
                  <a:lnTo>
                    <a:pt x="1024153" y="2103483"/>
                  </a:lnTo>
                  <a:lnTo>
                    <a:pt x="976566" y="2118045"/>
                  </a:lnTo>
                  <a:cubicBezTo>
                    <a:pt x="958916" y="2121605"/>
                    <a:pt x="940641" y="2123475"/>
                    <a:pt x="921923" y="2123475"/>
                  </a:cubicBezTo>
                  <a:cubicBezTo>
                    <a:pt x="772181" y="2123475"/>
                    <a:pt x="650792" y="2003808"/>
                    <a:pt x="650792" y="1856192"/>
                  </a:cubicBezTo>
                  <a:cubicBezTo>
                    <a:pt x="650792" y="1819288"/>
                    <a:pt x="658379" y="1784131"/>
                    <a:pt x="672099" y="1752154"/>
                  </a:cubicBezTo>
                  <a:lnTo>
                    <a:pt x="674313" y="1748133"/>
                  </a:lnTo>
                  <a:lnTo>
                    <a:pt x="662333" y="1746943"/>
                  </a:lnTo>
                  <a:cubicBezTo>
                    <a:pt x="538782" y="1722020"/>
                    <a:pt x="442092" y="1638879"/>
                    <a:pt x="422031" y="1485090"/>
                  </a:cubicBezTo>
                  <a:cubicBezTo>
                    <a:pt x="436370" y="1361994"/>
                    <a:pt x="447450" y="1360349"/>
                    <a:pt x="520951" y="1293580"/>
                  </a:cubicBezTo>
                  <a:lnTo>
                    <a:pt x="516810" y="1176175"/>
                  </a:lnTo>
                  <a:cubicBezTo>
                    <a:pt x="504619" y="1135080"/>
                    <a:pt x="94759" y="951110"/>
                    <a:pt x="25418" y="850484"/>
                  </a:cubicBezTo>
                  <a:cubicBezTo>
                    <a:pt x="-64116" y="770721"/>
                    <a:pt x="89695" y="657446"/>
                    <a:pt x="379661" y="611877"/>
                  </a:cubicBezTo>
                  <a:cubicBezTo>
                    <a:pt x="391021" y="428196"/>
                    <a:pt x="501050" y="377049"/>
                    <a:pt x="650792" y="377049"/>
                  </a:cubicBezTo>
                  <a:cubicBezTo>
                    <a:pt x="669510" y="377049"/>
                    <a:pt x="687785" y="378692"/>
                    <a:pt x="705435" y="381820"/>
                  </a:cubicBezTo>
                  <a:lnTo>
                    <a:pt x="718482" y="385328"/>
                  </a:lnTo>
                  <a:lnTo>
                    <a:pt x="715028" y="355658"/>
                  </a:lnTo>
                  <a:cubicBezTo>
                    <a:pt x="715028" y="225966"/>
                    <a:pt x="836417" y="120830"/>
                    <a:pt x="986159" y="120830"/>
                  </a:cubicBezTo>
                  <a:cubicBezTo>
                    <a:pt x="1023595" y="120830"/>
                    <a:pt x="1059258" y="127401"/>
                    <a:pt x="1091696" y="139284"/>
                  </a:cubicBezTo>
                  <a:lnTo>
                    <a:pt x="1103057" y="145919"/>
                  </a:lnTo>
                  <a:lnTo>
                    <a:pt x="1116116" y="116182"/>
                  </a:lnTo>
                  <a:cubicBezTo>
                    <a:pt x="1147639" y="59441"/>
                    <a:pt x="1198869" y="17693"/>
                    <a:pt x="1262335" y="4386"/>
                  </a:cubicBezTo>
                  <a:cubicBezTo>
                    <a:pt x="1278202" y="1060"/>
                    <a:pt x="1294082" y="-332"/>
                    <a:pt x="1309785" y="6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523406" y="-197911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685980" y="2576275"/>
            <a:ext cx="792000" cy="792000"/>
            <a:chOff x="1066541" y="-2389048"/>
            <a:chExt cx="792000" cy="792000"/>
          </a:xfrm>
        </p:grpSpPr>
        <p:sp>
          <p:nvSpPr>
            <p:cNvPr id="76" name="Freeform 75"/>
            <p:cNvSpPr/>
            <p:nvPr/>
          </p:nvSpPr>
          <p:spPr>
            <a:xfrm rot="20893534">
              <a:off x="1127351" y="-2294192"/>
              <a:ext cx="670381" cy="602289"/>
            </a:xfrm>
            <a:custGeom>
              <a:avLst/>
              <a:gdLst>
                <a:gd name="connsiteX0" fmla="*/ 3477622 w 4173056"/>
                <a:gd name="connsiteY0" fmla="*/ 2153637 h 3749191"/>
                <a:gd name="connsiteX1" fmla="*/ 4173056 w 4173056"/>
                <a:gd name="connsiteY1" fmla="*/ 3067334 h 3749191"/>
                <a:gd name="connsiteX2" fmla="*/ 3858025 w 4173056"/>
                <a:gd name="connsiteY2" fmla="*/ 3374418 h 3749191"/>
                <a:gd name="connsiteX3" fmla="*/ 3477622 w 4173056"/>
                <a:gd name="connsiteY3" fmla="*/ 2153637 h 3749191"/>
                <a:gd name="connsiteX4" fmla="*/ 3330497 w 4173056"/>
                <a:gd name="connsiteY4" fmla="*/ 2063033 h 3749191"/>
                <a:gd name="connsiteX5" fmla="*/ 3491387 w 4173056"/>
                <a:gd name="connsiteY5" fmla="*/ 3522224 h 3749191"/>
                <a:gd name="connsiteX6" fmla="*/ 2959958 w 4173056"/>
                <a:gd name="connsiteY6" fmla="*/ 3661029 h 3749191"/>
                <a:gd name="connsiteX7" fmla="*/ 3330497 w 4173056"/>
                <a:gd name="connsiteY7" fmla="*/ 2063033 h 3749191"/>
                <a:gd name="connsiteX8" fmla="*/ 3130551 w 4173056"/>
                <a:gd name="connsiteY8" fmla="*/ 2001900 h 3749191"/>
                <a:gd name="connsiteX9" fmla="*/ 2379040 w 4173056"/>
                <a:gd name="connsiteY9" fmla="*/ 3731672 h 3749191"/>
                <a:gd name="connsiteX10" fmla="*/ 1521177 w 4173056"/>
                <a:gd name="connsiteY10" fmla="*/ 3589612 h 3749191"/>
                <a:gd name="connsiteX11" fmla="*/ 3130551 w 4173056"/>
                <a:gd name="connsiteY11" fmla="*/ 2001900 h 3749191"/>
                <a:gd name="connsiteX12" fmla="*/ 2996078 w 4173056"/>
                <a:gd name="connsiteY12" fmla="*/ 1887199 h 3749191"/>
                <a:gd name="connsiteX13" fmla="*/ 823785 w 4173056"/>
                <a:gd name="connsiteY13" fmla="*/ 3321833 h 3749191"/>
                <a:gd name="connsiteX14" fmla="*/ 290240 w 4173056"/>
                <a:gd name="connsiteY14" fmla="*/ 2832792 h 3749191"/>
                <a:gd name="connsiteX15" fmla="*/ 2996078 w 4173056"/>
                <a:gd name="connsiteY15" fmla="*/ 1887199 h 3749191"/>
                <a:gd name="connsiteX16" fmla="*/ 2000723 w 4173056"/>
                <a:gd name="connsiteY16" fmla="*/ 1585020 h 3749191"/>
                <a:gd name="connsiteX17" fmla="*/ 2766068 w 4173056"/>
                <a:gd name="connsiteY17" fmla="*/ 1759405 h 3749191"/>
                <a:gd name="connsiteX18" fmla="*/ 76281 w 4173056"/>
                <a:gd name="connsiteY18" fmla="*/ 2275242 h 3749191"/>
                <a:gd name="connsiteX19" fmla="*/ 39129 w 4173056"/>
                <a:gd name="connsiteY19" fmla="*/ 1734293 h 3749191"/>
                <a:gd name="connsiteX20" fmla="*/ 2000723 w 4173056"/>
                <a:gd name="connsiteY20" fmla="*/ 1585020 h 3749191"/>
                <a:gd name="connsiteX21" fmla="*/ 710277 w 4173056"/>
                <a:gd name="connsiteY21" fmla="*/ 948374 h 3749191"/>
                <a:gd name="connsiteX22" fmla="*/ 681520 w 4173056"/>
                <a:gd name="connsiteY22" fmla="*/ 1266465 h 3749191"/>
                <a:gd name="connsiteX23" fmla="*/ 255567 w 4173056"/>
                <a:gd name="connsiteY23" fmla="*/ 1067611 h 3749191"/>
                <a:gd name="connsiteX24" fmla="*/ 2308082 w 4173056"/>
                <a:gd name="connsiteY24" fmla="*/ 964484 h 3749191"/>
                <a:gd name="connsiteX25" fmla="*/ 2765580 w 4173056"/>
                <a:gd name="connsiteY25" fmla="*/ 1072534 h 3749191"/>
                <a:gd name="connsiteX26" fmla="*/ 2344631 w 4173056"/>
                <a:gd name="connsiteY26" fmla="*/ 1281774 h 3749191"/>
                <a:gd name="connsiteX27" fmla="*/ 570760 w 4173056"/>
                <a:gd name="connsiteY27" fmla="*/ 394814 h 3749191"/>
                <a:gd name="connsiteX28" fmla="*/ 993334 w 4173056"/>
                <a:gd name="connsiteY28" fmla="*/ 600752 h 3749191"/>
                <a:gd name="connsiteX29" fmla="*/ 764200 w 4173056"/>
                <a:gd name="connsiteY29" fmla="*/ 823253 h 3749191"/>
                <a:gd name="connsiteX30" fmla="*/ 1643405 w 4173056"/>
                <a:gd name="connsiteY30" fmla="*/ 582278 h 3749191"/>
                <a:gd name="connsiteX31" fmla="*/ 2151441 w 4173056"/>
                <a:gd name="connsiteY31" fmla="*/ 1368232 h 3749191"/>
                <a:gd name="connsiteX32" fmla="*/ 861588 w 4173056"/>
                <a:gd name="connsiteY32" fmla="*/ 1355977 h 3749191"/>
                <a:gd name="connsiteX33" fmla="*/ 1643405 w 4173056"/>
                <a:gd name="connsiteY33" fmla="*/ 582278 h 3749191"/>
                <a:gd name="connsiteX34" fmla="*/ 2476381 w 4173056"/>
                <a:gd name="connsiteY34" fmla="*/ 415299 h 3749191"/>
                <a:gd name="connsiteX35" fmla="*/ 2295717 w 4173056"/>
                <a:gd name="connsiteY35" fmla="*/ 833593 h 3749191"/>
                <a:gd name="connsiteX36" fmla="*/ 2046460 w 4173056"/>
                <a:gd name="connsiteY36" fmla="*/ 566223 h 3749191"/>
                <a:gd name="connsiteX37" fmla="*/ 1131631 w 4173056"/>
                <a:gd name="connsiteY37" fmla="*/ 3836 h 3749191"/>
                <a:gd name="connsiteX38" fmla="*/ 1432953 w 4173056"/>
                <a:gd name="connsiteY38" fmla="*/ 364647 h 3749191"/>
                <a:gd name="connsiteX39" fmla="*/ 1132838 w 4173056"/>
                <a:gd name="connsiteY39" fmla="*/ 473919 h 3749191"/>
                <a:gd name="connsiteX40" fmla="*/ 1898469 w 4173056"/>
                <a:gd name="connsiteY40" fmla="*/ 0 h 3749191"/>
                <a:gd name="connsiteX41" fmla="*/ 1903721 w 4173056"/>
                <a:gd name="connsiteY41" fmla="*/ 470055 h 3749191"/>
                <a:gd name="connsiteX42" fmla="*/ 1602133 w 4173056"/>
                <a:gd name="connsiteY42" fmla="*/ 364917 h 3749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173056" h="3749191">
                  <a:moveTo>
                    <a:pt x="3477622" y="2153637"/>
                  </a:moveTo>
                  <a:cubicBezTo>
                    <a:pt x="3934558" y="2501925"/>
                    <a:pt x="4039331" y="2807670"/>
                    <a:pt x="4173056" y="3067334"/>
                  </a:cubicBezTo>
                  <a:cubicBezTo>
                    <a:pt x="4066258" y="3222762"/>
                    <a:pt x="4024565" y="3259936"/>
                    <a:pt x="3858025" y="3374418"/>
                  </a:cubicBezTo>
                  <a:cubicBezTo>
                    <a:pt x="3746901" y="2700934"/>
                    <a:pt x="3615324" y="2575315"/>
                    <a:pt x="3477622" y="2153637"/>
                  </a:cubicBezTo>
                  <a:close/>
                  <a:moveTo>
                    <a:pt x="3330497" y="2063033"/>
                  </a:moveTo>
                  <a:cubicBezTo>
                    <a:pt x="3326084" y="2679536"/>
                    <a:pt x="3375546" y="2758203"/>
                    <a:pt x="3491387" y="3522224"/>
                  </a:cubicBezTo>
                  <a:cubicBezTo>
                    <a:pt x="3199322" y="3680091"/>
                    <a:pt x="3263592" y="3652105"/>
                    <a:pt x="2959958" y="3661029"/>
                  </a:cubicBezTo>
                  <a:cubicBezTo>
                    <a:pt x="3062418" y="2652285"/>
                    <a:pt x="3144189" y="2463362"/>
                    <a:pt x="3330497" y="2063033"/>
                  </a:cubicBezTo>
                  <a:close/>
                  <a:moveTo>
                    <a:pt x="3130551" y="2001900"/>
                  </a:moveTo>
                  <a:cubicBezTo>
                    <a:pt x="2923496" y="2325404"/>
                    <a:pt x="2681184" y="2603016"/>
                    <a:pt x="2379040" y="3731672"/>
                  </a:cubicBezTo>
                  <a:cubicBezTo>
                    <a:pt x="2035865" y="3782372"/>
                    <a:pt x="1789414" y="3719400"/>
                    <a:pt x="1521177" y="3589612"/>
                  </a:cubicBezTo>
                  <a:cubicBezTo>
                    <a:pt x="2466697" y="2277110"/>
                    <a:pt x="2765649" y="2250537"/>
                    <a:pt x="3130551" y="2001900"/>
                  </a:cubicBezTo>
                  <a:close/>
                  <a:moveTo>
                    <a:pt x="2996078" y="1887199"/>
                  </a:moveTo>
                  <a:cubicBezTo>
                    <a:pt x="2684829" y="2083662"/>
                    <a:pt x="1825762" y="2396882"/>
                    <a:pt x="823785" y="3321833"/>
                  </a:cubicBezTo>
                  <a:cubicBezTo>
                    <a:pt x="508830" y="3176429"/>
                    <a:pt x="443690" y="3088231"/>
                    <a:pt x="290240" y="2832792"/>
                  </a:cubicBezTo>
                  <a:cubicBezTo>
                    <a:pt x="1725218" y="2077851"/>
                    <a:pt x="2036015" y="2038029"/>
                    <a:pt x="2996078" y="1887199"/>
                  </a:cubicBezTo>
                  <a:close/>
                  <a:moveTo>
                    <a:pt x="2000723" y="1585020"/>
                  </a:moveTo>
                  <a:cubicBezTo>
                    <a:pt x="2295319" y="1675328"/>
                    <a:pt x="2470030" y="1725251"/>
                    <a:pt x="2766068" y="1759405"/>
                  </a:cubicBezTo>
                  <a:cubicBezTo>
                    <a:pt x="1529757" y="1862250"/>
                    <a:pt x="977735" y="2030749"/>
                    <a:pt x="76281" y="2275242"/>
                  </a:cubicBezTo>
                  <a:cubicBezTo>
                    <a:pt x="-21421" y="2044638"/>
                    <a:pt x="-15435" y="1907499"/>
                    <a:pt x="39129" y="1734293"/>
                  </a:cubicBezTo>
                  <a:cubicBezTo>
                    <a:pt x="1501087" y="1550182"/>
                    <a:pt x="1381092" y="1544403"/>
                    <a:pt x="2000723" y="1585020"/>
                  </a:cubicBezTo>
                  <a:close/>
                  <a:moveTo>
                    <a:pt x="710277" y="948374"/>
                  </a:moveTo>
                  <a:lnTo>
                    <a:pt x="681520" y="1266465"/>
                  </a:lnTo>
                  <a:lnTo>
                    <a:pt x="255567" y="1067611"/>
                  </a:lnTo>
                  <a:close/>
                  <a:moveTo>
                    <a:pt x="2308082" y="964484"/>
                  </a:moveTo>
                  <a:lnTo>
                    <a:pt x="2765580" y="1072534"/>
                  </a:lnTo>
                  <a:lnTo>
                    <a:pt x="2344631" y="1281774"/>
                  </a:lnTo>
                  <a:close/>
                  <a:moveTo>
                    <a:pt x="570760" y="394814"/>
                  </a:moveTo>
                  <a:lnTo>
                    <a:pt x="993334" y="600752"/>
                  </a:lnTo>
                  <a:lnTo>
                    <a:pt x="764200" y="823253"/>
                  </a:lnTo>
                  <a:close/>
                  <a:moveTo>
                    <a:pt x="1643405" y="582278"/>
                  </a:moveTo>
                  <a:cubicBezTo>
                    <a:pt x="1909410" y="610354"/>
                    <a:pt x="2284064" y="953573"/>
                    <a:pt x="2151441" y="1368232"/>
                  </a:cubicBezTo>
                  <a:cubicBezTo>
                    <a:pt x="1591193" y="1294654"/>
                    <a:pt x="1178065" y="1335133"/>
                    <a:pt x="861588" y="1355977"/>
                  </a:cubicBezTo>
                  <a:cubicBezTo>
                    <a:pt x="851790" y="665528"/>
                    <a:pt x="1377400" y="554201"/>
                    <a:pt x="1643405" y="582278"/>
                  </a:cubicBezTo>
                  <a:close/>
                  <a:moveTo>
                    <a:pt x="2476381" y="415299"/>
                  </a:moveTo>
                  <a:lnTo>
                    <a:pt x="2295717" y="833593"/>
                  </a:lnTo>
                  <a:lnTo>
                    <a:pt x="2046460" y="566223"/>
                  </a:lnTo>
                  <a:close/>
                  <a:moveTo>
                    <a:pt x="1131631" y="3836"/>
                  </a:moveTo>
                  <a:lnTo>
                    <a:pt x="1432953" y="364647"/>
                  </a:lnTo>
                  <a:lnTo>
                    <a:pt x="1132838" y="473919"/>
                  </a:lnTo>
                  <a:close/>
                  <a:moveTo>
                    <a:pt x="1898469" y="0"/>
                  </a:moveTo>
                  <a:lnTo>
                    <a:pt x="1903721" y="470055"/>
                  </a:lnTo>
                  <a:lnTo>
                    <a:pt x="1602133" y="3649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066541" y="-238904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1453822" y="3048483"/>
            <a:ext cx="792000" cy="792000"/>
            <a:chOff x="1793182" y="-3029728"/>
            <a:chExt cx="792000" cy="792000"/>
          </a:xfrm>
        </p:grpSpPr>
        <p:sp>
          <p:nvSpPr>
            <p:cNvPr id="77" name="Freeform 76"/>
            <p:cNvSpPr/>
            <p:nvPr/>
          </p:nvSpPr>
          <p:spPr>
            <a:xfrm>
              <a:off x="2005914" y="-3000202"/>
              <a:ext cx="366536" cy="732948"/>
            </a:xfrm>
            <a:custGeom>
              <a:avLst/>
              <a:gdLst>
                <a:gd name="connsiteX0" fmla="*/ 2382975 w 2385595"/>
                <a:gd name="connsiteY0" fmla="*/ 2993094 h 4770379"/>
                <a:gd name="connsiteX1" fmla="*/ 2161836 w 2385595"/>
                <a:gd name="connsiteY1" fmla="*/ 3771221 h 4770379"/>
                <a:gd name="connsiteX2" fmla="*/ 1534319 w 2385595"/>
                <a:gd name="connsiteY2" fmla="*/ 4075791 h 4770379"/>
                <a:gd name="connsiteX3" fmla="*/ 1399694 w 2385595"/>
                <a:gd name="connsiteY3" fmla="*/ 4093655 h 4770379"/>
                <a:gd name="connsiteX4" fmla="*/ 1403346 w 2385595"/>
                <a:gd name="connsiteY4" fmla="*/ 4696282 h 4770379"/>
                <a:gd name="connsiteX5" fmla="*/ 1057788 w 2385595"/>
                <a:gd name="connsiteY5" fmla="*/ 4696282 h 4770379"/>
                <a:gd name="connsiteX6" fmla="*/ 1050535 w 2385595"/>
                <a:gd name="connsiteY6" fmla="*/ 4083316 h 4770379"/>
                <a:gd name="connsiteX7" fmla="*/ 954165 w 2385595"/>
                <a:gd name="connsiteY7" fmla="*/ 4072839 h 4770379"/>
                <a:gd name="connsiteX8" fmla="*/ 351256 w 2385595"/>
                <a:gd name="connsiteY8" fmla="*/ 3853010 h 4770379"/>
                <a:gd name="connsiteX9" fmla="*/ 0 w 2385595"/>
                <a:gd name="connsiteY9" fmla="*/ 3073255 h 4770379"/>
                <a:gd name="connsiteX10" fmla="*/ 811954 w 2385595"/>
                <a:gd name="connsiteY10" fmla="*/ 3330281 h 4770379"/>
                <a:gd name="connsiteX11" fmla="*/ 1062413 w 2385595"/>
                <a:gd name="connsiteY11" fmla="*/ 3813265 h 4770379"/>
                <a:gd name="connsiteX12" fmla="*/ 1062739 w 2385595"/>
                <a:gd name="connsiteY12" fmla="*/ 3815066 h 4770379"/>
                <a:gd name="connsiteX13" fmla="*/ 1088399 w 2385595"/>
                <a:gd name="connsiteY13" fmla="*/ 3843446 h 4770379"/>
                <a:gd name="connsiteX14" fmla="*/ 1338653 w 2385595"/>
                <a:gd name="connsiteY14" fmla="*/ 3857118 h 4770379"/>
                <a:gd name="connsiteX15" fmla="*/ 1377947 w 2385595"/>
                <a:gd name="connsiteY15" fmla="*/ 3831956 h 4770379"/>
                <a:gd name="connsiteX16" fmla="*/ 1379065 w 2385595"/>
                <a:gd name="connsiteY16" fmla="*/ 3816246 h 4770379"/>
                <a:gd name="connsiteX17" fmla="*/ 1661054 w 2385595"/>
                <a:gd name="connsiteY17" fmla="*/ 3291415 h 4770379"/>
                <a:gd name="connsiteX18" fmla="*/ 2382975 w 2385595"/>
                <a:gd name="connsiteY18" fmla="*/ 2993094 h 4770379"/>
                <a:gd name="connsiteX19" fmla="*/ 0 w 2385595"/>
                <a:gd name="connsiteY19" fmla="*/ 2081743 h 4770379"/>
                <a:gd name="connsiteX20" fmla="*/ 811955 w 2385595"/>
                <a:gd name="connsiteY20" fmla="*/ 2338769 h 4770379"/>
                <a:gd name="connsiteX21" fmla="*/ 1096712 w 2385595"/>
                <a:gd name="connsiteY21" fmla="*/ 3096824 h 4770379"/>
                <a:gd name="connsiteX22" fmla="*/ 351256 w 2385595"/>
                <a:gd name="connsiteY22" fmla="*/ 2861497 h 4770379"/>
                <a:gd name="connsiteX23" fmla="*/ 0 w 2385595"/>
                <a:gd name="connsiteY23" fmla="*/ 2081743 h 4770379"/>
                <a:gd name="connsiteX24" fmla="*/ 2382975 w 2385595"/>
                <a:gd name="connsiteY24" fmla="*/ 1993394 h 4770379"/>
                <a:gd name="connsiteX25" fmla="*/ 2161836 w 2385595"/>
                <a:gd name="connsiteY25" fmla="*/ 2771521 h 4770379"/>
                <a:gd name="connsiteX26" fmla="*/ 1375572 w 2385595"/>
                <a:gd name="connsiteY26" fmla="*/ 3097156 h 4770379"/>
                <a:gd name="connsiteX27" fmla="*/ 1661054 w 2385595"/>
                <a:gd name="connsiteY27" fmla="*/ 2291714 h 4770379"/>
                <a:gd name="connsiteX28" fmla="*/ 2382975 w 2385595"/>
                <a:gd name="connsiteY28" fmla="*/ 1993394 h 4770379"/>
                <a:gd name="connsiteX29" fmla="*/ 0 w 2385595"/>
                <a:gd name="connsiteY29" fmla="*/ 1082042 h 4770379"/>
                <a:gd name="connsiteX30" fmla="*/ 811955 w 2385595"/>
                <a:gd name="connsiteY30" fmla="*/ 1339068 h 4770379"/>
                <a:gd name="connsiteX31" fmla="*/ 1096712 w 2385595"/>
                <a:gd name="connsiteY31" fmla="*/ 2097123 h 4770379"/>
                <a:gd name="connsiteX32" fmla="*/ 351256 w 2385595"/>
                <a:gd name="connsiteY32" fmla="*/ 1861796 h 4770379"/>
                <a:gd name="connsiteX33" fmla="*/ 0 w 2385595"/>
                <a:gd name="connsiteY33" fmla="*/ 1082042 h 4770379"/>
                <a:gd name="connsiteX34" fmla="*/ 2382975 w 2385595"/>
                <a:gd name="connsiteY34" fmla="*/ 1009688 h 4770379"/>
                <a:gd name="connsiteX35" fmla="*/ 2161836 w 2385595"/>
                <a:gd name="connsiteY35" fmla="*/ 1787815 h 4770379"/>
                <a:gd name="connsiteX36" fmla="*/ 1375572 w 2385595"/>
                <a:gd name="connsiteY36" fmla="*/ 2113449 h 4770379"/>
                <a:gd name="connsiteX37" fmla="*/ 1661054 w 2385595"/>
                <a:gd name="connsiteY37" fmla="*/ 1308008 h 4770379"/>
                <a:gd name="connsiteX38" fmla="*/ 2382975 w 2385595"/>
                <a:gd name="connsiteY38" fmla="*/ 1009688 h 4770379"/>
                <a:gd name="connsiteX39" fmla="*/ 1212057 w 2385595"/>
                <a:gd name="connsiteY39" fmla="*/ 0 h 4770379"/>
                <a:gd name="connsiteX40" fmla="*/ 1622832 w 2385595"/>
                <a:gd name="connsiteY40" fmla="*/ 692010 h 4770379"/>
                <a:gd name="connsiteX41" fmla="*/ 1228006 w 2385595"/>
                <a:gd name="connsiteY41" fmla="*/ 1354282 h 4770379"/>
                <a:gd name="connsiteX42" fmla="*/ 797965 w 2385595"/>
                <a:gd name="connsiteY42" fmla="*/ 679799 h 4770379"/>
                <a:gd name="connsiteX43" fmla="*/ 1212057 w 2385595"/>
                <a:gd name="connsiteY43" fmla="*/ 0 h 477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385595" h="4770379">
                  <a:moveTo>
                    <a:pt x="2382975" y="2993094"/>
                  </a:moveTo>
                  <a:cubicBezTo>
                    <a:pt x="2407778" y="3390780"/>
                    <a:pt x="2250570" y="3679030"/>
                    <a:pt x="2161836" y="3771221"/>
                  </a:cubicBezTo>
                  <a:cubicBezTo>
                    <a:pt x="2077616" y="3852016"/>
                    <a:pt x="1882558" y="4011773"/>
                    <a:pt x="1534319" y="4075791"/>
                  </a:cubicBezTo>
                  <a:lnTo>
                    <a:pt x="1399694" y="4093655"/>
                  </a:lnTo>
                  <a:lnTo>
                    <a:pt x="1403346" y="4696282"/>
                  </a:lnTo>
                  <a:cubicBezTo>
                    <a:pt x="1256263" y="4807924"/>
                    <a:pt x="1141077" y="4781343"/>
                    <a:pt x="1057788" y="4696282"/>
                  </a:cubicBezTo>
                  <a:lnTo>
                    <a:pt x="1050535" y="4083316"/>
                  </a:lnTo>
                  <a:lnTo>
                    <a:pt x="954165" y="4072839"/>
                  </a:lnTo>
                  <a:cubicBezTo>
                    <a:pt x="637319" y="4026844"/>
                    <a:pt x="431509" y="3917199"/>
                    <a:pt x="351256" y="3853010"/>
                  </a:cubicBezTo>
                  <a:cubicBezTo>
                    <a:pt x="218533" y="3703997"/>
                    <a:pt x="14798" y="3667859"/>
                    <a:pt x="0" y="3073255"/>
                  </a:cubicBezTo>
                  <a:cubicBezTo>
                    <a:pt x="451497" y="3072070"/>
                    <a:pt x="708247" y="3246402"/>
                    <a:pt x="811954" y="3330281"/>
                  </a:cubicBezTo>
                  <a:cubicBezTo>
                    <a:pt x="884095" y="3393570"/>
                    <a:pt x="1003758" y="3563675"/>
                    <a:pt x="1062413" y="3813265"/>
                  </a:cubicBezTo>
                  <a:lnTo>
                    <a:pt x="1062739" y="3815066"/>
                  </a:lnTo>
                  <a:lnTo>
                    <a:pt x="1088399" y="3843446"/>
                  </a:lnTo>
                  <a:cubicBezTo>
                    <a:pt x="1165807" y="3907317"/>
                    <a:pt x="1267255" y="3891339"/>
                    <a:pt x="1338653" y="3857118"/>
                  </a:cubicBezTo>
                  <a:lnTo>
                    <a:pt x="1377947" y="3831956"/>
                  </a:lnTo>
                  <a:lnTo>
                    <a:pt x="1379065" y="3816246"/>
                  </a:lnTo>
                  <a:cubicBezTo>
                    <a:pt x="1413717" y="3480725"/>
                    <a:pt x="1563736" y="3421080"/>
                    <a:pt x="1661054" y="3291415"/>
                  </a:cubicBezTo>
                  <a:cubicBezTo>
                    <a:pt x="1746246" y="3210570"/>
                    <a:pt x="1989632" y="3056543"/>
                    <a:pt x="2382975" y="2993094"/>
                  </a:cubicBezTo>
                  <a:close/>
                  <a:moveTo>
                    <a:pt x="0" y="2081743"/>
                  </a:moveTo>
                  <a:cubicBezTo>
                    <a:pt x="451497" y="2080558"/>
                    <a:pt x="708248" y="2254890"/>
                    <a:pt x="811955" y="2338769"/>
                  </a:cubicBezTo>
                  <a:cubicBezTo>
                    <a:pt x="908142" y="2423155"/>
                    <a:pt x="1088815" y="2697434"/>
                    <a:pt x="1096712" y="3096824"/>
                  </a:cubicBezTo>
                  <a:cubicBezTo>
                    <a:pt x="698685" y="3067586"/>
                    <a:pt x="442975" y="2934857"/>
                    <a:pt x="351256" y="2861497"/>
                  </a:cubicBezTo>
                  <a:cubicBezTo>
                    <a:pt x="218533" y="2712485"/>
                    <a:pt x="14798" y="2676347"/>
                    <a:pt x="0" y="2081743"/>
                  </a:cubicBezTo>
                  <a:close/>
                  <a:moveTo>
                    <a:pt x="2382975" y="1993394"/>
                  </a:moveTo>
                  <a:cubicBezTo>
                    <a:pt x="2407778" y="2391080"/>
                    <a:pt x="2250570" y="2679329"/>
                    <a:pt x="2161836" y="2771521"/>
                  </a:cubicBezTo>
                  <a:cubicBezTo>
                    <a:pt x="2065584" y="2863858"/>
                    <a:pt x="1824566" y="3059329"/>
                    <a:pt x="1375572" y="3097156"/>
                  </a:cubicBezTo>
                  <a:cubicBezTo>
                    <a:pt x="1341671" y="2504825"/>
                    <a:pt x="1541278" y="2451302"/>
                    <a:pt x="1661054" y="2291714"/>
                  </a:cubicBezTo>
                  <a:cubicBezTo>
                    <a:pt x="1746246" y="2210869"/>
                    <a:pt x="1989632" y="2056843"/>
                    <a:pt x="2382975" y="1993394"/>
                  </a:cubicBezTo>
                  <a:close/>
                  <a:moveTo>
                    <a:pt x="0" y="1082042"/>
                  </a:moveTo>
                  <a:cubicBezTo>
                    <a:pt x="451497" y="1080857"/>
                    <a:pt x="708248" y="1255189"/>
                    <a:pt x="811955" y="1339068"/>
                  </a:cubicBezTo>
                  <a:cubicBezTo>
                    <a:pt x="908142" y="1423454"/>
                    <a:pt x="1088815" y="1697733"/>
                    <a:pt x="1096712" y="2097123"/>
                  </a:cubicBezTo>
                  <a:cubicBezTo>
                    <a:pt x="698685" y="2067885"/>
                    <a:pt x="442975" y="1935156"/>
                    <a:pt x="351256" y="1861796"/>
                  </a:cubicBezTo>
                  <a:cubicBezTo>
                    <a:pt x="218533" y="1712784"/>
                    <a:pt x="14798" y="1676646"/>
                    <a:pt x="0" y="1082042"/>
                  </a:cubicBezTo>
                  <a:close/>
                  <a:moveTo>
                    <a:pt x="2382975" y="1009688"/>
                  </a:moveTo>
                  <a:cubicBezTo>
                    <a:pt x="2407778" y="1407374"/>
                    <a:pt x="2250570" y="1695623"/>
                    <a:pt x="2161836" y="1787815"/>
                  </a:cubicBezTo>
                  <a:cubicBezTo>
                    <a:pt x="2065584" y="1880152"/>
                    <a:pt x="1824566" y="2075623"/>
                    <a:pt x="1375572" y="2113449"/>
                  </a:cubicBezTo>
                  <a:cubicBezTo>
                    <a:pt x="1341671" y="1521119"/>
                    <a:pt x="1541278" y="1467596"/>
                    <a:pt x="1661054" y="1308008"/>
                  </a:cubicBezTo>
                  <a:cubicBezTo>
                    <a:pt x="1746246" y="1227163"/>
                    <a:pt x="1989632" y="1073137"/>
                    <a:pt x="2382975" y="1009688"/>
                  </a:cubicBezTo>
                  <a:close/>
                  <a:moveTo>
                    <a:pt x="1212057" y="0"/>
                  </a:moveTo>
                  <a:cubicBezTo>
                    <a:pt x="1536781" y="217283"/>
                    <a:pt x="1622832" y="564053"/>
                    <a:pt x="1622832" y="692010"/>
                  </a:cubicBezTo>
                  <a:cubicBezTo>
                    <a:pt x="1617516" y="825285"/>
                    <a:pt x="1498409" y="1240745"/>
                    <a:pt x="1228006" y="1354282"/>
                  </a:cubicBezTo>
                  <a:cubicBezTo>
                    <a:pt x="888912" y="1234850"/>
                    <a:pt x="797966" y="775860"/>
                    <a:pt x="797965" y="679799"/>
                  </a:cubicBezTo>
                  <a:cubicBezTo>
                    <a:pt x="803282" y="562473"/>
                    <a:pt x="868567" y="256338"/>
                    <a:pt x="121205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1793182" y="-302972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735285" y="3370313"/>
            <a:ext cx="792000" cy="792000"/>
            <a:chOff x="3426813" y="-1399385"/>
            <a:chExt cx="792000" cy="792000"/>
          </a:xfrm>
        </p:grpSpPr>
        <p:sp>
          <p:nvSpPr>
            <p:cNvPr id="79" name="Freeform 78"/>
            <p:cNvSpPr/>
            <p:nvPr/>
          </p:nvSpPr>
          <p:spPr>
            <a:xfrm>
              <a:off x="3457278" y="-1318405"/>
              <a:ext cx="731071" cy="630041"/>
            </a:xfrm>
            <a:custGeom>
              <a:avLst/>
              <a:gdLst>
                <a:gd name="connsiteX0" fmla="*/ 2123745 w 3445095"/>
                <a:gd name="connsiteY0" fmla="*/ 2369896 h 2969003"/>
                <a:gd name="connsiteX1" fmla="*/ 2049201 w 3445095"/>
                <a:gd name="connsiteY1" fmla="*/ 2632196 h 2969003"/>
                <a:gd name="connsiteX2" fmla="*/ 1837671 w 3445095"/>
                <a:gd name="connsiteY2" fmla="*/ 2734864 h 2969003"/>
                <a:gd name="connsiteX3" fmla="*/ 1792290 w 3445095"/>
                <a:gd name="connsiteY3" fmla="*/ 2740886 h 2969003"/>
                <a:gd name="connsiteX4" fmla="*/ 1793521 w 3445095"/>
                <a:gd name="connsiteY4" fmla="*/ 2944026 h 2969003"/>
                <a:gd name="connsiteX5" fmla="*/ 1677036 w 3445095"/>
                <a:gd name="connsiteY5" fmla="*/ 2944026 h 2969003"/>
                <a:gd name="connsiteX6" fmla="*/ 1674591 w 3445095"/>
                <a:gd name="connsiteY6" fmla="*/ 2737400 h 2969003"/>
                <a:gd name="connsiteX7" fmla="*/ 1642106 w 3445095"/>
                <a:gd name="connsiteY7" fmla="*/ 2733869 h 2969003"/>
                <a:gd name="connsiteX8" fmla="*/ 1438871 w 3445095"/>
                <a:gd name="connsiteY8" fmla="*/ 2659766 h 2969003"/>
                <a:gd name="connsiteX9" fmla="*/ 1320465 w 3445095"/>
                <a:gd name="connsiteY9" fmla="*/ 2396918 h 2969003"/>
                <a:gd name="connsiteX10" fmla="*/ 1594168 w 3445095"/>
                <a:gd name="connsiteY10" fmla="*/ 2483559 h 2969003"/>
                <a:gd name="connsiteX11" fmla="*/ 1678595 w 3445095"/>
                <a:gd name="connsiteY11" fmla="*/ 2646369 h 2969003"/>
                <a:gd name="connsiteX12" fmla="*/ 1678705 w 3445095"/>
                <a:gd name="connsiteY12" fmla="*/ 2646976 h 2969003"/>
                <a:gd name="connsiteX13" fmla="*/ 1687355 w 3445095"/>
                <a:gd name="connsiteY13" fmla="*/ 2656542 h 2969003"/>
                <a:gd name="connsiteX14" fmla="*/ 1771713 w 3445095"/>
                <a:gd name="connsiteY14" fmla="*/ 2661151 h 2969003"/>
                <a:gd name="connsiteX15" fmla="*/ 1784959 w 3445095"/>
                <a:gd name="connsiteY15" fmla="*/ 2652669 h 2969003"/>
                <a:gd name="connsiteX16" fmla="*/ 1785336 w 3445095"/>
                <a:gd name="connsiteY16" fmla="*/ 2647374 h 2969003"/>
                <a:gd name="connsiteX17" fmla="*/ 1880392 w 3445095"/>
                <a:gd name="connsiteY17" fmla="*/ 2470458 h 2969003"/>
                <a:gd name="connsiteX18" fmla="*/ 2123745 w 3445095"/>
                <a:gd name="connsiteY18" fmla="*/ 2369896 h 2969003"/>
                <a:gd name="connsiteX19" fmla="*/ 1320465 w 3445095"/>
                <a:gd name="connsiteY19" fmla="*/ 2062688 h 2969003"/>
                <a:gd name="connsiteX20" fmla="*/ 1594168 w 3445095"/>
                <a:gd name="connsiteY20" fmla="*/ 2149329 h 2969003"/>
                <a:gd name="connsiteX21" fmla="*/ 1690157 w 3445095"/>
                <a:gd name="connsiteY21" fmla="*/ 2404863 h 2969003"/>
                <a:gd name="connsiteX22" fmla="*/ 1438871 w 3445095"/>
                <a:gd name="connsiteY22" fmla="*/ 2325536 h 2969003"/>
                <a:gd name="connsiteX23" fmla="*/ 1320465 w 3445095"/>
                <a:gd name="connsiteY23" fmla="*/ 2062688 h 2969003"/>
                <a:gd name="connsiteX24" fmla="*/ 2123745 w 3445095"/>
                <a:gd name="connsiteY24" fmla="*/ 2032906 h 2969003"/>
                <a:gd name="connsiteX25" fmla="*/ 2049201 w 3445095"/>
                <a:gd name="connsiteY25" fmla="*/ 2295206 h 2969003"/>
                <a:gd name="connsiteX26" fmla="*/ 1784158 w 3445095"/>
                <a:gd name="connsiteY26" fmla="*/ 2404975 h 2969003"/>
                <a:gd name="connsiteX27" fmla="*/ 1880392 w 3445095"/>
                <a:gd name="connsiteY27" fmla="*/ 2133467 h 2969003"/>
                <a:gd name="connsiteX28" fmla="*/ 2123745 w 3445095"/>
                <a:gd name="connsiteY28" fmla="*/ 2032906 h 2969003"/>
                <a:gd name="connsiteX29" fmla="*/ 1320465 w 3445095"/>
                <a:gd name="connsiteY29" fmla="*/ 1725698 h 2969003"/>
                <a:gd name="connsiteX30" fmla="*/ 1594168 w 3445095"/>
                <a:gd name="connsiteY30" fmla="*/ 1812339 h 2969003"/>
                <a:gd name="connsiteX31" fmla="*/ 1690157 w 3445095"/>
                <a:gd name="connsiteY31" fmla="*/ 2067873 h 2969003"/>
                <a:gd name="connsiteX32" fmla="*/ 1438871 w 3445095"/>
                <a:gd name="connsiteY32" fmla="*/ 1988546 h 2969003"/>
                <a:gd name="connsiteX33" fmla="*/ 1320465 w 3445095"/>
                <a:gd name="connsiteY33" fmla="*/ 1725698 h 2969003"/>
                <a:gd name="connsiteX34" fmla="*/ 2123745 w 3445095"/>
                <a:gd name="connsiteY34" fmla="*/ 1701308 h 2969003"/>
                <a:gd name="connsiteX35" fmla="*/ 2049201 w 3445095"/>
                <a:gd name="connsiteY35" fmla="*/ 1963608 h 2969003"/>
                <a:gd name="connsiteX36" fmla="*/ 1784158 w 3445095"/>
                <a:gd name="connsiteY36" fmla="*/ 2073376 h 2969003"/>
                <a:gd name="connsiteX37" fmla="*/ 1880392 w 3445095"/>
                <a:gd name="connsiteY37" fmla="*/ 1801869 h 2969003"/>
                <a:gd name="connsiteX38" fmla="*/ 2123745 w 3445095"/>
                <a:gd name="connsiteY38" fmla="*/ 1701308 h 2969003"/>
                <a:gd name="connsiteX39" fmla="*/ 1729039 w 3445095"/>
                <a:gd name="connsiteY39" fmla="*/ 1360951 h 2969003"/>
                <a:gd name="connsiteX40" fmla="*/ 1867508 w 3445095"/>
                <a:gd name="connsiteY40" fmla="*/ 1594222 h 2969003"/>
                <a:gd name="connsiteX41" fmla="*/ 1734415 w 3445095"/>
                <a:gd name="connsiteY41" fmla="*/ 1817468 h 2969003"/>
                <a:gd name="connsiteX42" fmla="*/ 1589452 w 3445095"/>
                <a:gd name="connsiteY42" fmla="*/ 1590105 h 2969003"/>
                <a:gd name="connsiteX43" fmla="*/ 1729039 w 3445095"/>
                <a:gd name="connsiteY43" fmla="*/ 1360951 h 2969003"/>
                <a:gd name="connsiteX44" fmla="*/ 1717656 w 3445095"/>
                <a:gd name="connsiteY44" fmla="*/ 0 h 2969003"/>
                <a:gd name="connsiteX45" fmla="*/ 2793209 w 3445095"/>
                <a:gd name="connsiteY45" fmla="*/ 693418 h 2969003"/>
                <a:gd name="connsiteX46" fmla="*/ 3292138 w 3445095"/>
                <a:gd name="connsiteY46" fmla="*/ 1591356 h 2969003"/>
                <a:gd name="connsiteX47" fmla="*/ 3445095 w 3445095"/>
                <a:gd name="connsiteY47" fmla="*/ 2969003 h 2969003"/>
                <a:gd name="connsiteX48" fmla="*/ 3199104 w 3445095"/>
                <a:gd name="connsiteY48" fmla="*/ 2969003 h 2969003"/>
                <a:gd name="connsiteX49" fmla="*/ 3057226 w 3445095"/>
                <a:gd name="connsiteY49" fmla="*/ 1691148 h 2969003"/>
                <a:gd name="connsiteX50" fmla="*/ 2632724 w 3445095"/>
                <a:gd name="connsiteY50" fmla="*/ 927157 h 2969003"/>
                <a:gd name="connsiteX51" fmla="*/ 1717613 w 3445095"/>
                <a:gd name="connsiteY51" fmla="*/ 337178 h 2969003"/>
                <a:gd name="connsiteX52" fmla="*/ 870599 w 3445095"/>
                <a:gd name="connsiteY52" fmla="*/ 910098 h 2969003"/>
                <a:gd name="connsiteX53" fmla="*/ 356249 w 3445095"/>
                <a:gd name="connsiteY53" fmla="*/ 1795923 h 2969003"/>
                <a:gd name="connsiteX54" fmla="*/ 246273 w 3445095"/>
                <a:gd name="connsiteY54" fmla="*/ 2969003 h 2969003"/>
                <a:gd name="connsiteX55" fmla="*/ 0 w 3445095"/>
                <a:gd name="connsiteY55" fmla="*/ 2969003 h 2969003"/>
                <a:gd name="connsiteX56" fmla="*/ 117610 w 3445095"/>
                <a:gd name="connsiteY56" fmla="*/ 1714500 h 2969003"/>
                <a:gd name="connsiteX57" fmla="*/ 722139 w 3445095"/>
                <a:gd name="connsiteY57" fmla="*/ 673368 h 2969003"/>
                <a:gd name="connsiteX58" fmla="*/ 1717656 w 3445095"/>
                <a:gd name="connsiteY58" fmla="*/ 0 h 2969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445095" h="2969003">
                  <a:moveTo>
                    <a:pt x="2123745" y="2369896"/>
                  </a:moveTo>
                  <a:cubicBezTo>
                    <a:pt x="2132106" y="2503953"/>
                    <a:pt x="2079112" y="2601119"/>
                    <a:pt x="2049201" y="2632196"/>
                  </a:cubicBezTo>
                  <a:cubicBezTo>
                    <a:pt x="2020811" y="2659431"/>
                    <a:pt x="1955059" y="2713284"/>
                    <a:pt x="1837671" y="2734864"/>
                  </a:cubicBezTo>
                  <a:lnTo>
                    <a:pt x="1792290" y="2740886"/>
                  </a:lnTo>
                  <a:lnTo>
                    <a:pt x="1793521" y="2944026"/>
                  </a:lnTo>
                  <a:cubicBezTo>
                    <a:pt x="1743940" y="2981659"/>
                    <a:pt x="1705112" y="2972699"/>
                    <a:pt x="1677036" y="2944026"/>
                  </a:cubicBezTo>
                  <a:lnTo>
                    <a:pt x="1674591" y="2737400"/>
                  </a:lnTo>
                  <a:lnTo>
                    <a:pt x="1642106" y="2733869"/>
                  </a:lnTo>
                  <a:cubicBezTo>
                    <a:pt x="1535300" y="2718364"/>
                    <a:pt x="1465923" y="2681404"/>
                    <a:pt x="1438871" y="2659766"/>
                  </a:cubicBezTo>
                  <a:cubicBezTo>
                    <a:pt x="1394131" y="2609535"/>
                    <a:pt x="1325454" y="2597354"/>
                    <a:pt x="1320465" y="2396918"/>
                  </a:cubicBezTo>
                  <a:cubicBezTo>
                    <a:pt x="1472661" y="2396518"/>
                    <a:pt x="1559209" y="2455284"/>
                    <a:pt x="1594168" y="2483559"/>
                  </a:cubicBezTo>
                  <a:cubicBezTo>
                    <a:pt x="1618486" y="2504893"/>
                    <a:pt x="1658823" y="2562234"/>
                    <a:pt x="1678595" y="2646369"/>
                  </a:cubicBezTo>
                  <a:lnTo>
                    <a:pt x="1678705" y="2646976"/>
                  </a:lnTo>
                  <a:lnTo>
                    <a:pt x="1687355" y="2656542"/>
                  </a:lnTo>
                  <a:cubicBezTo>
                    <a:pt x="1713448" y="2678073"/>
                    <a:pt x="1747646" y="2672687"/>
                    <a:pt x="1771713" y="2661151"/>
                  </a:cubicBezTo>
                  <a:lnTo>
                    <a:pt x="1784959" y="2652669"/>
                  </a:lnTo>
                  <a:lnTo>
                    <a:pt x="1785336" y="2647374"/>
                  </a:lnTo>
                  <a:cubicBezTo>
                    <a:pt x="1797017" y="2534272"/>
                    <a:pt x="1847587" y="2514167"/>
                    <a:pt x="1880392" y="2470458"/>
                  </a:cubicBezTo>
                  <a:cubicBezTo>
                    <a:pt x="1909109" y="2443206"/>
                    <a:pt x="1991153" y="2391284"/>
                    <a:pt x="2123745" y="2369896"/>
                  </a:cubicBezTo>
                  <a:close/>
                  <a:moveTo>
                    <a:pt x="1320465" y="2062688"/>
                  </a:moveTo>
                  <a:cubicBezTo>
                    <a:pt x="1472661" y="2062289"/>
                    <a:pt x="1559209" y="2121054"/>
                    <a:pt x="1594168" y="2149329"/>
                  </a:cubicBezTo>
                  <a:cubicBezTo>
                    <a:pt x="1626592" y="2177775"/>
                    <a:pt x="1687495" y="2270232"/>
                    <a:pt x="1690157" y="2404863"/>
                  </a:cubicBezTo>
                  <a:cubicBezTo>
                    <a:pt x="1555986" y="2395007"/>
                    <a:pt x="1469788" y="2350265"/>
                    <a:pt x="1438871" y="2325536"/>
                  </a:cubicBezTo>
                  <a:cubicBezTo>
                    <a:pt x="1394131" y="2275306"/>
                    <a:pt x="1325454" y="2263124"/>
                    <a:pt x="1320465" y="2062688"/>
                  </a:cubicBezTo>
                  <a:close/>
                  <a:moveTo>
                    <a:pt x="2123745" y="2032906"/>
                  </a:moveTo>
                  <a:cubicBezTo>
                    <a:pt x="2132106" y="2166963"/>
                    <a:pt x="2079112" y="2264129"/>
                    <a:pt x="2049201" y="2295206"/>
                  </a:cubicBezTo>
                  <a:cubicBezTo>
                    <a:pt x="2016755" y="2326332"/>
                    <a:pt x="1935510" y="2392224"/>
                    <a:pt x="1784158" y="2404975"/>
                  </a:cubicBezTo>
                  <a:cubicBezTo>
                    <a:pt x="1772731" y="2205305"/>
                    <a:pt x="1840016" y="2187263"/>
                    <a:pt x="1880392" y="2133467"/>
                  </a:cubicBezTo>
                  <a:cubicBezTo>
                    <a:pt x="1909109" y="2106215"/>
                    <a:pt x="1991153" y="2054295"/>
                    <a:pt x="2123745" y="2032906"/>
                  </a:cubicBezTo>
                  <a:close/>
                  <a:moveTo>
                    <a:pt x="1320465" y="1725698"/>
                  </a:moveTo>
                  <a:cubicBezTo>
                    <a:pt x="1472661" y="1725298"/>
                    <a:pt x="1559209" y="1784064"/>
                    <a:pt x="1594168" y="1812339"/>
                  </a:cubicBezTo>
                  <a:cubicBezTo>
                    <a:pt x="1626592" y="1840785"/>
                    <a:pt x="1687495" y="1933242"/>
                    <a:pt x="1690157" y="2067873"/>
                  </a:cubicBezTo>
                  <a:cubicBezTo>
                    <a:pt x="1555986" y="2058017"/>
                    <a:pt x="1469788" y="2013275"/>
                    <a:pt x="1438871" y="1988546"/>
                  </a:cubicBezTo>
                  <a:cubicBezTo>
                    <a:pt x="1394131" y="1938315"/>
                    <a:pt x="1325454" y="1926134"/>
                    <a:pt x="1320465" y="1725698"/>
                  </a:cubicBezTo>
                  <a:close/>
                  <a:moveTo>
                    <a:pt x="2123745" y="1701308"/>
                  </a:moveTo>
                  <a:cubicBezTo>
                    <a:pt x="2132106" y="1835364"/>
                    <a:pt x="2079112" y="1932531"/>
                    <a:pt x="2049201" y="1963608"/>
                  </a:cubicBezTo>
                  <a:cubicBezTo>
                    <a:pt x="2016755" y="1994734"/>
                    <a:pt x="1935510" y="2060625"/>
                    <a:pt x="1784158" y="2073376"/>
                  </a:cubicBezTo>
                  <a:cubicBezTo>
                    <a:pt x="1772731" y="1873707"/>
                    <a:pt x="1840016" y="1855665"/>
                    <a:pt x="1880392" y="1801869"/>
                  </a:cubicBezTo>
                  <a:cubicBezTo>
                    <a:pt x="1909109" y="1774617"/>
                    <a:pt x="1991153" y="1722696"/>
                    <a:pt x="2123745" y="1701308"/>
                  </a:cubicBezTo>
                  <a:close/>
                  <a:moveTo>
                    <a:pt x="1729039" y="1360951"/>
                  </a:moveTo>
                  <a:cubicBezTo>
                    <a:pt x="1838501" y="1434195"/>
                    <a:pt x="1867508" y="1551088"/>
                    <a:pt x="1867508" y="1594222"/>
                  </a:cubicBezTo>
                  <a:cubicBezTo>
                    <a:pt x="1865716" y="1639147"/>
                    <a:pt x="1825566" y="1779195"/>
                    <a:pt x="1734415" y="1817468"/>
                  </a:cubicBezTo>
                  <a:cubicBezTo>
                    <a:pt x="1620110" y="1777208"/>
                    <a:pt x="1589453" y="1622487"/>
                    <a:pt x="1589452" y="1590105"/>
                  </a:cubicBezTo>
                  <a:cubicBezTo>
                    <a:pt x="1591245" y="1550556"/>
                    <a:pt x="1613251" y="1447360"/>
                    <a:pt x="1729039" y="1360951"/>
                  </a:cubicBezTo>
                  <a:close/>
                  <a:moveTo>
                    <a:pt x="1717656" y="0"/>
                  </a:moveTo>
                  <a:lnTo>
                    <a:pt x="2793209" y="693418"/>
                  </a:lnTo>
                  <a:cubicBezTo>
                    <a:pt x="3068071" y="1182210"/>
                    <a:pt x="2900981" y="873986"/>
                    <a:pt x="3292138" y="1591356"/>
                  </a:cubicBezTo>
                  <a:lnTo>
                    <a:pt x="3445095" y="2969003"/>
                  </a:lnTo>
                  <a:lnTo>
                    <a:pt x="3199104" y="2969003"/>
                  </a:lnTo>
                  <a:lnTo>
                    <a:pt x="3057226" y="1691148"/>
                  </a:lnTo>
                  <a:cubicBezTo>
                    <a:pt x="2724419" y="1080790"/>
                    <a:pt x="2866584" y="1343035"/>
                    <a:pt x="2632724" y="927157"/>
                  </a:cubicBezTo>
                  <a:lnTo>
                    <a:pt x="1717613" y="337178"/>
                  </a:lnTo>
                  <a:cubicBezTo>
                    <a:pt x="1026009" y="800893"/>
                    <a:pt x="1573458" y="414490"/>
                    <a:pt x="870599" y="910098"/>
                  </a:cubicBezTo>
                  <a:cubicBezTo>
                    <a:pt x="355396" y="1794667"/>
                    <a:pt x="516895" y="1472073"/>
                    <a:pt x="356249" y="1795923"/>
                  </a:cubicBezTo>
                  <a:lnTo>
                    <a:pt x="246273" y="2969003"/>
                  </a:lnTo>
                  <a:lnTo>
                    <a:pt x="0" y="2969003"/>
                  </a:lnTo>
                  <a:lnTo>
                    <a:pt x="117610" y="1714500"/>
                  </a:lnTo>
                  <a:cubicBezTo>
                    <a:pt x="306421" y="1333871"/>
                    <a:pt x="116607" y="1713024"/>
                    <a:pt x="722139" y="673368"/>
                  </a:cubicBezTo>
                  <a:cubicBezTo>
                    <a:pt x="1548227" y="90867"/>
                    <a:pt x="904796" y="545016"/>
                    <a:pt x="17176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3426813" y="-139938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11831" y="3076067"/>
            <a:ext cx="792000" cy="792000"/>
            <a:chOff x="4358969" y="-1440032"/>
            <a:chExt cx="792000" cy="792000"/>
          </a:xfrm>
        </p:grpSpPr>
        <p:sp>
          <p:nvSpPr>
            <p:cNvPr id="89" name="Freeform 88"/>
            <p:cNvSpPr/>
            <p:nvPr/>
          </p:nvSpPr>
          <p:spPr>
            <a:xfrm>
              <a:off x="4390090" y="-1190973"/>
              <a:ext cx="729759" cy="293883"/>
            </a:xfrm>
            <a:custGeom>
              <a:avLst/>
              <a:gdLst>
                <a:gd name="connsiteX0" fmla="*/ 4627974 w 5063648"/>
                <a:gd name="connsiteY0" fmla="*/ 625458 h 2039194"/>
                <a:gd name="connsiteX1" fmla="*/ 4435488 w 5063648"/>
                <a:gd name="connsiteY1" fmla="*/ 817944 h 2039194"/>
                <a:gd name="connsiteX2" fmla="*/ 4436327 w 5063648"/>
                <a:gd name="connsiteY2" fmla="*/ 866674 h 2039194"/>
                <a:gd name="connsiteX3" fmla="*/ 4373871 w 5063648"/>
                <a:gd name="connsiteY3" fmla="*/ 923849 h 2039194"/>
                <a:gd name="connsiteX4" fmla="*/ 3551220 w 5063648"/>
                <a:gd name="connsiteY4" fmla="*/ 923849 h 2039194"/>
                <a:gd name="connsiteX5" fmla="*/ 3568226 w 5063648"/>
                <a:gd name="connsiteY5" fmla="*/ 1019596 h 2039194"/>
                <a:gd name="connsiteX6" fmla="*/ 3554446 w 5063648"/>
                <a:gd name="connsiteY6" fmla="*/ 1097183 h 2039194"/>
                <a:gd name="connsiteX7" fmla="*/ 4368991 w 5063648"/>
                <a:gd name="connsiteY7" fmla="*/ 1097183 h 2039194"/>
                <a:gd name="connsiteX8" fmla="*/ 4422039 w 5063648"/>
                <a:gd name="connsiteY8" fmla="*/ 1127991 h 2039194"/>
                <a:gd name="connsiteX9" fmla="*/ 4435487 w 5063648"/>
                <a:gd name="connsiteY9" fmla="*/ 1202915 h 2039194"/>
                <a:gd name="connsiteX10" fmla="*/ 4627973 w 5063648"/>
                <a:gd name="connsiteY10" fmla="*/ 1395401 h 2039194"/>
                <a:gd name="connsiteX11" fmla="*/ 4820459 w 5063648"/>
                <a:gd name="connsiteY11" fmla="*/ 1202915 h 2039194"/>
                <a:gd name="connsiteX12" fmla="*/ 4764081 w 5063648"/>
                <a:gd name="connsiteY12" fmla="*/ 1066807 h 2039194"/>
                <a:gd name="connsiteX13" fmla="*/ 4764082 w 5063648"/>
                <a:gd name="connsiteY13" fmla="*/ 954052 h 2039194"/>
                <a:gd name="connsiteX14" fmla="*/ 4820460 w 5063648"/>
                <a:gd name="connsiteY14" fmla="*/ 817944 h 2039194"/>
                <a:gd name="connsiteX15" fmla="*/ 4627974 w 5063648"/>
                <a:gd name="connsiteY15" fmla="*/ 625458 h 2039194"/>
                <a:gd name="connsiteX16" fmla="*/ 1137566 w 5063648"/>
                <a:gd name="connsiteY16" fmla="*/ 236146 h 2039194"/>
                <a:gd name="connsiteX17" fmla="*/ 243049 w 5063648"/>
                <a:gd name="connsiteY17" fmla="*/ 1003904 h 2039194"/>
                <a:gd name="connsiteX18" fmla="*/ 248403 w 5063648"/>
                <a:gd name="connsiteY18" fmla="*/ 1027127 h 2039194"/>
                <a:gd name="connsiteX19" fmla="*/ 324602 w 5063648"/>
                <a:gd name="connsiteY19" fmla="*/ 1046197 h 2039194"/>
                <a:gd name="connsiteX20" fmla="*/ 347825 w 5063648"/>
                <a:gd name="connsiteY20" fmla="*/ 1014650 h 2039194"/>
                <a:gd name="connsiteX21" fmla="*/ 2457450 w 5063648"/>
                <a:gd name="connsiteY21" fmla="*/ 697943 h 2039194"/>
                <a:gd name="connsiteX22" fmla="*/ 2518771 w 5063648"/>
                <a:gd name="connsiteY22" fmla="*/ 686628 h 2039194"/>
                <a:gd name="connsiteX23" fmla="*/ 2537822 w 5063648"/>
                <a:gd name="connsiteY23" fmla="*/ 619933 h 2039194"/>
                <a:gd name="connsiteX24" fmla="*/ 2516981 w 5063648"/>
                <a:gd name="connsiteY24" fmla="*/ 577660 h 2039194"/>
                <a:gd name="connsiteX25" fmla="*/ 1137566 w 5063648"/>
                <a:gd name="connsiteY25" fmla="*/ 236146 h 2039194"/>
                <a:gd name="connsiteX26" fmla="*/ 1229990 w 5063648"/>
                <a:gd name="connsiteY26" fmla="*/ 0 h 2039194"/>
                <a:gd name="connsiteX27" fmla="*/ 1749754 w 5063648"/>
                <a:gd name="connsiteY27" fmla="*/ 95238 h 2039194"/>
                <a:gd name="connsiteX28" fmla="*/ 1846074 w 5063648"/>
                <a:gd name="connsiteY28" fmla="*/ 137821 h 2039194"/>
                <a:gd name="connsiteX29" fmla="*/ 2824473 w 5063648"/>
                <a:gd name="connsiteY29" fmla="*/ 468999 h 2039194"/>
                <a:gd name="connsiteX30" fmla="*/ 3014102 w 5063648"/>
                <a:gd name="connsiteY30" fmla="*/ 469000 h 2039194"/>
                <a:gd name="connsiteX31" fmla="*/ 3020210 w 5063648"/>
                <a:gd name="connsiteY31" fmla="*/ 469000 h 2039194"/>
                <a:gd name="connsiteX32" fmla="*/ 3020209 w 5063648"/>
                <a:gd name="connsiteY32" fmla="*/ 469612 h 2039194"/>
                <a:gd name="connsiteX33" fmla="*/ 3125777 w 5063648"/>
                <a:gd name="connsiteY33" fmla="*/ 480186 h 2039194"/>
                <a:gd name="connsiteX34" fmla="*/ 3441691 w 5063648"/>
                <a:gd name="connsiteY34" fmla="*/ 669366 h 2039194"/>
                <a:gd name="connsiteX35" fmla="*/ 3457505 w 5063648"/>
                <a:gd name="connsiteY35" fmla="*/ 692041 h 2039194"/>
                <a:gd name="connsiteX36" fmla="*/ 4236894 w 5063648"/>
                <a:gd name="connsiteY36" fmla="*/ 692041 h 2039194"/>
                <a:gd name="connsiteX37" fmla="*/ 4255268 w 5063648"/>
                <a:gd name="connsiteY37" fmla="*/ 632849 h 2039194"/>
                <a:gd name="connsiteX38" fmla="*/ 4642927 w 5063648"/>
                <a:gd name="connsiteY38" fmla="*/ 375892 h 2039194"/>
                <a:gd name="connsiteX39" fmla="*/ 5063648 w 5063648"/>
                <a:gd name="connsiteY39" fmla="*/ 796613 h 2039194"/>
                <a:gd name="connsiteX40" fmla="*/ 5030586 w 5063648"/>
                <a:gd name="connsiteY40" fmla="*/ 960377 h 2039194"/>
                <a:gd name="connsiteX41" fmla="*/ 4998138 w 5063648"/>
                <a:gd name="connsiteY41" fmla="*/ 1020157 h 2039194"/>
                <a:gd name="connsiteX42" fmla="*/ 5030586 w 5063648"/>
                <a:gd name="connsiteY42" fmla="*/ 1079937 h 2039194"/>
                <a:gd name="connsiteX43" fmla="*/ 5063648 w 5063648"/>
                <a:gd name="connsiteY43" fmla="*/ 1243701 h 2039194"/>
                <a:gd name="connsiteX44" fmla="*/ 4642927 w 5063648"/>
                <a:gd name="connsiteY44" fmla="*/ 1664422 h 2039194"/>
                <a:gd name="connsiteX45" fmla="*/ 4255268 w 5063648"/>
                <a:gd name="connsiteY45" fmla="*/ 1407465 h 2039194"/>
                <a:gd name="connsiteX46" fmla="*/ 4233994 w 5063648"/>
                <a:gd name="connsiteY46" fmla="*/ 1338930 h 2039194"/>
                <a:gd name="connsiteX47" fmla="*/ 3463238 w 5063648"/>
                <a:gd name="connsiteY47" fmla="*/ 1338930 h 2039194"/>
                <a:gd name="connsiteX48" fmla="*/ 3441691 w 5063648"/>
                <a:gd name="connsiteY48" fmla="*/ 1369826 h 2039194"/>
                <a:gd name="connsiteX49" fmla="*/ 3125778 w 5063648"/>
                <a:gd name="connsiteY49" fmla="*/ 1559006 h 2039194"/>
                <a:gd name="connsiteX50" fmla="*/ 3020210 w 5063648"/>
                <a:gd name="connsiteY50" fmla="*/ 1569580 h 2039194"/>
                <a:gd name="connsiteX51" fmla="*/ 3020210 w 5063648"/>
                <a:gd name="connsiteY51" fmla="*/ 1570419 h 2039194"/>
                <a:gd name="connsiteX52" fmla="*/ 2837876 w 5063648"/>
                <a:gd name="connsiteY52" fmla="*/ 1570420 h 2039194"/>
                <a:gd name="connsiteX53" fmla="*/ 1832519 w 5063648"/>
                <a:gd name="connsiteY53" fmla="*/ 1907364 h 2039194"/>
                <a:gd name="connsiteX54" fmla="*/ 1749754 w 5063648"/>
                <a:gd name="connsiteY54" fmla="*/ 1943954 h 2039194"/>
                <a:gd name="connsiteX55" fmla="*/ 1229990 w 5063648"/>
                <a:gd name="connsiteY55" fmla="*/ 2039194 h 2039194"/>
                <a:gd name="connsiteX56" fmla="*/ 0 w 5063648"/>
                <a:gd name="connsiteY56" fmla="*/ 1019597 h 2039194"/>
                <a:gd name="connsiteX57" fmla="*/ 1229990 w 5063648"/>
                <a:gd name="connsiteY57" fmla="*/ 0 h 203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063648" h="2039194">
                  <a:moveTo>
                    <a:pt x="4627974" y="625458"/>
                  </a:moveTo>
                  <a:cubicBezTo>
                    <a:pt x="4521667" y="625458"/>
                    <a:pt x="4435488" y="711637"/>
                    <a:pt x="4435488" y="817944"/>
                  </a:cubicBezTo>
                  <a:cubicBezTo>
                    <a:pt x="4435488" y="844521"/>
                    <a:pt x="4426586" y="843645"/>
                    <a:pt x="4436327" y="866674"/>
                  </a:cubicBezTo>
                  <a:cubicBezTo>
                    <a:pt x="4422651" y="904782"/>
                    <a:pt x="4425646" y="904791"/>
                    <a:pt x="4373871" y="923849"/>
                  </a:cubicBezTo>
                  <a:lnTo>
                    <a:pt x="3551220" y="923849"/>
                  </a:lnTo>
                  <a:lnTo>
                    <a:pt x="3568226" y="1019596"/>
                  </a:lnTo>
                  <a:lnTo>
                    <a:pt x="3554446" y="1097183"/>
                  </a:lnTo>
                  <a:lnTo>
                    <a:pt x="4368991" y="1097183"/>
                  </a:lnTo>
                  <a:cubicBezTo>
                    <a:pt x="4405724" y="1105070"/>
                    <a:pt x="4418644" y="1108197"/>
                    <a:pt x="4422039" y="1127991"/>
                  </a:cubicBezTo>
                  <a:cubicBezTo>
                    <a:pt x="4433730" y="1160545"/>
                    <a:pt x="4429740" y="1155966"/>
                    <a:pt x="4435487" y="1202915"/>
                  </a:cubicBezTo>
                  <a:cubicBezTo>
                    <a:pt x="4453140" y="1340352"/>
                    <a:pt x="4521666" y="1395401"/>
                    <a:pt x="4627973" y="1395401"/>
                  </a:cubicBezTo>
                  <a:cubicBezTo>
                    <a:pt x="4734280" y="1395401"/>
                    <a:pt x="4820459" y="1309222"/>
                    <a:pt x="4820459" y="1202915"/>
                  </a:cubicBezTo>
                  <a:cubicBezTo>
                    <a:pt x="4820459" y="1149762"/>
                    <a:pt x="4801295" y="1101640"/>
                    <a:pt x="4764081" y="1066807"/>
                  </a:cubicBezTo>
                  <a:cubicBezTo>
                    <a:pt x="4745031" y="1019697"/>
                    <a:pt x="4745032" y="991637"/>
                    <a:pt x="4764082" y="954052"/>
                  </a:cubicBezTo>
                  <a:cubicBezTo>
                    <a:pt x="4806059" y="919219"/>
                    <a:pt x="4820460" y="871097"/>
                    <a:pt x="4820460" y="817944"/>
                  </a:cubicBezTo>
                  <a:cubicBezTo>
                    <a:pt x="4820460" y="711637"/>
                    <a:pt x="4734281" y="625458"/>
                    <a:pt x="4627974" y="625458"/>
                  </a:cubicBezTo>
                  <a:close/>
                  <a:moveTo>
                    <a:pt x="1137566" y="236146"/>
                  </a:moveTo>
                  <a:cubicBezTo>
                    <a:pt x="652164" y="225347"/>
                    <a:pt x="325172" y="429278"/>
                    <a:pt x="243049" y="1003904"/>
                  </a:cubicBezTo>
                  <a:cubicBezTo>
                    <a:pt x="231539" y="1003904"/>
                    <a:pt x="248403" y="1015617"/>
                    <a:pt x="248403" y="1027127"/>
                  </a:cubicBezTo>
                  <a:lnTo>
                    <a:pt x="324602" y="1046197"/>
                  </a:lnTo>
                  <a:cubicBezTo>
                    <a:pt x="324602" y="1057707"/>
                    <a:pt x="336315" y="1014650"/>
                    <a:pt x="347825" y="1014650"/>
                  </a:cubicBezTo>
                  <a:cubicBezTo>
                    <a:pt x="596214" y="-176769"/>
                    <a:pt x="1942361" y="584437"/>
                    <a:pt x="2457450" y="697943"/>
                  </a:cubicBezTo>
                  <a:cubicBezTo>
                    <a:pt x="2468960" y="697943"/>
                    <a:pt x="2518771" y="698138"/>
                    <a:pt x="2518771" y="686628"/>
                  </a:cubicBezTo>
                  <a:lnTo>
                    <a:pt x="2537822" y="619933"/>
                  </a:lnTo>
                  <a:cubicBezTo>
                    <a:pt x="2537822" y="608423"/>
                    <a:pt x="2528491" y="577660"/>
                    <a:pt x="2516981" y="577660"/>
                  </a:cubicBezTo>
                  <a:cubicBezTo>
                    <a:pt x="1988466" y="382844"/>
                    <a:pt x="1515102" y="244546"/>
                    <a:pt x="1137566" y="236146"/>
                  </a:cubicBezTo>
                  <a:close/>
                  <a:moveTo>
                    <a:pt x="1229990" y="0"/>
                  </a:moveTo>
                  <a:cubicBezTo>
                    <a:pt x="1415737" y="-1"/>
                    <a:pt x="1591869" y="34130"/>
                    <a:pt x="1749754" y="95238"/>
                  </a:cubicBezTo>
                  <a:lnTo>
                    <a:pt x="1846074" y="137821"/>
                  </a:lnTo>
                  <a:lnTo>
                    <a:pt x="2824473" y="468999"/>
                  </a:lnTo>
                  <a:lnTo>
                    <a:pt x="3014102" y="469000"/>
                  </a:lnTo>
                  <a:lnTo>
                    <a:pt x="3020210" y="469000"/>
                  </a:lnTo>
                  <a:lnTo>
                    <a:pt x="3020209" y="469612"/>
                  </a:lnTo>
                  <a:lnTo>
                    <a:pt x="3125777" y="480186"/>
                  </a:lnTo>
                  <a:cubicBezTo>
                    <a:pt x="3252029" y="505856"/>
                    <a:pt x="3362642" y="574190"/>
                    <a:pt x="3441691" y="669366"/>
                  </a:cubicBezTo>
                  <a:lnTo>
                    <a:pt x="3457505" y="692041"/>
                  </a:lnTo>
                  <a:lnTo>
                    <a:pt x="4236894" y="692041"/>
                  </a:lnTo>
                  <a:lnTo>
                    <a:pt x="4255268" y="632849"/>
                  </a:lnTo>
                  <a:cubicBezTo>
                    <a:pt x="4319137" y="481846"/>
                    <a:pt x="4468659" y="375892"/>
                    <a:pt x="4642927" y="375892"/>
                  </a:cubicBezTo>
                  <a:cubicBezTo>
                    <a:pt x="4875285" y="375892"/>
                    <a:pt x="5063648" y="564255"/>
                    <a:pt x="5063648" y="796613"/>
                  </a:cubicBezTo>
                  <a:cubicBezTo>
                    <a:pt x="5063648" y="854703"/>
                    <a:pt x="5051875" y="910042"/>
                    <a:pt x="5030586" y="960377"/>
                  </a:cubicBezTo>
                  <a:lnTo>
                    <a:pt x="4998138" y="1020157"/>
                  </a:lnTo>
                  <a:lnTo>
                    <a:pt x="5030586" y="1079937"/>
                  </a:lnTo>
                  <a:cubicBezTo>
                    <a:pt x="5051875" y="1130272"/>
                    <a:pt x="5063648" y="1185612"/>
                    <a:pt x="5063648" y="1243701"/>
                  </a:cubicBezTo>
                  <a:cubicBezTo>
                    <a:pt x="5063648" y="1476059"/>
                    <a:pt x="4875285" y="1664422"/>
                    <a:pt x="4642927" y="1664422"/>
                  </a:cubicBezTo>
                  <a:cubicBezTo>
                    <a:pt x="4468659" y="1664422"/>
                    <a:pt x="4319137" y="1558468"/>
                    <a:pt x="4255268" y="1407465"/>
                  </a:cubicBezTo>
                  <a:lnTo>
                    <a:pt x="4233994" y="1338930"/>
                  </a:lnTo>
                  <a:lnTo>
                    <a:pt x="3463238" y="1338930"/>
                  </a:lnTo>
                  <a:lnTo>
                    <a:pt x="3441691" y="1369826"/>
                  </a:lnTo>
                  <a:cubicBezTo>
                    <a:pt x="3362642" y="1465001"/>
                    <a:pt x="3252030" y="1533335"/>
                    <a:pt x="3125778" y="1559006"/>
                  </a:cubicBezTo>
                  <a:lnTo>
                    <a:pt x="3020210" y="1569580"/>
                  </a:lnTo>
                  <a:lnTo>
                    <a:pt x="3020210" y="1570419"/>
                  </a:lnTo>
                  <a:lnTo>
                    <a:pt x="2837876" y="1570420"/>
                  </a:lnTo>
                  <a:lnTo>
                    <a:pt x="1832519" y="1907364"/>
                  </a:lnTo>
                  <a:lnTo>
                    <a:pt x="1749754" y="1943954"/>
                  </a:lnTo>
                  <a:cubicBezTo>
                    <a:pt x="1591869" y="2005064"/>
                    <a:pt x="1415738" y="2039194"/>
                    <a:pt x="1229990" y="2039194"/>
                  </a:cubicBezTo>
                  <a:cubicBezTo>
                    <a:pt x="550686" y="2039194"/>
                    <a:pt x="1" y="1582705"/>
                    <a:pt x="0" y="1019597"/>
                  </a:cubicBezTo>
                  <a:cubicBezTo>
                    <a:pt x="0" y="456489"/>
                    <a:pt x="550685" y="-1"/>
                    <a:pt x="122999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4358969" y="-144003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-58113" y="4150928"/>
            <a:ext cx="792000" cy="792000"/>
            <a:chOff x="2685588" y="-2856917"/>
            <a:chExt cx="792000" cy="792000"/>
          </a:xfrm>
        </p:grpSpPr>
        <p:sp>
          <p:nvSpPr>
            <p:cNvPr id="86" name="Freeform 85"/>
            <p:cNvSpPr/>
            <p:nvPr/>
          </p:nvSpPr>
          <p:spPr>
            <a:xfrm>
              <a:off x="2773958" y="-2824217"/>
              <a:ext cx="615260" cy="726601"/>
            </a:xfrm>
            <a:custGeom>
              <a:avLst/>
              <a:gdLst>
                <a:gd name="connsiteX0" fmla="*/ 2647133 w 3745994"/>
                <a:gd name="connsiteY0" fmla="*/ 2347690 h 4423890"/>
                <a:gd name="connsiteX1" fmla="*/ 2632230 w 3745994"/>
                <a:gd name="connsiteY1" fmla="*/ 2477599 h 4423890"/>
                <a:gd name="connsiteX2" fmla="*/ 2647133 w 3745994"/>
                <a:gd name="connsiteY2" fmla="*/ 2347690 h 4423890"/>
                <a:gd name="connsiteX3" fmla="*/ 2843635 w 3745994"/>
                <a:gd name="connsiteY3" fmla="*/ 2149523 h 4423890"/>
                <a:gd name="connsiteX4" fmla="*/ 2857762 w 3745994"/>
                <a:gd name="connsiteY4" fmla="*/ 2163650 h 4423890"/>
                <a:gd name="connsiteX5" fmla="*/ 2856791 w 3745994"/>
                <a:gd name="connsiteY5" fmla="*/ 2192393 h 4423890"/>
                <a:gd name="connsiteX6" fmla="*/ 2852405 w 3745994"/>
                <a:gd name="connsiteY6" fmla="*/ 2258403 h 4423890"/>
                <a:gd name="connsiteX7" fmla="*/ 2849571 w 3745994"/>
                <a:gd name="connsiteY7" fmla="*/ 2301061 h 4423890"/>
                <a:gd name="connsiteX8" fmla="*/ 2917710 w 3745994"/>
                <a:gd name="connsiteY8" fmla="*/ 2295688 h 4423890"/>
                <a:gd name="connsiteX9" fmla="*/ 3068994 w 3745994"/>
                <a:gd name="connsiteY9" fmla="*/ 2503695 h 4423890"/>
                <a:gd name="connsiteX10" fmla="*/ 2815911 w 3745994"/>
                <a:gd name="connsiteY10" fmla="*/ 2716666 h 4423890"/>
                <a:gd name="connsiteX11" fmla="*/ 2562827 w 3745994"/>
                <a:gd name="connsiteY11" fmla="*/ 2503695 h 4423890"/>
                <a:gd name="connsiteX12" fmla="*/ 2721418 w 3745994"/>
                <a:gd name="connsiteY12" fmla="*/ 2292766 h 4423890"/>
                <a:gd name="connsiteX13" fmla="*/ 2798332 w 3745994"/>
                <a:gd name="connsiteY13" fmla="*/ 2301679 h 4423890"/>
                <a:gd name="connsiteX14" fmla="*/ 2798332 w 3745994"/>
                <a:gd name="connsiteY14" fmla="*/ 2169496 h 4423890"/>
                <a:gd name="connsiteX15" fmla="*/ 2808562 w 3745994"/>
                <a:gd name="connsiteY15" fmla="*/ 2153420 h 4423890"/>
                <a:gd name="connsiteX16" fmla="*/ 890262 w 3745994"/>
                <a:gd name="connsiteY16" fmla="*/ 1515721 h 4423890"/>
                <a:gd name="connsiteX17" fmla="*/ 875358 w 3745994"/>
                <a:gd name="connsiteY17" fmla="*/ 1645631 h 4423890"/>
                <a:gd name="connsiteX18" fmla="*/ 890262 w 3745994"/>
                <a:gd name="connsiteY18" fmla="*/ 1515721 h 4423890"/>
                <a:gd name="connsiteX19" fmla="*/ 1086763 w 3745994"/>
                <a:gd name="connsiteY19" fmla="*/ 1317555 h 4423890"/>
                <a:gd name="connsiteX20" fmla="*/ 1100891 w 3745994"/>
                <a:gd name="connsiteY20" fmla="*/ 1331682 h 4423890"/>
                <a:gd name="connsiteX21" fmla="*/ 1099919 w 3745994"/>
                <a:gd name="connsiteY21" fmla="*/ 1360424 h 4423890"/>
                <a:gd name="connsiteX22" fmla="*/ 1095534 w 3745994"/>
                <a:gd name="connsiteY22" fmla="*/ 1426435 h 4423890"/>
                <a:gd name="connsiteX23" fmla="*/ 1092699 w 3745994"/>
                <a:gd name="connsiteY23" fmla="*/ 1469093 h 4423890"/>
                <a:gd name="connsiteX24" fmla="*/ 1160839 w 3745994"/>
                <a:gd name="connsiteY24" fmla="*/ 1463720 h 4423890"/>
                <a:gd name="connsiteX25" fmla="*/ 1312123 w 3745994"/>
                <a:gd name="connsiteY25" fmla="*/ 1671727 h 4423890"/>
                <a:gd name="connsiteX26" fmla="*/ 1059039 w 3745994"/>
                <a:gd name="connsiteY26" fmla="*/ 1884698 h 4423890"/>
                <a:gd name="connsiteX27" fmla="*/ 805955 w 3745994"/>
                <a:gd name="connsiteY27" fmla="*/ 1671727 h 4423890"/>
                <a:gd name="connsiteX28" fmla="*/ 964546 w 3745994"/>
                <a:gd name="connsiteY28" fmla="*/ 1460798 h 4423890"/>
                <a:gd name="connsiteX29" fmla="*/ 1041461 w 3745994"/>
                <a:gd name="connsiteY29" fmla="*/ 1469710 h 4423890"/>
                <a:gd name="connsiteX30" fmla="*/ 1041461 w 3745994"/>
                <a:gd name="connsiteY30" fmla="*/ 1337528 h 4423890"/>
                <a:gd name="connsiteX31" fmla="*/ 1051691 w 3745994"/>
                <a:gd name="connsiteY31" fmla="*/ 1321452 h 4423890"/>
                <a:gd name="connsiteX32" fmla="*/ 1962472 w 3745994"/>
                <a:gd name="connsiteY32" fmla="*/ 770406 h 4423890"/>
                <a:gd name="connsiteX33" fmla="*/ 1944260 w 3745994"/>
                <a:gd name="connsiteY33" fmla="*/ 929156 h 4423890"/>
                <a:gd name="connsiteX34" fmla="*/ 1962472 w 3745994"/>
                <a:gd name="connsiteY34" fmla="*/ 770406 h 4423890"/>
                <a:gd name="connsiteX35" fmla="*/ 2202598 w 3745994"/>
                <a:gd name="connsiteY35" fmla="*/ 528245 h 4423890"/>
                <a:gd name="connsiteX36" fmla="*/ 2219862 w 3745994"/>
                <a:gd name="connsiteY36" fmla="*/ 545508 h 4423890"/>
                <a:gd name="connsiteX37" fmla="*/ 2218675 w 3745994"/>
                <a:gd name="connsiteY37" fmla="*/ 580632 h 4423890"/>
                <a:gd name="connsiteX38" fmla="*/ 2213316 w 3745994"/>
                <a:gd name="connsiteY38" fmla="*/ 661297 h 4423890"/>
                <a:gd name="connsiteX39" fmla="*/ 2209852 w 3745994"/>
                <a:gd name="connsiteY39" fmla="*/ 713426 h 4423890"/>
                <a:gd name="connsiteX40" fmla="*/ 2293119 w 3745994"/>
                <a:gd name="connsiteY40" fmla="*/ 706860 h 4423890"/>
                <a:gd name="connsiteX41" fmla="*/ 2477989 w 3745994"/>
                <a:gd name="connsiteY41" fmla="*/ 961046 h 4423890"/>
                <a:gd name="connsiteX42" fmla="*/ 2168719 w 3745994"/>
                <a:gd name="connsiteY42" fmla="*/ 1221298 h 4423890"/>
                <a:gd name="connsiteX43" fmla="*/ 1859449 w 3745994"/>
                <a:gd name="connsiteY43" fmla="*/ 961046 h 4423890"/>
                <a:gd name="connsiteX44" fmla="*/ 2053248 w 3745994"/>
                <a:gd name="connsiteY44" fmla="*/ 703289 h 4423890"/>
                <a:gd name="connsiteX45" fmla="*/ 2147238 w 3745994"/>
                <a:gd name="connsiteY45" fmla="*/ 714180 h 4423890"/>
                <a:gd name="connsiteX46" fmla="*/ 2147238 w 3745994"/>
                <a:gd name="connsiteY46" fmla="*/ 552652 h 4423890"/>
                <a:gd name="connsiteX47" fmla="*/ 2159739 w 3745994"/>
                <a:gd name="connsiteY47" fmla="*/ 533007 h 4423890"/>
                <a:gd name="connsiteX48" fmla="*/ 2305712 w 3745994"/>
                <a:gd name="connsiteY48" fmla="*/ 384272 h 4423890"/>
                <a:gd name="connsiteX49" fmla="*/ 1423817 w 3745994"/>
                <a:gd name="connsiteY49" fmla="*/ 968832 h 4423890"/>
                <a:gd name="connsiteX50" fmla="*/ 1407391 w 3745994"/>
                <a:gd name="connsiteY50" fmla="*/ 1021750 h 4423890"/>
                <a:gd name="connsiteX51" fmla="*/ 1289078 w 3745994"/>
                <a:gd name="connsiteY51" fmla="*/ 985024 h 4423890"/>
                <a:gd name="connsiteX52" fmla="*/ 1136802 w 3745994"/>
                <a:gd name="connsiteY52" fmla="*/ 969674 h 4423890"/>
                <a:gd name="connsiteX53" fmla="*/ 381224 w 3745994"/>
                <a:gd name="connsiteY53" fmla="*/ 1725252 h 4423890"/>
                <a:gd name="connsiteX54" fmla="*/ 842697 w 3745994"/>
                <a:gd name="connsiteY54" fmla="*/ 2421453 h 4423890"/>
                <a:gd name="connsiteX55" fmla="*/ 910741 w 3745994"/>
                <a:gd name="connsiteY55" fmla="*/ 2442575 h 4423890"/>
                <a:gd name="connsiteX56" fmla="*/ 903065 w 3745994"/>
                <a:gd name="connsiteY56" fmla="*/ 2518707 h 4423890"/>
                <a:gd name="connsiteX57" fmla="*/ 1619788 w 3745994"/>
                <a:gd name="connsiteY57" fmla="*/ 3235429 h 4423890"/>
                <a:gd name="connsiteX58" fmla="*/ 1764233 w 3745994"/>
                <a:gd name="connsiteY58" fmla="*/ 3220867 h 4423890"/>
                <a:gd name="connsiteX59" fmla="*/ 1815566 w 3745994"/>
                <a:gd name="connsiteY59" fmla="*/ 3204934 h 4423890"/>
                <a:gd name="connsiteX60" fmla="*/ 1828515 w 3745994"/>
                <a:gd name="connsiteY60" fmla="*/ 3019765 h 4423890"/>
                <a:gd name="connsiteX61" fmla="*/ 1828949 w 3745994"/>
                <a:gd name="connsiteY61" fmla="*/ 2992658 h 4423890"/>
                <a:gd name="connsiteX62" fmla="*/ 1760646 w 3745994"/>
                <a:gd name="connsiteY62" fmla="*/ 2946262 h 4423890"/>
                <a:gd name="connsiteX63" fmla="*/ 1062738 w 3745994"/>
                <a:gd name="connsiteY63" fmla="*/ 2053190 h 4423890"/>
                <a:gd name="connsiteX64" fmla="*/ 1790004 w 3745994"/>
                <a:gd name="connsiteY64" fmla="*/ 2632707 h 4423890"/>
                <a:gd name="connsiteX65" fmla="*/ 1834309 w 3745994"/>
                <a:gd name="connsiteY65" fmla="*/ 2657543 h 4423890"/>
                <a:gd name="connsiteX66" fmla="*/ 1834904 w 3745994"/>
                <a:gd name="connsiteY66" fmla="*/ 2620326 h 4423890"/>
                <a:gd name="connsiteX67" fmla="*/ 1670254 w 3745994"/>
                <a:gd name="connsiteY67" fmla="*/ 1305704 h 4423890"/>
                <a:gd name="connsiteX68" fmla="*/ 2081531 w 3745994"/>
                <a:gd name="connsiteY68" fmla="*/ 2059534 h 4423890"/>
                <a:gd name="connsiteX69" fmla="*/ 2125555 w 3745994"/>
                <a:gd name="connsiteY69" fmla="*/ 2183356 h 4423890"/>
                <a:gd name="connsiteX70" fmla="*/ 2254948 w 3745994"/>
                <a:gd name="connsiteY70" fmla="*/ 2010286 h 4423890"/>
                <a:gd name="connsiteX71" fmla="*/ 2694484 w 3745994"/>
                <a:gd name="connsiteY71" fmla="*/ 1208392 h 4423890"/>
                <a:gd name="connsiteX72" fmla="*/ 2267537 w 3745994"/>
                <a:gd name="connsiteY72" fmla="*/ 2592118 h 4423890"/>
                <a:gd name="connsiteX73" fmla="*/ 2251116 w 3745994"/>
                <a:gd name="connsiteY73" fmla="*/ 2615608 h 4423890"/>
                <a:gd name="connsiteX74" fmla="*/ 2287825 w 3745994"/>
                <a:gd name="connsiteY74" fmla="*/ 2791756 h 4423890"/>
                <a:gd name="connsiteX75" fmla="*/ 2318429 w 3745994"/>
                <a:gd name="connsiteY75" fmla="*/ 3012726 h 4423890"/>
                <a:gd name="connsiteX76" fmla="*/ 2445793 w 3745994"/>
                <a:gd name="connsiteY76" fmla="*/ 3052262 h 4423890"/>
                <a:gd name="connsiteX77" fmla="*/ 2590238 w 3745994"/>
                <a:gd name="connsiteY77" fmla="*/ 3066824 h 4423890"/>
                <a:gd name="connsiteX78" fmla="*/ 3306960 w 3745994"/>
                <a:gd name="connsiteY78" fmla="*/ 2350102 h 4423890"/>
                <a:gd name="connsiteX79" fmla="*/ 3184555 w 3745994"/>
                <a:gd name="connsiteY79" fmla="*/ 1949375 h 4423890"/>
                <a:gd name="connsiteX80" fmla="*/ 3109313 w 3745994"/>
                <a:gd name="connsiteY80" fmla="*/ 1858180 h 4423890"/>
                <a:gd name="connsiteX81" fmla="*/ 3187609 w 3745994"/>
                <a:gd name="connsiteY81" fmla="*/ 1713931 h 4423890"/>
                <a:gd name="connsiteX82" fmla="*/ 3262823 w 3745994"/>
                <a:gd name="connsiteY82" fmla="*/ 1341381 h 4423890"/>
                <a:gd name="connsiteX83" fmla="*/ 2305712 w 3745994"/>
                <a:gd name="connsiteY83" fmla="*/ 384272 h 4423890"/>
                <a:gd name="connsiteX84" fmla="*/ 2302412 w 3745994"/>
                <a:gd name="connsiteY84" fmla="*/ 0 h 4423890"/>
                <a:gd name="connsiteX85" fmla="*/ 3666979 w 3745994"/>
                <a:gd name="connsiteY85" fmla="*/ 1364566 h 4423890"/>
                <a:gd name="connsiteX86" fmla="*/ 3626098 w 3745994"/>
                <a:gd name="connsiteY86" fmla="*/ 1697408 h 4423890"/>
                <a:gd name="connsiteX87" fmla="*/ 3607415 w 3745994"/>
                <a:gd name="connsiteY87" fmla="*/ 1760954 h 4423890"/>
                <a:gd name="connsiteX88" fmla="*/ 3652209 w 3745994"/>
                <a:gd name="connsiteY88" fmla="*/ 1853939 h 4423890"/>
                <a:gd name="connsiteX89" fmla="*/ 3745994 w 3745994"/>
                <a:gd name="connsiteY89" fmla="*/ 2318469 h 4423890"/>
                <a:gd name="connsiteX90" fmla="*/ 2552584 w 3745994"/>
                <a:gd name="connsiteY90" fmla="*/ 3511877 h 4423890"/>
                <a:gd name="connsiteX91" fmla="*/ 2370840 w 3745994"/>
                <a:gd name="connsiteY91" fmla="*/ 3498127 h 4423890"/>
                <a:gd name="connsiteX92" fmla="*/ 2346820 w 3745994"/>
                <a:gd name="connsiteY92" fmla="*/ 3492591 h 4423890"/>
                <a:gd name="connsiteX93" fmla="*/ 2347495 w 3745994"/>
                <a:gd name="connsiteY93" fmla="*/ 3590616 h 4423890"/>
                <a:gd name="connsiteX94" fmla="*/ 2254063 w 3745994"/>
                <a:gd name="connsiteY94" fmla="*/ 4351359 h 4423890"/>
                <a:gd name="connsiteX95" fmla="*/ 1670254 w 3745994"/>
                <a:gd name="connsiteY95" fmla="*/ 4330259 h 4423890"/>
                <a:gd name="connsiteX96" fmla="*/ 1762903 w 3745994"/>
                <a:gd name="connsiteY96" fmla="*/ 3739471 h 4423890"/>
                <a:gd name="connsiteX97" fmla="*/ 1779046 w 3745994"/>
                <a:gd name="connsiteY97" fmla="*/ 3598069 h 4423890"/>
                <a:gd name="connsiteX98" fmla="*/ 1722069 w 3745994"/>
                <a:gd name="connsiteY98" fmla="*/ 3609524 h 4423890"/>
                <a:gd name="connsiteX99" fmla="*/ 1568424 w 3745994"/>
                <a:gd name="connsiteY99" fmla="*/ 3619700 h 4423890"/>
                <a:gd name="connsiteX100" fmla="*/ 441862 w 3745994"/>
                <a:gd name="connsiteY100" fmla="*/ 2701525 h 4423890"/>
                <a:gd name="connsiteX101" fmla="*/ 438583 w 3745994"/>
                <a:gd name="connsiteY101" fmla="*/ 2680040 h 4423890"/>
                <a:gd name="connsiteX102" fmla="*/ 434291 w 3745994"/>
                <a:gd name="connsiteY102" fmla="*/ 2676831 h 4423890"/>
                <a:gd name="connsiteX103" fmla="*/ 0 w 3745994"/>
                <a:gd name="connsiteY103" fmla="*/ 1755939 h 4423890"/>
                <a:gd name="connsiteX104" fmla="*/ 1193410 w 3745994"/>
                <a:gd name="connsiteY104" fmla="*/ 562530 h 4423890"/>
                <a:gd name="connsiteX105" fmla="*/ 1199882 w 3745994"/>
                <a:gd name="connsiteY105" fmla="*/ 562856 h 4423890"/>
                <a:gd name="connsiteX106" fmla="*/ 1249445 w 3745994"/>
                <a:gd name="connsiteY106" fmla="*/ 496576 h 4423890"/>
                <a:gd name="connsiteX107" fmla="*/ 2302412 w 3745994"/>
                <a:gd name="connsiteY107" fmla="*/ 0 h 442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3745994" h="4423890">
                  <a:moveTo>
                    <a:pt x="2647133" y="2347690"/>
                  </a:moveTo>
                  <a:cubicBezTo>
                    <a:pt x="2601191" y="2383201"/>
                    <a:pt x="2579314" y="2434357"/>
                    <a:pt x="2632230" y="2477599"/>
                  </a:cubicBezTo>
                  <a:cubicBezTo>
                    <a:pt x="2632230" y="2477599"/>
                    <a:pt x="2634660" y="2403517"/>
                    <a:pt x="2647133" y="2347690"/>
                  </a:cubicBezTo>
                  <a:close/>
                  <a:moveTo>
                    <a:pt x="2843635" y="2149523"/>
                  </a:moveTo>
                  <a:cubicBezTo>
                    <a:pt x="2848208" y="2149523"/>
                    <a:pt x="2857762" y="2159076"/>
                    <a:pt x="2857762" y="2163650"/>
                  </a:cubicBezTo>
                  <a:cubicBezTo>
                    <a:pt x="2857438" y="2170633"/>
                    <a:pt x="2857115" y="2185410"/>
                    <a:pt x="2856791" y="2192393"/>
                  </a:cubicBezTo>
                  <a:cubicBezTo>
                    <a:pt x="2856953" y="2214721"/>
                    <a:pt x="2854679" y="2236562"/>
                    <a:pt x="2852405" y="2258403"/>
                  </a:cubicBezTo>
                  <a:lnTo>
                    <a:pt x="2849571" y="2301061"/>
                  </a:lnTo>
                  <a:lnTo>
                    <a:pt x="2917710" y="2295688"/>
                  </a:lnTo>
                  <a:cubicBezTo>
                    <a:pt x="3019873" y="2295246"/>
                    <a:pt x="3109916" y="2329313"/>
                    <a:pt x="3068994" y="2503695"/>
                  </a:cubicBezTo>
                  <a:cubicBezTo>
                    <a:pt x="3053271" y="2570701"/>
                    <a:pt x="3029733" y="2706922"/>
                    <a:pt x="2815911" y="2716666"/>
                  </a:cubicBezTo>
                  <a:cubicBezTo>
                    <a:pt x="2605985" y="2712769"/>
                    <a:pt x="2572509" y="2571836"/>
                    <a:pt x="2562827" y="2503695"/>
                  </a:cubicBezTo>
                  <a:cubicBezTo>
                    <a:pt x="2537494" y="2325415"/>
                    <a:pt x="2625589" y="2290375"/>
                    <a:pt x="2721418" y="2292766"/>
                  </a:cubicBezTo>
                  <a:lnTo>
                    <a:pt x="2798332" y="2301679"/>
                  </a:lnTo>
                  <a:lnTo>
                    <a:pt x="2798332" y="2169496"/>
                  </a:lnTo>
                  <a:cubicBezTo>
                    <a:pt x="2798332" y="2164922"/>
                    <a:pt x="2803988" y="2153420"/>
                    <a:pt x="2808562" y="2153420"/>
                  </a:cubicBezTo>
                  <a:close/>
                  <a:moveTo>
                    <a:pt x="890262" y="1515721"/>
                  </a:moveTo>
                  <a:cubicBezTo>
                    <a:pt x="844319" y="1551233"/>
                    <a:pt x="822442" y="1602389"/>
                    <a:pt x="875358" y="1645631"/>
                  </a:cubicBezTo>
                  <a:cubicBezTo>
                    <a:pt x="875358" y="1645631"/>
                    <a:pt x="877789" y="1571548"/>
                    <a:pt x="890262" y="1515721"/>
                  </a:cubicBezTo>
                  <a:close/>
                  <a:moveTo>
                    <a:pt x="1086763" y="1317555"/>
                  </a:moveTo>
                  <a:cubicBezTo>
                    <a:pt x="1091337" y="1317555"/>
                    <a:pt x="1100891" y="1327108"/>
                    <a:pt x="1100891" y="1331682"/>
                  </a:cubicBezTo>
                  <a:cubicBezTo>
                    <a:pt x="1100567" y="1338664"/>
                    <a:pt x="1100243" y="1353442"/>
                    <a:pt x="1099919" y="1360424"/>
                  </a:cubicBezTo>
                  <a:cubicBezTo>
                    <a:pt x="1100081" y="1382753"/>
                    <a:pt x="1097807" y="1404594"/>
                    <a:pt x="1095534" y="1426435"/>
                  </a:cubicBezTo>
                  <a:lnTo>
                    <a:pt x="1092699" y="1469093"/>
                  </a:lnTo>
                  <a:lnTo>
                    <a:pt x="1160839" y="1463720"/>
                  </a:lnTo>
                  <a:cubicBezTo>
                    <a:pt x="1263001" y="1463278"/>
                    <a:pt x="1353045" y="1497344"/>
                    <a:pt x="1312123" y="1671727"/>
                  </a:cubicBezTo>
                  <a:cubicBezTo>
                    <a:pt x="1296399" y="1738732"/>
                    <a:pt x="1272862" y="1874954"/>
                    <a:pt x="1059039" y="1884698"/>
                  </a:cubicBezTo>
                  <a:cubicBezTo>
                    <a:pt x="849114" y="1880801"/>
                    <a:pt x="815638" y="1739868"/>
                    <a:pt x="805955" y="1671727"/>
                  </a:cubicBezTo>
                  <a:cubicBezTo>
                    <a:pt x="780623" y="1493447"/>
                    <a:pt x="868718" y="1458407"/>
                    <a:pt x="964546" y="1460798"/>
                  </a:cubicBezTo>
                  <a:lnTo>
                    <a:pt x="1041461" y="1469710"/>
                  </a:lnTo>
                  <a:lnTo>
                    <a:pt x="1041461" y="1337528"/>
                  </a:lnTo>
                  <a:cubicBezTo>
                    <a:pt x="1041461" y="1332954"/>
                    <a:pt x="1047117" y="1321452"/>
                    <a:pt x="1051691" y="1321452"/>
                  </a:cubicBezTo>
                  <a:close/>
                  <a:moveTo>
                    <a:pt x="1962472" y="770406"/>
                  </a:moveTo>
                  <a:cubicBezTo>
                    <a:pt x="1906330" y="813801"/>
                    <a:pt x="1879596" y="876314"/>
                    <a:pt x="1944260" y="929156"/>
                  </a:cubicBezTo>
                  <a:cubicBezTo>
                    <a:pt x="1944260" y="929156"/>
                    <a:pt x="1947230" y="838627"/>
                    <a:pt x="1962472" y="770406"/>
                  </a:cubicBezTo>
                  <a:close/>
                  <a:moveTo>
                    <a:pt x="2202598" y="528245"/>
                  </a:moveTo>
                  <a:cubicBezTo>
                    <a:pt x="2208187" y="528245"/>
                    <a:pt x="2219862" y="539919"/>
                    <a:pt x="2219862" y="545508"/>
                  </a:cubicBezTo>
                  <a:cubicBezTo>
                    <a:pt x="2219466" y="554041"/>
                    <a:pt x="2219071" y="572099"/>
                    <a:pt x="2218675" y="580632"/>
                  </a:cubicBezTo>
                  <a:cubicBezTo>
                    <a:pt x="2218873" y="607917"/>
                    <a:pt x="2216094" y="634607"/>
                    <a:pt x="2213316" y="661297"/>
                  </a:cubicBezTo>
                  <a:lnTo>
                    <a:pt x="2209852" y="713426"/>
                  </a:lnTo>
                  <a:lnTo>
                    <a:pt x="2293119" y="706860"/>
                  </a:lnTo>
                  <a:cubicBezTo>
                    <a:pt x="2417962" y="706320"/>
                    <a:pt x="2527996" y="747949"/>
                    <a:pt x="2477989" y="961046"/>
                  </a:cubicBezTo>
                  <a:cubicBezTo>
                    <a:pt x="2458775" y="1042927"/>
                    <a:pt x="2430012" y="1209391"/>
                    <a:pt x="2168719" y="1221298"/>
                  </a:cubicBezTo>
                  <a:cubicBezTo>
                    <a:pt x="1912189" y="1216536"/>
                    <a:pt x="1871281" y="1044315"/>
                    <a:pt x="1859449" y="961046"/>
                  </a:cubicBezTo>
                  <a:cubicBezTo>
                    <a:pt x="1828493" y="743186"/>
                    <a:pt x="1936145" y="700367"/>
                    <a:pt x="2053248" y="703289"/>
                  </a:cubicBezTo>
                  <a:lnTo>
                    <a:pt x="2147238" y="714180"/>
                  </a:lnTo>
                  <a:lnTo>
                    <a:pt x="2147238" y="552652"/>
                  </a:lnTo>
                  <a:cubicBezTo>
                    <a:pt x="2147238" y="547063"/>
                    <a:pt x="2154150" y="533007"/>
                    <a:pt x="2159739" y="533007"/>
                  </a:cubicBezTo>
                  <a:close/>
                  <a:moveTo>
                    <a:pt x="2305712" y="384272"/>
                  </a:moveTo>
                  <a:cubicBezTo>
                    <a:pt x="1909265" y="384271"/>
                    <a:pt x="1569115" y="625310"/>
                    <a:pt x="1423817" y="968832"/>
                  </a:cubicBezTo>
                  <a:lnTo>
                    <a:pt x="1407391" y="1021750"/>
                  </a:lnTo>
                  <a:lnTo>
                    <a:pt x="1289078" y="985024"/>
                  </a:lnTo>
                  <a:cubicBezTo>
                    <a:pt x="1239890" y="974960"/>
                    <a:pt x="1188964" y="969674"/>
                    <a:pt x="1136802" y="969674"/>
                  </a:cubicBezTo>
                  <a:cubicBezTo>
                    <a:pt x="719508" y="969674"/>
                    <a:pt x="381223" y="1307958"/>
                    <a:pt x="381224" y="1725252"/>
                  </a:cubicBezTo>
                  <a:cubicBezTo>
                    <a:pt x="381223" y="2038222"/>
                    <a:pt x="571508" y="2306749"/>
                    <a:pt x="842697" y="2421453"/>
                  </a:cubicBezTo>
                  <a:lnTo>
                    <a:pt x="910741" y="2442575"/>
                  </a:lnTo>
                  <a:lnTo>
                    <a:pt x="903065" y="2518707"/>
                  </a:lnTo>
                  <a:cubicBezTo>
                    <a:pt x="903065" y="2914542"/>
                    <a:pt x="1223953" y="3235429"/>
                    <a:pt x="1619788" y="3235429"/>
                  </a:cubicBezTo>
                  <a:cubicBezTo>
                    <a:pt x="1669267" y="3235429"/>
                    <a:pt x="1717575" y="3230415"/>
                    <a:pt x="1764233" y="3220867"/>
                  </a:cubicBezTo>
                  <a:lnTo>
                    <a:pt x="1815566" y="3204934"/>
                  </a:lnTo>
                  <a:lnTo>
                    <a:pt x="1828515" y="3019765"/>
                  </a:lnTo>
                  <a:lnTo>
                    <a:pt x="1828949" y="2992658"/>
                  </a:lnTo>
                  <a:lnTo>
                    <a:pt x="1760646" y="2946262"/>
                  </a:lnTo>
                  <a:cubicBezTo>
                    <a:pt x="1508928" y="2762873"/>
                    <a:pt x="1226577" y="2476693"/>
                    <a:pt x="1062738" y="2053190"/>
                  </a:cubicBezTo>
                  <a:cubicBezTo>
                    <a:pt x="1294927" y="2303656"/>
                    <a:pt x="1549837" y="2490063"/>
                    <a:pt x="1790004" y="2632707"/>
                  </a:cubicBezTo>
                  <a:lnTo>
                    <a:pt x="1834309" y="2657543"/>
                  </a:lnTo>
                  <a:lnTo>
                    <a:pt x="1834904" y="2620326"/>
                  </a:lnTo>
                  <a:cubicBezTo>
                    <a:pt x="1829231" y="2209443"/>
                    <a:pt x="1784115" y="1765982"/>
                    <a:pt x="1670254" y="1305704"/>
                  </a:cubicBezTo>
                  <a:cubicBezTo>
                    <a:pt x="1848079" y="1554307"/>
                    <a:pt x="1981887" y="1808721"/>
                    <a:pt x="2081531" y="2059534"/>
                  </a:cubicBezTo>
                  <a:lnTo>
                    <a:pt x="2125555" y="2183356"/>
                  </a:lnTo>
                  <a:lnTo>
                    <a:pt x="2254948" y="2010286"/>
                  </a:lnTo>
                  <a:cubicBezTo>
                    <a:pt x="2417934" y="1778172"/>
                    <a:pt x="2572035" y="1511885"/>
                    <a:pt x="2694484" y="1208392"/>
                  </a:cubicBezTo>
                  <a:cubicBezTo>
                    <a:pt x="2691538" y="1788541"/>
                    <a:pt x="2484633" y="2258658"/>
                    <a:pt x="2267537" y="2592118"/>
                  </a:cubicBezTo>
                  <a:lnTo>
                    <a:pt x="2251116" y="2615608"/>
                  </a:lnTo>
                  <a:lnTo>
                    <a:pt x="2287825" y="2791756"/>
                  </a:lnTo>
                  <a:lnTo>
                    <a:pt x="2318429" y="3012726"/>
                  </a:lnTo>
                  <a:lnTo>
                    <a:pt x="2445793" y="3052262"/>
                  </a:lnTo>
                  <a:cubicBezTo>
                    <a:pt x="2492450" y="3061810"/>
                    <a:pt x="2540758" y="3066823"/>
                    <a:pt x="2590238" y="3066824"/>
                  </a:cubicBezTo>
                  <a:cubicBezTo>
                    <a:pt x="2986073" y="3066824"/>
                    <a:pt x="3306960" y="2745937"/>
                    <a:pt x="3306960" y="2350102"/>
                  </a:cubicBezTo>
                  <a:cubicBezTo>
                    <a:pt x="3306960" y="2201664"/>
                    <a:pt x="3261836" y="2063764"/>
                    <a:pt x="3184555" y="1949375"/>
                  </a:cubicBezTo>
                  <a:lnTo>
                    <a:pt x="3109313" y="1858180"/>
                  </a:lnTo>
                  <a:lnTo>
                    <a:pt x="3187609" y="1713931"/>
                  </a:lnTo>
                  <a:cubicBezTo>
                    <a:pt x="3236042" y="1599424"/>
                    <a:pt x="3262823" y="1473531"/>
                    <a:pt x="3262823" y="1341381"/>
                  </a:cubicBezTo>
                  <a:cubicBezTo>
                    <a:pt x="3262823" y="812785"/>
                    <a:pt x="2834310" y="384272"/>
                    <a:pt x="2305712" y="384272"/>
                  </a:cubicBezTo>
                  <a:close/>
                  <a:moveTo>
                    <a:pt x="2302412" y="0"/>
                  </a:moveTo>
                  <a:cubicBezTo>
                    <a:pt x="3056042" y="0"/>
                    <a:pt x="3666979" y="610937"/>
                    <a:pt x="3666979" y="1364566"/>
                  </a:cubicBezTo>
                  <a:cubicBezTo>
                    <a:pt x="3666979" y="1479377"/>
                    <a:pt x="3652800" y="1590876"/>
                    <a:pt x="3626098" y="1697408"/>
                  </a:cubicBezTo>
                  <a:lnTo>
                    <a:pt x="3607415" y="1760954"/>
                  </a:lnTo>
                  <a:lnTo>
                    <a:pt x="3652209" y="1853939"/>
                  </a:lnTo>
                  <a:cubicBezTo>
                    <a:pt x="3712599" y="1996717"/>
                    <a:pt x="3745994" y="2153694"/>
                    <a:pt x="3745994" y="2318469"/>
                  </a:cubicBezTo>
                  <a:cubicBezTo>
                    <a:pt x="3745994" y="2977571"/>
                    <a:pt x="3211686" y="3511878"/>
                    <a:pt x="2552584" y="3511877"/>
                  </a:cubicBezTo>
                  <a:cubicBezTo>
                    <a:pt x="2490793" y="3511878"/>
                    <a:pt x="2430099" y="3507182"/>
                    <a:pt x="2370840" y="3498127"/>
                  </a:cubicBezTo>
                  <a:lnTo>
                    <a:pt x="2346820" y="3492591"/>
                  </a:lnTo>
                  <a:lnTo>
                    <a:pt x="2347495" y="3590616"/>
                  </a:lnTo>
                  <a:cubicBezTo>
                    <a:pt x="2338716" y="3980113"/>
                    <a:pt x="2277875" y="4262063"/>
                    <a:pt x="2254063" y="4351359"/>
                  </a:cubicBezTo>
                  <a:cubicBezTo>
                    <a:pt x="2087595" y="4397080"/>
                    <a:pt x="1966847" y="4499071"/>
                    <a:pt x="1670254" y="4330259"/>
                  </a:cubicBezTo>
                  <a:cubicBezTo>
                    <a:pt x="1699854" y="4157929"/>
                    <a:pt x="1733632" y="3959442"/>
                    <a:pt x="1762903" y="3739471"/>
                  </a:cubicBezTo>
                  <a:lnTo>
                    <a:pt x="1779046" y="3598069"/>
                  </a:lnTo>
                  <a:lnTo>
                    <a:pt x="1722069" y="3609524"/>
                  </a:lnTo>
                  <a:cubicBezTo>
                    <a:pt x="1671809" y="3616236"/>
                    <a:pt x="1620521" y="3619700"/>
                    <a:pt x="1568424" y="3619700"/>
                  </a:cubicBezTo>
                  <a:cubicBezTo>
                    <a:pt x="1012724" y="3619700"/>
                    <a:pt x="549087" y="3225527"/>
                    <a:pt x="441862" y="2701525"/>
                  </a:cubicBezTo>
                  <a:lnTo>
                    <a:pt x="438583" y="2680040"/>
                  </a:lnTo>
                  <a:lnTo>
                    <a:pt x="434291" y="2676831"/>
                  </a:lnTo>
                  <a:cubicBezTo>
                    <a:pt x="169059" y="2457943"/>
                    <a:pt x="1" y="2126684"/>
                    <a:pt x="0" y="1755939"/>
                  </a:cubicBezTo>
                  <a:cubicBezTo>
                    <a:pt x="0" y="1096836"/>
                    <a:pt x="534308" y="562530"/>
                    <a:pt x="1193410" y="562530"/>
                  </a:cubicBezTo>
                  <a:lnTo>
                    <a:pt x="1199882" y="562856"/>
                  </a:lnTo>
                  <a:lnTo>
                    <a:pt x="1249445" y="496576"/>
                  </a:lnTo>
                  <a:cubicBezTo>
                    <a:pt x="1499727" y="193304"/>
                    <a:pt x="1878494" y="-1"/>
                    <a:pt x="230241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685588" y="-285691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676717" y="4356139"/>
            <a:ext cx="792000" cy="792000"/>
            <a:chOff x="1655709" y="-1841222"/>
            <a:chExt cx="792000" cy="792000"/>
          </a:xfrm>
        </p:grpSpPr>
        <p:sp>
          <p:nvSpPr>
            <p:cNvPr id="81" name="Freeform 80"/>
            <p:cNvSpPr/>
            <p:nvPr/>
          </p:nvSpPr>
          <p:spPr>
            <a:xfrm>
              <a:off x="1703231" y="-1796587"/>
              <a:ext cx="696957" cy="702731"/>
            </a:xfrm>
            <a:custGeom>
              <a:avLst/>
              <a:gdLst>
                <a:gd name="connsiteX0" fmla="*/ 4400551 w 4400551"/>
                <a:gd name="connsiteY0" fmla="*/ 1562100 h 4437007"/>
                <a:gd name="connsiteX1" fmla="*/ 3552826 w 4400551"/>
                <a:gd name="connsiteY1" fmla="*/ 4427483 h 4437007"/>
                <a:gd name="connsiteX2" fmla="*/ 2905126 w 4400551"/>
                <a:gd name="connsiteY2" fmla="*/ 4427483 h 4437007"/>
                <a:gd name="connsiteX3" fmla="*/ 4400551 w 4400551"/>
                <a:gd name="connsiteY3" fmla="*/ 1562100 h 4437007"/>
                <a:gd name="connsiteX4" fmla="*/ 0 w 4400551"/>
                <a:gd name="connsiteY4" fmla="*/ 1552574 h 4437007"/>
                <a:gd name="connsiteX5" fmla="*/ 1663314 w 4400551"/>
                <a:gd name="connsiteY5" fmla="*/ 4427481 h 4437007"/>
                <a:gd name="connsiteX6" fmla="*/ 995255 w 4400551"/>
                <a:gd name="connsiteY6" fmla="*/ 4427481 h 4437007"/>
                <a:gd name="connsiteX7" fmla="*/ 0 w 4400551"/>
                <a:gd name="connsiteY7" fmla="*/ 1552574 h 4437007"/>
                <a:gd name="connsiteX8" fmla="*/ 3755254 w 4400551"/>
                <a:gd name="connsiteY8" fmla="*/ 766762 h 4437007"/>
                <a:gd name="connsiteX9" fmla="*/ 2717029 w 4400551"/>
                <a:gd name="connsiteY9" fmla="*/ 2962276 h 4437007"/>
                <a:gd name="connsiteX10" fmla="*/ 2536054 w 4400551"/>
                <a:gd name="connsiteY10" fmla="*/ 2133601 h 4437007"/>
                <a:gd name="connsiteX11" fmla="*/ 3755254 w 4400551"/>
                <a:gd name="connsiteY11" fmla="*/ 766762 h 4437007"/>
                <a:gd name="connsiteX12" fmla="*/ 542926 w 4400551"/>
                <a:gd name="connsiteY12" fmla="*/ 0 h 4437007"/>
                <a:gd name="connsiteX13" fmla="*/ 2539034 w 4400551"/>
                <a:gd name="connsiteY13" fmla="*/ 4437007 h 4437007"/>
                <a:gd name="connsiteX14" fmla="*/ 1852081 w 4400551"/>
                <a:gd name="connsiteY14" fmla="*/ 4437007 h 4437007"/>
                <a:gd name="connsiteX15" fmla="*/ 542926 w 4400551"/>
                <a:gd name="connsiteY15" fmla="*/ 0 h 443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00551" h="4437007">
                  <a:moveTo>
                    <a:pt x="4400551" y="1562100"/>
                  </a:moveTo>
                  <a:cubicBezTo>
                    <a:pt x="4064001" y="2317203"/>
                    <a:pt x="3527426" y="3053255"/>
                    <a:pt x="3552826" y="4427483"/>
                  </a:cubicBezTo>
                  <a:lnTo>
                    <a:pt x="2905126" y="4427483"/>
                  </a:lnTo>
                  <a:cubicBezTo>
                    <a:pt x="2917826" y="3748580"/>
                    <a:pt x="3082926" y="2336253"/>
                    <a:pt x="4400551" y="1562100"/>
                  </a:cubicBezTo>
                  <a:close/>
                  <a:moveTo>
                    <a:pt x="0" y="1552574"/>
                  </a:moveTo>
                  <a:cubicBezTo>
                    <a:pt x="1406339" y="2288627"/>
                    <a:pt x="1650402" y="3748578"/>
                    <a:pt x="1663314" y="4427481"/>
                  </a:cubicBezTo>
                  <a:lnTo>
                    <a:pt x="995255" y="4427481"/>
                  </a:lnTo>
                  <a:cubicBezTo>
                    <a:pt x="1040129" y="2977054"/>
                    <a:pt x="513629" y="2298152"/>
                    <a:pt x="0" y="1552574"/>
                  </a:cubicBezTo>
                  <a:close/>
                  <a:moveTo>
                    <a:pt x="3755254" y="766762"/>
                  </a:moveTo>
                  <a:cubicBezTo>
                    <a:pt x="3352029" y="1192422"/>
                    <a:pt x="3005954" y="1527537"/>
                    <a:pt x="2717029" y="2962276"/>
                  </a:cubicBezTo>
                  <a:cubicBezTo>
                    <a:pt x="2675754" y="2533651"/>
                    <a:pt x="2653529" y="2466976"/>
                    <a:pt x="2536054" y="2133601"/>
                  </a:cubicBezTo>
                  <a:cubicBezTo>
                    <a:pt x="2720204" y="1651014"/>
                    <a:pt x="3094854" y="835290"/>
                    <a:pt x="3755254" y="766762"/>
                  </a:cubicBezTo>
                  <a:close/>
                  <a:moveTo>
                    <a:pt x="542926" y="0"/>
                  </a:moveTo>
                  <a:cubicBezTo>
                    <a:pt x="2370041" y="1028320"/>
                    <a:pt x="2525756" y="3409462"/>
                    <a:pt x="2539034" y="4437007"/>
                  </a:cubicBezTo>
                  <a:lnTo>
                    <a:pt x="1852081" y="4437007"/>
                  </a:lnTo>
                  <a:cubicBezTo>
                    <a:pt x="1898224" y="2241730"/>
                    <a:pt x="1442557" y="1090362"/>
                    <a:pt x="5429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1655709" y="-1841222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360589" y="3971524"/>
            <a:ext cx="792000" cy="792000"/>
            <a:chOff x="7187240" y="-2828851"/>
            <a:chExt cx="792000" cy="792000"/>
          </a:xfrm>
        </p:grpSpPr>
        <p:sp>
          <p:nvSpPr>
            <p:cNvPr id="80" name="Freeform 79"/>
            <p:cNvSpPr/>
            <p:nvPr/>
          </p:nvSpPr>
          <p:spPr>
            <a:xfrm>
              <a:off x="7199132" y="-2644289"/>
              <a:ext cx="768217" cy="422877"/>
            </a:xfrm>
            <a:custGeom>
              <a:avLst/>
              <a:gdLst>
                <a:gd name="connsiteX0" fmla="*/ 1104901 w 4189811"/>
                <a:gd name="connsiteY0" fmla="*/ 839391 h 2306346"/>
                <a:gd name="connsiteX1" fmla="*/ 1370411 w 4189811"/>
                <a:gd name="connsiteY1" fmla="*/ 1104901 h 2306346"/>
                <a:gd name="connsiteX2" fmla="*/ 1104901 w 4189811"/>
                <a:gd name="connsiteY2" fmla="*/ 1370411 h 2306346"/>
                <a:gd name="connsiteX3" fmla="*/ 839391 w 4189811"/>
                <a:gd name="connsiteY3" fmla="*/ 1104901 h 2306346"/>
                <a:gd name="connsiteX4" fmla="*/ 1104901 w 4189811"/>
                <a:gd name="connsiteY4" fmla="*/ 839391 h 2306346"/>
                <a:gd name="connsiteX5" fmla="*/ 3213750 w 4189811"/>
                <a:gd name="connsiteY5" fmla="*/ 667674 h 2306346"/>
                <a:gd name="connsiteX6" fmla="*/ 3388789 w 4189811"/>
                <a:gd name="connsiteY6" fmla="*/ 842713 h 2306346"/>
                <a:gd name="connsiteX7" fmla="*/ 3213750 w 4189811"/>
                <a:gd name="connsiteY7" fmla="*/ 1017752 h 2306346"/>
                <a:gd name="connsiteX8" fmla="*/ 3038711 w 4189811"/>
                <a:gd name="connsiteY8" fmla="*/ 842713 h 2306346"/>
                <a:gd name="connsiteX9" fmla="*/ 3213750 w 4189811"/>
                <a:gd name="connsiteY9" fmla="*/ 667674 h 2306346"/>
                <a:gd name="connsiteX10" fmla="*/ 1100137 w 4189811"/>
                <a:gd name="connsiteY10" fmla="*/ 607218 h 2306346"/>
                <a:gd name="connsiteX11" fmla="*/ 607218 w 4189811"/>
                <a:gd name="connsiteY11" fmla="*/ 1100137 h 2306346"/>
                <a:gd name="connsiteX12" fmla="*/ 1100137 w 4189811"/>
                <a:gd name="connsiteY12" fmla="*/ 1593056 h 2306346"/>
                <a:gd name="connsiteX13" fmla="*/ 1593056 w 4189811"/>
                <a:gd name="connsiteY13" fmla="*/ 1100137 h 2306346"/>
                <a:gd name="connsiteX14" fmla="*/ 1100137 w 4189811"/>
                <a:gd name="connsiteY14" fmla="*/ 607218 h 2306346"/>
                <a:gd name="connsiteX15" fmla="*/ 3210609 w 4189811"/>
                <a:gd name="connsiteY15" fmla="*/ 514612 h 2306346"/>
                <a:gd name="connsiteX16" fmla="*/ 2885649 w 4189811"/>
                <a:gd name="connsiteY16" fmla="*/ 839572 h 2306346"/>
                <a:gd name="connsiteX17" fmla="*/ 3210609 w 4189811"/>
                <a:gd name="connsiteY17" fmla="*/ 1164532 h 2306346"/>
                <a:gd name="connsiteX18" fmla="*/ 3535569 w 4189811"/>
                <a:gd name="connsiteY18" fmla="*/ 839572 h 2306346"/>
                <a:gd name="connsiteX19" fmla="*/ 3210609 w 4189811"/>
                <a:gd name="connsiteY19" fmla="*/ 514612 h 2306346"/>
                <a:gd name="connsiteX20" fmla="*/ 1104900 w 4189811"/>
                <a:gd name="connsiteY20" fmla="*/ 404812 h 2306346"/>
                <a:gd name="connsiteX21" fmla="*/ 1804988 w 4189811"/>
                <a:gd name="connsiteY21" fmla="*/ 1104900 h 2306346"/>
                <a:gd name="connsiteX22" fmla="*/ 1104900 w 4189811"/>
                <a:gd name="connsiteY22" fmla="*/ 1804988 h 2306346"/>
                <a:gd name="connsiteX23" fmla="*/ 404812 w 4189811"/>
                <a:gd name="connsiteY23" fmla="*/ 1104900 h 2306346"/>
                <a:gd name="connsiteX24" fmla="*/ 1104900 w 4189811"/>
                <a:gd name="connsiteY24" fmla="*/ 404812 h 2306346"/>
                <a:gd name="connsiteX25" fmla="*/ 3213749 w 4189811"/>
                <a:gd name="connsiteY25" fmla="*/ 381175 h 2306346"/>
                <a:gd name="connsiteX26" fmla="*/ 3675286 w 4189811"/>
                <a:gd name="connsiteY26" fmla="*/ 842712 h 2306346"/>
                <a:gd name="connsiteX27" fmla="*/ 3213749 w 4189811"/>
                <a:gd name="connsiteY27" fmla="*/ 1304249 h 2306346"/>
                <a:gd name="connsiteX28" fmla="*/ 2752212 w 4189811"/>
                <a:gd name="connsiteY28" fmla="*/ 842712 h 2306346"/>
                <a:gd name="connsiteX29" fmla="*/ 3213749 w 4189811"/>
                <a:gd name="connsiteY29" fmla="*/ 381175 h 2306346"/>
                <a:gd name="connsiteX30" fmla="*/ 3213749 w 4189811"/>
                <a:gd name="connsiteY30" fmla="*/ 233609 h 2306346"/>
                <a:gd name="connsiteX31" fmla="*/ 2604646 w 4189811"/>
                <a:gd name="connsiteY31" fmla="*/ 842712 h 2306346"/>
                <a:gd name="connsiteX32" fmla="*/ 2976659 w 4189811"/>
                <a:gd name="connsiteY32" fmla="*/ 1403949 h 2306346"/>
                <a:gd name="connsiteX33" fmla="*/ 3026174 w 4189811"/>
                <a:gd name="connsiteY33" fmla="*/ 1419319 h 2306346"/>
                <a:gd name="connsiteX34" fmla="*/ 3401325 w 4189811"/>
                <a:gd name="connsiteY34" fmla="*/ 1419319 h 2306346"/>
                <a:gd name="connsiteX35" fmla="*/ 3450840 w 4189811"/>
                <a:gd name="connsiteY35" fmla="*/ 1403949 h 2306346"/>
                <a:gd name="connsiteX36" fmla="*/ 3822852 w 4189811"/>
                <a:gd name="connsiteY36" fmla="*/ 842712 h 2306346"/>
                <a:gd name="connsiteX37" fmla="*/ 3213749 w 4189811"/>
                <a:gd name="connsiteY37" fmla="*/ 233609 h 2306346"/>
                <a:gd name="connsiteX38" fmla="*/ 1104900 w 4189811"/>
                <a:gd name="connsiteY38" fmla="*/ 180975 h 2306346"/>
                <a:gd name="connsiteX39" fmla="*/ 180975 w 4189811"/>
                <a:gd name="connsiteY39" fmla="*/ 1104900 h 2306346"/>
                <a:gd name="connsiteX40" fmla="*/ 1104900 w 4189811"/>
                <a:gd name="connsiteY40" fmla="*/ 2028825 h 2306346"/>
                <a:gd name="connsiteX41" fmla="*/ 2028825 w 4189811"/>
                <a:gd name="connsiteY41" fmla="*/ 1104900 h 2306346"/>
                <a:gd name="connsiteX42" fmla="*/ 1104900 w 4189811"/>
                <a:gd name="connsiteY42" fmla="*/ 180975 h 2306346"/>
                <a:gd name="connsiteX43" fmla="*/ 1104900 w 4189811"/>
                <a:gd name="connsiteY43" fmla="*/ 0 h 2306346"/>
                <a:gd name="connsiteX44" fmla="*/ 2209800 w 4189811"/>
                <a:gd name="connsiteY44" fmla="*/ 1104900 h 2306346"/>
                <a:gd name="connsiteX45" fmla="*/ 2167885 w 4189811"/>
                <a:gd name="connsiteY45" fmla="*/ 1407380 h 2306346"/>
                <a:gd name="connsiteX46" fmla="*/ 2163600 w 4189811"/>
                <a:gd name="connsiteY46" fmla="*/ 1419319 h 2306346"/>
                <a:gd name="connsiteX47" fmla="*/ 2773274 w 4189811"/>
                <a:gd name="connsiteY47" fmla="*/ 1419319 h 2306346"/>
                <a:gd name="connsiteX48" fmla="*/ 2698684 w 4189811"/>
                <a:gd name="connsiteY48" fmla="*/ 1357777 h 2306346"/>
                <a:gd name="connsiteX49" fmla="*/ 2485337 w 4189811"/>
                <a:gd name="connsiteY49" fmla="*/ 842712 h 2306346"/>
                <a:gd name="connsiteX50" fmla="*/ 3213749 w 4189811"/>
                <a:gd name="connsiteY50" fmla="*/ 114300 h 2306346"/>
                <a:gd name="connsiteX51" fmla="*/ 3942161 w 4189811"/>
                <a:gd name="connsiteY51" fmla="*/ 842712 h 2306346"/>
                <a:gd name="connsiteX52" fmla="*/ 3728814 w 4189811"/>
                <a:gd name="connsiteY52" fmla="*/ 1357777 h 2306346"/>
                <a:gd name="connsiteX53" fmla="*/ 3654225 w 4189811"/>
                <a:gd name="connsiteY53" fmla="*/ 1419319 h 2306346"/>
                <a:gd name="connsiteX54" fmla="*/ 4189811 w 4189811"/>
                <a:gd name="connsiteY54" fmla="*/ 1419319 h 2306346"/>
                <a:gd name="connsiteX55" fmla="*/ 4189811 w 4189811"/>
                <a:gd name="connsiteY55" fmla="*/ 1571124 h 2306346"/>
                <a:gd name="connsiteX56" fmla="*/ 3213749 w 4189811"/>
                <a:gd name="connsiteY56" fmla="*/ 1571124 h 2306346"/>
                <a:gd name="connsiteX57" fmla="*/ 2105292 w 4189811"/>
                <a:gd name="connsiteY57" fmla="*/ 1571124 h 2306346"/>
                <a:gd name="connsiteX58" fmla="*/ 2049840 w 4189811"/>
                <a:gd name="connsiteY58" fmla="*/ 1677831 h 2306346"/>
                <a:gd name="connsiteX59" fmla="*/ 1631561 w 4189811"/>
                <a:gd name="connsiteY59" fmla="*/ 2076445 h 2306346"/>
                <a:gd name="connsiteX60" fmla="*/ 1631547 w 4189811"/>
                <a:gd name="connsiteY60" fmla="*/ 2076451 h 2306346"/>
                <a:gd name="connsiteX61" fmla="*/ 4189811 w 4189811"/>
                <a:gd name="connsiteY61" fmla="*/ 2076451 h 2306346"/>
                <a:gd name="connsiteX62" fmla="*/ 4189811 w 4189811"/>
                <a:gd name="connsiteY62" fmla="*/ 2306346 h 2306346"/>
                <a:gd name="connsiteX63" fmla="*/ 0 w 4189811"/>
                <a:gd name="connsiteY63" fmla="*/ 2306346 h 2306346"/>
                <a:gd name="connsiteX64" fmla="*/ 0 w 4189811"/>
                <a:gd name="connsiteY64" fmla="*/ 2076451 h 2306346"/>
                <a:gd name="connsiteX65" fmla="*/ 578253 w 4189811"/>
                <a:gd name="connsiteY65" fmla="*/ 2076451 h 2306346"/>
                <a:gd name="connsiteX66" fmla="*/ 578239 w 4189811"/>
                <a:gd name="connsiteY66" fmla="*/ 2076445 h 2306346"/>
                <a:gd name="connsiteX67" fmla="*/ 0 w 4189811"/>
                <a:gd name="connsiteY67" fmla="*/ 1104900 h 2306346"/>
                <a:gd name="connsiteX68" fmla="*/ 1104900 w 4189811"/>
                <a:gd name="connsiteY68" fmla="*/ 0 h 2306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189811" h="2306346">
                  <a:moveTo>
                    <a:pt x="1104901" y="839391"/>
                  </a:moveTo>
                  <a:cubicBezTo>
                    <a:pt x="1251538" y="839391"/>
                    <a:pt x="1370411" y="958264"/>
                    <a:pt x="1370411" y="1104901"/>
                  </a:cubicBezTo>
                  <a:cubicBezTo>
                    <a:pt x="1370411" y="1251538"/>
                    <a:pt x="1251538" y="1370411"/>
                    <a:pt x="1104901" y="1370411"/>
                  </a:cubicBezTo>
                  <a:cubicBezTo>
                    <a:pt x="958264" y="1370411"/>
                    <a:pt x="839391" y="1251538"/>
                    <a:pt x="839391" y="1104901"/>
                  </a:cubicBezTo>
                  <a:cubicBezTo>
                    <a:pt x="839391" y="958264"/>
                    <a:pt x="958264" y="839391"/>
                    <a:pt x="1104901" y="839391"/>
                  </a:cubicBezTo>
                  <a:close/>
                  <a:moveTo>
                    <a:pt x="3213750" y="667674"/>
                  </a:moveTo>
                  <a:cubicBezTo>
                    <a:pt x="3310421" y="667674"/>
                    <a:pt x="3388789" y="746041"/>
                    <a:pt x="3388789" y="842713"/>
                  </a:cubicBezTo>
                  <a:cubicBezTo>
                    <a:pt x="3388789" y="939384"/>
                    <a:pt x="3310421" y="1017752"/>
                    <a:pt x="3213750" y="1017752"/>
                  </a:cubicBezTo>
                  <a:cubicBezTo>
                    <a:pt x="3117079" y="1017752"/>
                    <a:pt x="3038711" y="939384"/>
                    <a:pt x="3038711" y="842713"/>
                  </a:cubicBezTo>
                  <a:cubicBezTo>
                    <a:pt x="3038711" y="746041"/>
                    <a:pt x="3117079" y="667674"/>
                    <a:pt x="3213750" y="667674"/>
                  </a:cubicBezTo>
                  <a:close/>
                  <a:moveTo>
                    <a:pt x="1100137" y="607218"/>
                  </a:moveTo>
                  <a:cubicBezTo>
                    <a:pt x="827905" y="607218"/>
                    <a:pt x="607218" y="827905"/>
                    <a:pt x="607218" y="1100137"/>
                  </a:cubicBezTo>
                  <a:cubicBezTo>
                    <a:pt x="607218" y="1372369"/>
                    <a:pt x="827905" y="1593056"/>
                    <a:pt x="1100137" y="1593056"/>
                  </a:cubicBezTo>
                  <a:cubicBezTo>
                    <a:pt x="1372369" y="1593056"/>
                    <a:pt x="1593056" y="1372369"/>
                    <a:pt x="1593056" y="1100137"/>
                  </a:cubicBezTo>
                  <a:cubicBezTo>
                    <a:pt x="1593056" y="827905"/>
                    <a:pt x="1372369" y="607218"/>
                    <a:pt x="1100137" y="607218"/>
                  </a:cubicBezTo>
                  <a:close/>
                  <a:moveTo>
                    <a:pt x="3210609" y="514612"/>
                  </a:moveTo>
                  <a:cubicBezTo>
                    <a:pt x="3031139" y="514612"/>
                    <a:pt x="2885649" y="660102"/>
                    <a:pt x="2885649" y="839572"/>
                  </a:cubicBezTo>
                  <a:cubicBezTo>
                    <a:pt x="2885649" y="1019043"/>
                    <a:pt x="3031139" y="1164532"/>
                    <a:pt x="3210609" y="1164532"/>
                  </a:cubicBezTo>
                  <a:cubicBezTo>
                    <a:pt x="3390080" y="1164532"/>
                    <a:pt x="3535569" y="1019043"/>
                    <a:pt x="3535569" y="839572"/>
                  </a:cubicBezTo>
                  <a:cubicBezTo>
                    <a:pt x="3535569" y="660102"/>
                    <a:pt x="3390080" y="514612"/>
                    <a:pt x="3210609" y="514612"/>
                  </a:cubicBezTo>
                  <a:close/>
                  <a:moveTo>
                    <a:pt x="1104900" y="404812"/>
                  </a:moveTo>
                  <a:cubicBezTo>
                    <a:pt x="1491548" y="404812"/>
                    <a:pt x="1804988" y="718252"/>
                    <a:pt x="1804988" y="1104900"/>
                  </a:cubicBezTo>
                  <a:cubicBezTo>
                    <a:pt x="1804988" y="1491548"/>
                    <a:pt x="1491548" y="1804988"/>
                    <a:pt x="1104900" y="1804988"/>
                  </a:cubicBezTo>
                  <a:cubicBezTo>
                    <a:pt x="718252" y="1804988"/>
                    <a:pt x="404812" y="1491548"/>
                    <a:pt x="404812" y="1104900"/>
                  </a:cubicBezTo>
                  <a:cubicBezTo>
                    <a:pt x="404812" y="718252"/>
                    <a:pt x="718252" y="404812"/>
                    <a:pt x="1104900" y="404812"/>
                  </a:cubicBezTo>
                  <a:close/>
                  <a:moveTo>
                    <a:pt x="3213749" y="381175"/>
                  </a:moveTo>
                  <a:cubicBezTo>
                    <a:pt x="3468649" y="381175"/>
                    <a:pt x="3675286" y="587812"/>
                    <a:pt x="3675286" y="842712"/>
                  </a:cubicBezTo>
                  <a:cubicBezTo>
                    <a:pt x="3675286" y="1097612"/>
                    <a:pt x="3468649" y="1304249"/>
                    <a:pt x="3213749" y="1304249"/>
                  </a:cubicBezTo>
                  <a:cubicBezTo>
                    <a:pt x="2958849" y="1304249"/>
                    <a:pt x="2752212" y="1097612"/>
                    <a:pt x="2752212" y="842712"/>
                  </a:cubicBezTo>
                  <a:cubicBezTo>
                    <a:pt x="2752212" y="587812"/>
                    <a:pt x="2958849" y="381175"/>
                    <a:pt x="3213749" y="381175"/>
                  </a:cubicBezTo>
                  <a:close/>
                  <a:moveTo>
                    <a:pt x="3213749" y="233609"/>
                  </a:moveTo>
                  <a:cubicBezTo>
                    <a:pt x="2877351" y="233609"/>
                    <a:pt x="2604646" y="506314"/>
                    <a:pt x="2604646" y="842712"/>
                  </a:cubicBezTo>
                  <a:cubicBezTo>
                    <a:pt x="2604646" y="1095011"/>
                    <a:pt x="2758043" y="1311482"/>
                    <a:pt x="2976659" y="1403949"/>
                  </a:cubicBezTo>
                  <a:lnTo>
                    <a:pt x="3026174" y="1419319"/>
                  </a:lnTo>
                  <a:lnTo>
                    <a:pt x="3401325" y="1419319"/>
                  </a:lnTo>
                  <a:lnTo>
                    <a:pt x="3450840" y="1403949"/>
                  </a:lnTo>
                  <a:cubicBezTo>
                    <a:pt x="3669456" y="1311482"/>
                    <a:pt x="3822852" y="1095011"/>
                    <a:pt x="3822852" y="842712"/>
                  </a:cubicBezTo>
                  <a:cubicBezTo>
                    <a:pt x="3822852" y="506314"/>
                    <a:pt x="3550148" y="233609"/>
                    <a:pt x="3213749" y="233609"/>
                  </a:cubicBezTo>
                  <a:close/>
                  <a:moveTo>
                    <a:pt x="1104900" y="180975"/>
                  </a:moveTo>
                  <a:cubicBezTo>
                    <a:pt x="594630" y="180975"/>
                    <a:pt x="180975" y="594630"/>
                    <a:pt x="180975" y="1104900"/>
                  </a:cubicBezTo>
                  <a:cubicBezTo>
                    <a:pt x="180975" y="1615170"/>
                    <a:pt x="594630" y="2028825"/>
                    <a:pt x="1104900" y="2028825"/>
                  </a:cubicBezTo>
                  <a:cubicBezTo>
                    <a:pt x="1615170" y="2028825"/>
                    <a:pt x="2028825" y="1615170"/>
                    <a:pt x="2028825" y="1104900"/>
                  </a:cubicBezTo>
                  <a:cubicBezTo>
                    <a:pt x="2028825" y="594630"/>
                    <a:pt x="1615170" y="180975"/>
                    <a:pt x="1104900" y="180975"/>
                  </a:cubicBezTo>
                  <a:close/>
                  <a:moveTo>
                    <a:pt x="1104900" y="0"/>
                  </a:moveTo>
                  <a:cubicBezTo>
                    <a:pt x="1715119" y="0"/>
                    <a:pt x="2209800" y="494681"/>
                    <a:pt x="2209800" y="1104900"/>
                  </a:cubicBezTo>
                  <a:cubicBezTo>
                    <a:pt x="2209800" y="1209782"/>
                    <a:pt x="2195187" y="1311250"/>
                    <a:pt x="2167885" y="1407380"/>
                  </a:cubicBezTo>
                  <a:lnTo>
                    <a:pt x="2163600" y="1419319"/>
                  </a:lnTo>
                  <a:lnTo>
                    <a:pt x="2773274" y="1419319"/>
                  </a:lnTo>
                  <a:lnTo>
                    <a:pt x="2698684" y="1357777"/>
                  </a:lnTo>
                  <a:cubicBezTo>
                    <a:pt x="2566868" y="1225960"/>
                    <a:pt x="2485337" y="1043857"/>
                    <a:pt x="2485337" y="842712"/>
                  </a:cubicBezTo>
                  <a:cubicBezTo>
                    <a:pt x="2485337" y="440422"/>
                    <a:pt x="2811459" y="114300"/>
                    <a:pt x="3213749" y="114300"/>
                  </a:cubicBezTo>
                  <a:cubicBezTo>
                    <a:pt x="3616040" y="114300"/>
                    <a:pt x="3942161" y="440422"/>
                    <a:pt x="3942161" y="842712"/>
                  </a:cubicBezTo>
                  <a:cubicBezTo>
                    <a:pt x="3942161" y="1043857"/>
                    <a:pt x="3860631" y="1225960"/>
                    <a:pt x="3728814" y="1357777"/>
                  </a:cubicBezTo>
                  <a:lnTo>
                    <a:pt x="3654225" y="1419319"/>
                  </a:lnTo>
                  <a:lnTo>
                    <a:pt x="4189811" y="1419319"/>
                  </a:lnTo>
                  <a:lnTo>
                    <a:pt x="4189811" y="1571124"/>
                  </a:lnTo>
                  <a:lnTo>
                    <a:pt x="3213749" y="1571124"/>
                  </a:lnTo>
                  <a:lnTo>
                    <a:pt x="2105292" y="1571124"/>
                  </a:lnTo>
                  <a:lnTo>
                    <a:pt x="2049840" y="1677831"/>
                  </a:lnTo>
                  <a:cubicBezTo>
                    <a:pt x="1948333" y="1844889"/>
                    <a:pt x="1803774" y="1982893"/>
                    <a:pt x="1631561" y="2076445"/>
                  </a:cubicBezTo>
                  <a:lnTo>
                    <a:pt x="1631547" y="2076451"/>
                  </a:lnTo>
                  <a:lnTo>
                    <a:pt x="4189811" y="2076451"/>
                  </a:lnTo>
                  <a:lnTo>
                    <a:pt x="4189811" y="2306346"/>
                  </a:lnTo>
                  <a:lnTo>
                    <a:pt x="0" y="2306346"/>
                  </a:lnTo>
                  <a:lnTo>
                    <a:pt x="0" y="2076451"/>
                  </a:lnTo>
                  <a:lnTo>
                    <a:pt x="578253" y="2076451"/>
                  </a:lnTo>
                  <a:lnTo>
                    <a:pt x="578239" y="2076445"/>
                  </a:lnTo>
                  <a:cubicBezTo>
                    <a:pt x="233814" y="1889342"/>
                    <a:pt x="0" y="1524426"/>
                    <a:pt x="0" y="1104900"/>
                  </a:cubicBezTo>
                  <a:cubicBezTo>
                    <a:pt x="0" y="494681"/>
                    <a:pt x="494681" y="0"/>
                    <a:pt x="11049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7187240" y="-2828851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116536" y="1807034"/>
            <a:ext cx="792000" cy="792000"/>
            <a:chOff x="4239240" y="-2737690"/>
            <a:chExt cx="792000" cy="792000"/>
          </a:xfrm>
        </p:grpSpPr>
        <p:sp>
          <p:nvSpPr>
            <p:cNvPr id="114" name="Rectangle 113"/>
            <p:cNvSpPr/>
            <p:nvPr/>
          </p:nvSpPr>
          <p:spPr>
            <a:xfrm>
              <a:off x="4239240" y="-273769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37" name="Freeform 136"/>
            <p:cNvSpPr/>
            <p:nvPr/>
          </p:nvSpPr>
          <p:spPr>
            <a:xfrm>
              <a:off x="4268785" y="-2693941"/>
              <a:ext cx="732910" cy="704502"/>
            </a:xfrm>
            <a:custGeom>
              <a:avLst/>
              <a:gdLst>
                <a:gd name="connsiteX0" fmla="*/ 2984352 w 4810958"/>
                <a:gd name="connsiteY0" fmla="*/ 3536478 h 4624485"/>
                <a:gd name="connsiteX1" fmla="*/ 3207309 w 4810958"/>
                <a:gd name="connsiteY1" fmla="*/ 3788125 h 4624485"/>
                <a:gd name="connsiteX2" fmla="*/ 2984352 w 4810958"/>
                <a:gd name="connsiteY2" fmla="*/ 4039772 h 4624485"/>
                <a:gd name="connsiteX3" fmla="*/ 2761395 w 4810958"/>
                <a:gd name="connsiteY3" fmla="*/ 3788125 h 4624485"/>
                <a:gd name="connsiteX4" fmla="*/ 2984352 w 4810958"/>
                <a:gd name="connsiteY4" fmla="*/ 3536478 h 4624485"/>
                <a:gd name="connsiteX5" fmla="*/ 2983177 w 4810958"/>
                <a:gd name="connsiteY5" fmla="*/ 3278038 h 4624485"/>
                <a:gd name="connsiteX6" fmla="*/ 2473089 w 4810958"/>
                <a:gd name="connsiteY6" fmla="*/ 3788126 h 4624485"/>
                <a:gd name="connsiteX7" fmla="*/ 2983177 w 4810958"/>
                <a:gd name="connsiteY7" fmla="*/ 4298214 h 4624485"/>
                <a:gd name="connsiteX8" fmla="*/ 3493265 w 4810958"/>
                <a:gd name="connsiteY8" fmla="*/ 3788126 h 4624485"/>
                <a:gd name="connsiteX9" fmla="*/ 2983177 w 4810958"/>
                <a:gd name="connsiteY9" fmla="*/ 3278038 h 4624485"/>
                <a:gd name="connsiteX10" fmla="*/ 1779310 w 4810958"/>
                <a:gd name="connsiteY10" fmla="*/ 2298228 h 4624485"/>
                <a:gd name="connsiteX11" fmla="*/ 2002267 w 4810958"/>
                <a:gd name="connsiteY11" fmla="*/ 2549875 h 4624485"/>
                <a:gd name="connsiteX12" fmla="*/ 1779310 w 4810958"/>
                <a:gd name="connsiteY12" fmla="*/ 2801522 h 4624485"/>
                <a:gd name="connsiteX13" fmla="*/ 1556353 w 4810958"/>
                <a:gd name="connsiteY13" fmla="*/ 2549875 h 4624485"/>
                <a:gd name="connsiteX14" fmla="*/ 1779310 w 4810958"/>
                <a:gd name="connsiteY14" fmla="*/ 2298228 h 4624485"/>
                <a:gd name="connsiteX15" fmla="*/ 3360180 w 4810958"/>
                <a:gd name="connsiteY15" fmla="*/ 2072137 h 4624485"/>
                <a:gd name="connsiteX16" fmla="*/ 2996459 w 4810958"/>
                <a:gd name="connsiteY16" fmla="*/ 2074364 h 4624485"/>
                <a:gd name="connsiteX17" fmla="*/ 1414670 w 4810958"/>
                <a:gd name="connsiteY17" fmla="*/ 4207803 h 4624485"/>
                <a:gd name="connsiteX18" fmla="*/ 1781566 w 4810958"/>
                <a:gd name="connsiteY18" fmla="*/ 4205576 h 4624485"/>
                <a:gd name="connsiteX19" fmla="*/ 3360180 w 4810958"/>
                <a:gd name="connsiteY19" fmla="*/ 2072137 h 4624485"/>
                <a:gd name="connsiteX20" fmla="*/ 1778135 w 4810958"/>
                <a:gd name="connsiteY20" fmla="*/ 2039788 h 4624485"/>
                <a:gd name="connsiteX21" fmla="*/ 1268047 w 4810958"/>
                <a:gd name="connsiteY21" fmla="*/ 2549876 h 4624485"/>
                <a:gd name="connsiteX22" fmla="*/ 1778135 w 4810958"/>
                <a:gd name="connsiteY22" fmla="*/ 3059964 h 4624485"/>
                <a:gd name="connsiteX23" fmla="*/ 2288223 w 4810958"/>
                <a:gd name="connsiteY23" fmla="*/ 2549876 h 4624485"/>
                <a:gd name="connsiteX24" fmla="*/ 1778135 w 4810958"/>
                <a:gd name="connsiteY24" fmla="*/ 2039788 h 4624485"/>
                <a:gd name="connsiteX25" fmla="*/ 2386758 w 4810958"/>
                <a:gd name="connsiteY25" fmla="*/ 0 h 4624485"/>
                <a:gd name="connsiteX26" fmla="*/ 4645527 w 4810958"/>
                <a:gd name="connsiteY26" fmla="*/ 1874265 h 4624485"/>
                <a:gd name="connsiteX27" fmla="*/ 4594727 w 4810958"/>
                <a:gd name="connsiteY27" fmla="*/ 2312415 h 4624485"/>
                <a:gd name="connsiteX28" fmla="*/ 4099340 w 4810958"/>
                <a:gd name="connsiteY28" fmla="*/ 2311702 h 4624485"/>
                <a:gd name="connsiteX29" fmla="*/ 4087729 w 4810958"/>
                <a:gd name="connsiteY29" fmla="*/ 4515522 h 4624485"/>
                <a:gd name="connsiteX30" fmla="*/ 4004166 w 4810958"/>
                <a:gd name="connsiteY30" fmla="*/ 4624485 h 4624485"/>
                <a:gd name="connsiteX31" fmla="*/ 814481 w 4810958"/>
                <a:gd name="connsiteY31" fmla="*/ 4618135 h 4624485"/>
                <a:gd name="connsiteX32" fmla="*/ 673768 w 4810958"/>
                <a:gd name="connsiteY32" fmla="*/ 4388522 h 4624485"/>
                <a:gd name="connsiteX33" fmla="*/ 667980 w 4810958"/>
                <a:gd name="connsiteY33" fmla="*/ 2306765 h 4624485"/>
                <a:gd name="connsiteX34" fmla="*/ 181477 w 4810958"/>
                <a:gd name="connsiteY34" fmla="*/ 2306065 h 4624485"/>
                <a:gd name="connsiteX35" fmla="*/ 124327 w 4810958"/>
                <a:gd name="connsiteY35" fmla="*/ 1867915 h 4624485"/>
                <a:gd name="connsiteX36" fmla="*/ 873628 w 4810958"/>
                <a:gd name="connsiteY36" fmla="*/ 1249275 h 4624485"/>
                <a:gd name="connsiteX37" fmla="*/ 873628 w 4810958"/>
                <a:gd name="connsiteY37" fmla="*/ 336509 h 4624485"/>
                <a:gd name="connsiteX38" fmla="*/ 980522 w 4810958"/>
                <a:gd name="connsiteY38" fmla="*/ 229615 h 4624485"/>
                <a:gd name="connsiteX39" fmla="*/ 1408084 w 4810958"/>
                <a:gd name="connsiteY39" fmla="*/ 229615 h 4624485"/>
                <a:gd name="connsiteX40" fmla="*/ 1514978 w 4810958"/>
                <a:gd name="connsiteY40" fmla="*/ 336509 h 4624485"/>
                <a:gd name="connsiteX41" fmla="*/ 1514978 w 4810958"/>
                <a:gd name="connsiteY41" fmla="*/ 719762 h 462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810958" h="4624485">
                  <a:moveTo>
                    <a:pt x="2984352" y="3536478"/>
                  </a:moveTo>
                  <a:cubicBezTo>
                    <a:pt x="3107488" y="3536478"/>
                    <a:pt x="3207309" y="3649144"/>
                    <a:pt x="3207309" y="3788125"/>
                  </a:cubicBezTo>
                  <a:cubicBezTo>
                    <a:pt x="3207309" y="3927106"/>
                    <a:pt x="3107488" y="4039772"/>
                    <a:pt x="2984352" y="4039772"/>
                  </a:cubicBezTo>
                  <a:cubicBezTo>
                    <a:pt x="2861216" y="4039772"/>
                    <a:pt x="2761395" y="3927106"/>
                    <a:pt x="2761395" y="3788125"/>
                  </a:cubicBezTo>
                  <a:cubicBezTo>
                    <a:pt x="2761395" y="3649144"/>
                    <a:pt x="2861216" y="3536478"/>
                    <a:pt x="2984352" y="3536478"/>
                  </a:cubicBezTo>
                  <a:close/>
                  <a:moveTo>
                    <a:pt x="2983177" y="3278038"/>
                  </a:moveTo>
                  <a:cubicBezTo>
                    <a:pt x="2701463" y="3278038"/>
                    <a:pt x="2473089" y="3506412"/>
                    <a:pt x="2473089" y="3788126"/>
                  </a:cubicBezTo>
                  <a:cubicBezTo>
                    <a:pt x="2473089" y="4069840"/>
                    <a:pt x="2701463" y="4298214"/>
                    <a:pt x="2983177" y="4298214"/>
                  </a:cubicBezTo>
                  <a:cubicBezTo>
                    <a:pt x="3264891" y="4298214"/>
                    <a:pt x="3493265" y="4069840"/>
                    <a:pt x="3493265" y="3788126"/>
                  </a:cubicBezTo>
                  <a:cubicBezTo>
                    <a:pt x="3493265" y="3506412"/>
                    <a:pt x="3264891" y="3278038"/>
                    <a:pt x="2983177" y="3278038"/>
                  </a:cubicBezTo>
                  <a:close/>
                  <a:moveTo>
                    <a:pt x="1779310" y="2298228"/>
                  </a:moveTo>
                  <a:cubicBezTo>
                    <a:pt x="1902446" y="2298228"/>
                    <a:pt x="2002267" y="2410894"/>
                    <a:pt x="2002267" y="2549875"/>
                  </a:cubicBezTo>
                  <a:cubicBezTo>
                    <a:pt x="2002267" y="2688856"/>
                    <a:pt x="1902446" y="2801522"/>
                    <a:pt x="1779310" y="2801522"/>
                  </a:cubicBezTo>
                  <a:cubicBezTo>
                    <a:pt x="1656174" y="2801522"/>
                    <a:pt x="1556353" y="2688856"/>
                    <a:pt x="1556353" y="2549875"/>
                  </a:cubicBezTo>
                  <a:cubicBezTo>
                    <a:pt x="1556353" y="2410894"/>
                    <a:pt x="1656174" y="2298228"/>
                    <a:pt x="1779310" y="2298228"/>
                  </a:cubicBezTo>
                  <a:close/>
                  <a:moveTo>
                    <a:pt x="3360180" y="2072137"/>
                  </a:moveTo>
                  <a:lnTo>
                    <a:pt x="2996459" y="2074364"/>
                  </a:lnTo>
                  <a:lnTo>
                    <a:pt x="1414670" y="4207803"/>
                  </a:lnTo>
                  <a:lnTo>
                    <a:pt x="1781566" y="4205576"/>
                  </a:lnTo>
                  <a:cubicBezTo>
                    <a:pt x="2305654" y="3498663"/>
                    <a:pt x="2836092" y="2779050"/>
                    <a:pt x="3360180" y="2072137"/>
                  </a:cubicBezTo>
                  <a:close/>
                  <a:moveTo>
                    <a:pt x="1778135" y="2039788"/>
                  </a:moveTo>
                  <a:cubicBezTo>
                    <a:pt x="1496421" y="2039788"/>
                    <a:pt x="1268047" y="2268162"/>
                    <a:pt x="1268047" y="2549876"/>
                  </a:cubicBezTo>
                  <a:cubicBezTo>
                    <a:pt x="1268047" y="2831590"/>
                    <a:pt x="1496421" y="3059964"/>
                    <a:pt x="1778135" y="3059964"/>
                  </a:cubicBezTo>
                  <a:cubicBezTo>
                    <a:pt x="2059849" y="3059964"/>
                    <a:pt x="2288223" y="2831590"/>
                    <a:pt x="2288223" y="2549876"/>
                  </a:cubicBezTo>
                  <a:cubicBezTo>
                    <a:pt x="2288223" y="2268162"/>
                    <a:pt x="2059849" y="2039788"/>
                    <a:pt x="1778135" y="2039788"/>
                  </a:cubicBezTo>
                  <a:close/>
                  <a:moveTo>
                    <a:pt x="2386758" y="0"/>
                  </a:moveTo>
                  <a:lnTo>
                    <a:pt x="4645527" y="1874265"/>
                  </a:lnTo>
                  <a:cubicBezTo>
                    <a:pt x="4869894" y="2071115"/>
                    <a:pt x="4878360" y="2312415"/>
                    <a:pt x="4594727" y="2312415"/>
                  </a:cubicBezTo>
                  <a:lnTo>
                    <a:pt x="4099340" y="2311702"/>
                  </a:lnTo>
                  <a:lnTo>
                    <a:pt x="4087729" y="4515522"/>
                  </a:lnTo>
                  <a:cubicBezTo>
                    <a:pt x="4068679" y="4577235"/>
                    <a:pt x="4110329" y="4618135"/>
                    <a:pt x="4004166" y="4624485"/>
                  </a:cubicBezTo>
                  <a:lnTo>
                    <a:pt x="814481" y="4618135"/>
                  </a:lnTo>
                  <a:cubicBezTo>
                    <a:pt x="689268" y="4611785"/>
                    <a:pt x="673768" y="4596285"/>
                    <a:pt x="673768" y="4388522"/>
                  </a:cubicBezTo>
                  <a:lnTo>
                    <a:pt x="667980" y="2306765"/>
                  </a:lnTo>
                  <a:lnTo>
                    <a:pt x="181477" y="2306065"/>
                  </a:lnTo>
                  <a:cubicBezTo>
                    <a:pt x="-55590" y="2299715"/>
                    <a:pt x="-45006" y="2020315"/>
                    <a:pt x="124327" y="1867915"/>
                  </a:cubicBezTo>
                  <a:lnTo>
                    <a:pt x="873628" y="1249275"/>
                  </a:lnTo>
                  <a:lnTo>
                    <a:pt x="873628" y="336509"/>
                  </a:lnTo>
                  <a:cubicBezTo>
                    <a:pt x="873628" y="277473"/>
                    <a:pt x="921486" y="229615"/>
                    <a:pt x="980522" y="229615"/>
                  </a:cubicBezTo>
                  <a:lnTo>
                    <a:pt x="1408084" y="229615"/>
                  </a:lnTo>
                  <a:cubicBezTo>
                    <a:pt x="1467120" y="229615"/>
                    <a:pt x="1514978" y="277473"/>
                    <a:pt x="1514978" y="336509"/>
                  </a:cubicBezTo>
                  <a:lnTo>
                    <a:pt x="1514978" y="7197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3838744" y="310680"/>
            <a:ext cx="792000" cy="792000"/>
            <a:chOff x="361522" y="-1846438"/>
            <a:chExt cx="792000" cy="792000"/>
          </a:xfrm>
        </p:grpSpPr>
        <p:sp>
          <p:nvSpPr>
            <p:cNvPr id="139" name="Freeform 138"/>
            <p:cNvSpPr/>
            <p:nvPr/>
          </p:nvSpPr>
          <p:spPr>
            <a:xfrm>
              <a:off x="403607" y="-1699485"/>
              <a:ext cx="707830" cy="498094"/>
            </a:xfrm>
            <a:custGeom>
              <a:avLst/>
              <a:gdLst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1037567 w 5772449"/>
                <a:gd name="connsiteY3" fmla="*/ 1281349 h 4001900"/>
                <a:gd name="connsiteX4" fmla="*/ 930224 w 5772449"/>
                <a:gd name="connsiteY4" fmla="*/ 1468205 h 4001900"/>
                <a:gd name="connsiteX5" fmla="*/ 1037567 w 5772449"/>
                <a:gd name="connsiteY5" fmla="*/ 1655061 h 4001900"/>
                <a:gd name="connsiteX6" fmla="*/ 1144910 w 5772449"/>
                <a:gd name="connsiteY6" fmla="*/ 1468205 h 4001900"/>
                <a:gd name="connsiteX7" fmla="*/ 1037567 w 5772449"/>
                <a:gd name="connsiteY7" fmla="*/ 1281349 h 4001900"/>
                <a:gd name="connsiteX8" fmla="*/ 3614442 w 5772449"/>
                <a:gd name="connsiteY8" fmla="*/ 402681 h 4001900"/>
                <a:gd name="connsiteX9" fmla="*/ 2707689 w 5772449"/>
                <a:gd name="connsiteY9" fmla="*/ 743140 h 4001900"/>
                <a:gd name="connsiteX10" fmla="*/ 3609704 w 5772449"/>
                <a:gd name="connsiteY10" fmla="*/ 567175 h 4001900"/>
                <a:gd name="connsiteX11" fmla="*/ 4568573 w 5772449"/>
                <a:gd name="connsiteY11" fmla="*/ 714713 h 4001900"/>
                <a:gd name="connsiteX12" fmla="*/ 3614442 w 5772449"/>
                <a:gd name="connsiteY12" fmla="*/ 402681 h 4001900"/>
                <a:gd name="connsiteX13" fmla="*/ 3588807 w 5772449"/>
                <a:gd name="connsiteY13" fmla="*/ 0 h 4001900"/>
                <a:gd name="connsiteX14" fmla="*/ 5772449 w 5772449"/>
                <a:gd name="connsiteY14" fmla="*/ 1815152 h 4001900"/>
                <a:gd name="connsiteX15" fmla="*/ 5605113 w 5772449"/>
                <a:gd name="connsiteY15" fmla="*/ 2496102 h 4001900"/>
                <a:gd name="connsiteX16" fmla="*/ 5581389 w 5772449"/>
                <a:gd name="connsiteY16" fmla="*/ 2534708 h 4001900"/>
                <a:gd name="connsiteX17" fmla="*/ 5607966 w 5772449"/>
                <a:gd name="connsiteY17" fmla="*/ 2515459 h 4001900"/>
                <a:gd name="connsiteX18" fmla="*/ 5525370 w 5772449"/>
                <a:gd name="connsiteY18" fmla="*/ 2625869 h 4001900"/>
                <a:gd name="connsiteX19" fmla="*/ 5515226 w 5772449"/>
                <a:gd name="connsiteY19" fmla="*/ 2642377 h 4001900"/>
                <a:gd name="connsiteX20" fmla="*/ 5483166 w 5772449"/>
                <a:gd name="connsiteY20" fmla="*/ 2683046 h 4001900"/>
                <a:gd name="connsiteX21" fmla="*/ 5429796 w 5772449"/>
                <a:gd name="connsiteY21" fmla="*/ 2755748 h 4001900"/>
                <a:gd name="connsiteX22" fmla="*/ 5027257 w 5772449"/>
                <a:gd name="connsiteY22" fmla="*/ 3685544 h 4001900"/>
                <a:gd name="connsiteX23" fmla="*/ 4992588 w 5772449"/>
                <a:gd name="connsiteY23" fmla="*/ 4001900 h 4001900"/>
                <a:gd name="connsiteX24" fmla="*/ 4303538 w 5772449"/>
                <a:gd name="connsiteY24" fmla="*/ 4001900 h 4001900"/>
                <a:gd name="connsiteX25" fmla="*/ 4303538 w 5772449"/>
                <a:gd name="connsiteY25" fmla="*/ 3500305 h 4001900"/>
                <a:gd name="connsiteX26" fmla="*/ 4314585 w 5772449"/>
                <a:gd name="connsiteY26" fmla="*/ 3490055 h 4001900"/>
                <a:gd name="connsiteX27" fmla="*/ 4967854 w 5772449"/>
                <a:gd name="connsiteY27" fmla="*/ 2550105 h 4001900"/>
                <a:gd name="connsiteX28" fmla="*/ 4168770 w 5772449"/>
                <a:gd name="connsiteY28" fmla="*/ 3385681 h 4001900"/>
                <a:gd name="connsiteX29" fmla="*/ 4080051 w 5772449"/>
                <a:gd name="connsiteY29" fmla="*/ 3432467 h 4001900"/>
                <a:gd name="connsiteX30" fmla="*/ 3947976 w 5772449"/>
                <a:gd name="connsiteY30" fmla="*/ 3449665 h 4001900"/>
                <a:gd name="connsiteX31" fmla="*/ 3616103 w 5772449"/>
                <a:gd name="connsiteY31" fmla="*/ 3466531 h 4001900"/>
                <a:gd name="connsiteX32" fmla="*/ 2800891 w 5772449"/>
                <a:gd name="connsiteY32" fmla="*/ 3328134 h 4001900"/>
                <a:gd name="connsiteX33" fmla="*/ 2641874 w 5772449"/>
                <a:gd name="connsiteY33" fmla="*/ 3261967 h 4001900"/>
                <a:gd name="connsiteX34" fmla="*/ 2617913 w 5772449"/>
                <a:gd name="connsiteY34" fmla="*/ 3306221 h 4001900"/>
                <a:gd name="connsiteX35" fmla="*/ 2568600 w 5772449"/>
                <a:gd name="connsiteY35" fmla="*/ 3585868 h 4001900"/>
                <a:gd name="connsiteX36" fmla="*/ 2390920 w 5772449"/>
                <a:gd name="connsiteY36" fmla="*/ 4001899 h 4001900"/>
                <a:gd name="connsiteX37" fmla="*/ 1818879 w 5772449"/>
                <a:gd name="connsiteY37" fmla="*/ 4001899 h 4001900"/>
                <a:gd name="connsiteX38" fmla="*/ 1761587 w 5772449"/>
                <a:gd name="connsiteY38" fmla="*/ 3115295 h 4001900"/>
                <a:gd name="connsiteX39" fmla="*/ 1730089 w 5772449"/>
                <a:gd name="connsiteY39" fmla="*/ 2999002 h 4001900"/>
                <a:gd name="connsiteX40" fmla="*/ 1644002 w 5772449"/>
                <a:gd name="connsiteY40" fmla="*/ 3002510 h 4001900"/>
                <a:gd name="connsiteX41" fmla="*/ 322817 w 5772449"/>
                <a:gd name="connsiteY41" fmla="*/ 2316279 h 4001900"/>
                <a:gd name="connsiteX42" fmla="*/ 319955 w 5772449"/>
                <a:gd name="connsiteY42" fmla="*/ 2285283 h 4001900"/>
                <a:gd name="connsiteX43" fmla="*/ 536348 w 5772449"/>
                <a:gd name="connsiteY43" fmla="*/ 2146275 h 4001900"/>
                <a:gd name="connsiteX44" fmla="*/ 323623 w 5772449"/>
                <a:gd name="connsiteY44" fmla="*/ 2123565 h 4001900"/>
                <a:gd name="connsiteX45" fmla="*/ 329559 w 5772449"/>
                <a:gd name="connsiteY45" fmla="*/ 2080966 h 4001900"/>
                <a:gd name="connsiteX46" fmla="*/ 345424 w 5772449"/>
                <a:gd name="connsiteY46" fmla="*/ 2037364 h 4001900"/>
                <a:gd name="connsiteX47" fmla="*/ 292834 w 5772449"/>
                <a:gd name="connsiteY47" fmla="*/ 2040121 h 4001900"/>
                <a:gd name="connsiteX48" fmla="*/ 16945 w 5772449"/>
                <a:gd name="connsiteY48" fmla="*/ 2066088 h 4001900"/>
                <a:gd name="connsiteX49" fmla="*/ 16943 w 5772449"/>
                <a:gd name="connsiteY49" fmla="*/ 1572425 h 4001900"/>
                <a:gd name="connsiteX50" fmla="*/ 151582 w 5772449"/>
                <a:gd name="connsiteY50" fmla="*/ 1561205 h 4001900"/>
                <a:gd name="connsiteX51" fmla="*/ 372468 w 5772449"/>
                <a:gd name="connsiteY51" fmla="*/ 1613096 h 4001900"/>
                <a:gd name="connsiteX52" fmla="*/ 438705 w 5772449"/>
                <a:gd name="connsiteY52" fmla="*/ 1620294 h 4001900"/>
                <a:gd name="connsiteX53" fmla="*/ 465911 w 5772449"/>
                <a:gd name="connsiteY53" fmla="*/ 1540746 h 4001900"/>
                <a:gd name="connsiteX54" fmla="*/ 1128855 w 5772449"/>
                <a:gd name="connsiteY54" fmla="*/ 832819 h 4001900"/>
                <a:gd name="connsiteX55" fmla="*/ 1214543 w 5772449"/>
                <a:gd name="connsiteY55" fmla="*/ 795124 h 4001900"/>
                <a:gd name="connsiteX56" fmla="*/ 1208241 w 5772449"/>
                <a:gd name="connsiteY56" fmla="*/ 739279 h 4001900"/>
                <a:gd name="connsiteX57" fmla="*/ 981908 w 5772449"/>
                <a:gd name="connsiteY57" fmla="*/ 311290 h 4001900"/>
                <a:gd name="connsiteX58" fmla="*/ 1502720 w 5772449"/>
                <a:gd name="connsiteY58" fmla="*/ 700904 h 4001900"/>
                <a:gd name="connsiteX59" fmla="*/ 1502585 w 5772449"/>
                <a:gd name="connsiteY59" fmla="*/ 717422 h 4001900"/>
                <a:gd name="connsiteX60" fmla="*/ 1548635 w 5772449"/>
                <a:gd name="connsiteY60" fmla="*/ 716384 h 4001900"/>
                <a:gd name="connsiteX61" fmla="*/ 1754070 w 5772449"/>
                <a:gd name="connsiteY61" fmla="*/ 724702 h 4001900"/>
                <a:gd name="connsiteX62" fmla="*/ 1779982 w 5772449"/>
                <a:gd name="connsiteY62" fmla="*/ 732866 h 4001900"/>
                <a:gd name="connsiteX63" fmla="*/ 1787832 w 5772449"/>
                <a:gd name="connsiteY63" fmla="*/ 724363 h 4001900"/>
                <a:gd name="connsiteX64" fmla="*/ 1799151 w 5772449"/>
                <a:gd name="connsiteY64" fmla="*/ 730288 h 4001900"/>
                <a:gd name="connsiteX65" fmla="*/ 2299619 w 5772449"/>
                <a:gd name="connsiteY65" fmla="*/ 1099661 h 4001900"/>
                <a:gd name="connsiteX66" fmla="*/ 1967789 w 5772449"/>
                <a:gd name="connsiteY66" fmla="*/ 643362 h 4001900"/>
                <a:gd name="connsiteX67" fmla="*/ 1915934 w 5772449"/>
                <a:gd name="connsiteY67" fmla="*/ 610519 h 4001900"/>
                <a:gd name="connsiteX68" fmla="*/ 1940675 w 5772449"/>
                <a:gd name="connsiteY68" fmla="*/ 588560 h 4001900"/>
                <a:gd name="connsiteX69" fmla="*/ 3588807 w 5772449"/>
                <a:gd name="connsiteY69" fmla="*/ 0 h 4001900"/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2076124 w 5772449"/>
                <a:gd name="connsiteY3" fmla="*/ 2881727 h 4001900"/>
                <a:gd name="connsiteX4" fmla="*/ 1037567 w 5772449"/>
                <a:gd name="connsiteY4" fmla="*/ 1281349 h 4001900"/>
                <a:gd name="connsiteX5" fmla="*/ 930224 w 5772449"/>
                <a:gd name="connsiteY5" fmla="*/ 1468205 h 4001900"/>
                <a:gd name="connsiteX6" fmla="*/ 1037567 w 5772449"/>
                <a:gd name="connsiteY6" fmla="*/ 1655061 h 4001900"/>
                <a:gd name="connsiteX7" fmla="*/ 1144910 w 5772449"/>
                <a:gd name="connsiteY7" fmla="*/ 1468205 h 4001900"/>
                <a:gd name="connsiteX8" fmla="*/ 1037567 w 5772449"/>
                <a:gd name="connsiteY8" fmla="*/ 1281349 h 4001900"/>
                <a:gd name="connsiteX9" fmla="*/ 3614442 w 5772449"/>
                <a:gd name="connsiteY9" fmla="*/ 402681 h 4001900"/>
                <a:gd name="connsiteX10" fmla="*/ 2707689 w 5772449"/>
                <a:gd name="connsiteY10" fmla="*/ 743140 h 4001900"/>
                <a:gd name="connsiteX11" fmla="*/ 3609704 w 5772449"/>
                <a:gd name="connsiteY11" fmla="*/ 567175 h 4001900"/>
                <a:gd name="connsiteX12" fmla="*/ 4568573 w 5772449"/>
                <a:gd name="connsiteY12" fmla="*/ 714713 h 4001900"/>
                <a:gd name="connsiteX13" fmla="*/ 3614442 w 5772449"/>
                <a:gd name="connsiteY13" fmla="*/ 402681 h 4001900"/>
                <a:gd name="connsiteX14" fmla="*/ 3588807 w 5772449"/>
                <a:gd name="connsiteY14" fmla="*/ 0 h 4001900"/>
                <a:gd name="connsiteX15" fmla="*/ 5772449 w 5772449"/>
                <a:gd name="connsiteY15" fmla="*/ 1815152 h 4001900"/>
                <a:gd name="connsiteX16" fmla="*/ 5605113 w 5772449"/>
                <a:gd name="connsiteY16" fmla="*/ 2496102 h 4001900"/>
                <a:gd name="connsiteX17" fmla="*/ 5581389 w 5772449"/>
                <a:gd name="connsiteY17" fmla="*/ 2534708 h 4001900"/>
                <a:gd name="connsiteX18" fmla="*/ 5607966 w 5772449"/>
                <a:gd name="connsiteY18" fmla="*/ 2515459 h 4001900"/>
                <a:gd name="connsiteX19" fmla="*/ 5525370 w 5772449"/>
                <a:gd name="connsiteY19" fmla="*/ 2625869 h 4001900"/>
                <a:gd name="connsiteX20" fmla="*/ 5515226 w 5772449"/>
                <a:gd name="connsiteY20" fmla="*/ 2642377 h 4001900"/>
                <a:gd name="connsiteX21" fmla="*/ 5483166 w 5772449"/>
                <a:gd name="connsiteY21" fmla="*/ 2683046 h 4001900"/>
                <a:gd name="connsiteX22" fmla="*/ 5429796 w 5772449"/>
                <a:gd name="connsiteY22" fmla="*/ 2755748 h 4001900"/>
                <a:gd name="connsiteX23" fmla="*/ 5027257 w 5772449"/>
                <a:gd name="connsiteY23" fmla="*/ 3685544 h 4001900"/>
                <a:gd name="connsiteX24" fmla="*/ 4992588 w 5772449"/>
                <a:gd name="connsiteY24" fmla="*/ 4001900 h 4001900"/>
                <a:gd name="connsiteX25" fmla="*/ 4303538 w 5772449"/>
                <a:gd name="connsiteY25" fmla="*/ 4001900 h 4001900"/>
                <a:gd name="connsiteX26" fmla="*/ 4303538 w 5772449"/>
                <a:gd name="connsiteY26" fmla="*/ 3500305 h 4001900"/>
                <a:gd name="connsiteX27" fmla="*/ 4314585 w 5772449"/>
                <a:gd name="connsiteY27" fmla="*/ 3490055 h 4001900"/>
                <a:gd name="connsiteX28" fmla="*/ 4967854 w 5772449"/>
                <a:gd name="connsiteY28" fmla="*/ 2550105 h 4001900"/>
                <a:gd name="connsiteX29" fmla="*/ 4168770 w 5772449"/>
                <a:gd name="connsiteY29" fmla="*/ 3385681 h 4001900"/>
                <a:gd name="connsiteX30" fmla="*/ 4080051 w 5772449"/>
                <a:gd name="connsiteY30" fmla="*/ 3432467 h 4001900"/>
                <a:gd name="connsiteX31" fmla="*/ 3947976 w 5772449"/>
                <a:gd name="connsiteY31" fmla="*/ 3449665 h 4001900"/>
                <a:gd name="connsiteX32" fmla="*/ 3616103 w 5772449"/>
                <a:gd name="connsiteY32" fmla="*/ 3466531 h 4001900"/>
                <a:gd name="connsiteX33" fmla="*/ 2800891 w 5772449"/>
                <a:gd name="connsiteY33" fmla="*/ 3328134 h 4001900"/>
                <a:gd name="connsiteX34" fmla="*/ 2641874 w 5772449"/>
                <a:gd name="connsiteY34" fmla="*/ 3261967 h 4001900"/>
                <a:gd name="connsiteX35" fmla="*/ 2617913 w 5772449"/>
                <a:gd name="connsiteY35" fmla="*/ 3306221 h 4001900"/>
                <a:gd name="connsiteX36" fmla="*/ 2568600 w 5772449"/>
                <a:gd name="connsiteY36" fmla="*/ 3585868 h 4001900"/>
                <a:gd name="connsiteX37" fmla="*/ 2390920 w 5772449"/>
                <a:gd name="connsiteY37" fmla="*/ 4001899 h 4001900"/>
                <a:gd name="connsiteX38" fmla="*/ 1818879 w 5772449"/>
                <a:gd name="connsiteY38" fmla="*/ 4001899 h 4001900"/>
                <a:gd name="connsiteX39" fmla="*/ 1761587 w 5772449"/>
                <a:gd name="connsiteY39" fmla="*/ 3115295 h 4001900"/>
                <a:gd name="connsiteX40" fmla="*/ 1730089 w 5772449"/>
                <a:gd name="connsiteY40" fmla="*/ 2999002 h 4001900"/>
                <a:gd name="connsiteX41" fmla="*/ 1644002 w 5772449"/>
                <a:gd name="connsiteY41" fmla="*/ 3002510 h 4001900"/>
                <a:gd name="connsiteX42" fmla="*/ 322817 w 5772449"/>
                <a:gd name="connsiteY42" fmla="*/ 2316279 h 4001900"/>
                <a:gd name="connsiteX43" fmla="*/ 319955 w 5772449"/>
                <a:gd name="connsiteY43" fmla="*/ 2285283 h 4001900"/>
                <a:gd name="connsiteX44" fmla="*/ 312614 w 5772449"/>
                <a:gd name="connsiteY44" fmla="*/ 2193378 h 4001900"/>
                <a:gd name="connsiteX45" fmla="*/ 323623 w 5772449"/>
                <a:gd name="connsiteY45" fmla="*/ 2123565 h 4001900"/>
                <a:gd name="connsiteX46" fmla="*/ 329559 w 5772449"/>
                <a:gd name="connsiteY46" fmla="*/ 2080966 h 4001900"/>
                <a:gd name="connsiteX47" fmla="*/ 345424 w 5772449"/>
                <a:gd name="connsiteY47" fmla="*/ 2037364 h 4001900"/>
                <a:gd name="connsiteX48" fmla="*/ 292834 w 5772449"/>
                <a:gd name="connsiteY48" fmla="*/ 2040121 h 4001900"/>
                <a:gd name="connsiteX49" fmla="*/ 16945 w 5772449"/>
                <a:gd name="connsiteY49" fmla="*/ 2066088 h 4001900"/>
                <a:gd name="connsiteX50" fmla="*/ 16943 w 5772449"/>
                <a:gd name="connsiteY50" fmla="*/ 1572425 h 4001900"/>
                <a:gd name="connsiteX51" fmla="*/ 151582 w 5772449"/>
                <a:gd name="connsiteY51" fmla="*/ 1561205 h 4001900"/>
                <a:gd name="connsiteX52" fmla="*/ 372468 w 5772449"/>
                <a:gd name="connsiteY52" fmla="*/ 1613096 h 4001900"/>
                <a:gd name="connsiteX53" fmla="*/ 438705 w 5772449"/>
                <a:gd name="connsiteY53" fmla="*/ 1620294 h 4001900"/>
                <a:gd name="connsiteX54" fmla="*/ 465911 w 5772449"/>
                <a:gd name="connsiteY54" fmla="*/ 1540746 h 4001900"/>
                <a:gd name="connsiteX55" fmla="*/ 1128855 w 5772449"/>
                <a:gd name="connsiteY55" fmla="*/ 832819 h 4001900"/>
                <a:gd name="connsiteX56" fmla="*/ 1214543 w 5772449"/>
                <a:gd name="connsiteY56" fmla="*/ 795124 h 4001900"/>
                <a:gd name="connsiteX57" fmla="*/ 1208241 w 5772449"/>
                <a:gd name="connsiteY57" fmla="*/ 739279 h 4001900"/>
                <a:gd name="connsiteX58" fmla="*/ 981908 w 5772449"/>
                <a:gd name="connsiteY58" fmla="*/ 311290 h 4001900"/>
                <a:gd name="connsiteX59" fmla="*/ 1502720 w 5772449"/>
                <a:gd name="connsiteY59" fmla="*/ 700904 h 4001900"/>
                <a:gd name="connsiteX60" fmla="*/ 1502585 w 5772449"/>
                <a:gd name="connsiteY60" fmla="*/ 717422 h 4001900"/>
                <a:gd name="connsiteX61" fmla="*/ 1548635 w 5772449"/>
                <a:gd name="connsiteY61" fmla="*/ 716384 h 4001900"/>
                <a:gd name="connsiteX62" fmla="*/ 1754070 w 5772449"/>
                <a:gd name="connsiteY62" fmla="*/ 724702 h 4001900"/>
                <a:gd name="connsiteX63" fmla="*/ 1779982 w 5772449"/>
                <a:gd name="connsiteY63" fmla="*/ 732866 h 4001900"/>
                <a:gd name="connsiteX64" fmla="*/ 1787832 w 5772449"/>
                <a:gd name="connsiteY64" fmla="*/ 724363 h 4001900"/>
                <a:gd name="connsiteX65" fmla="*/ 1799151 w 5772449"/>
                <a:gd name="connsiteY65" fmla="*/ 730288 h 4001900"/>
                <a:gd name="connsiteX66" fmla="*/ 2299619 w 5772449"/>
                <a:gd name="connsiteY66" fmla="*/ 1099661 h 4001900"/>
                <a:gd name="connsiteX67" fmla="*/ 1967789 w 5772449"/>
                <a:gd name="connsiteY67" fmla="*/ 643362 h 4001900"/>
                <a:gd name="connsiteX68" fmla="*/ 1915934 w 5772449"/>
                <a:gd name="connsiteY68" fmla="*/ 610519 h 4001900"/>
                <a:gd name="connsiteX69" fmla="*/ 1940675 w 5772449"/>
                <a:gd name="connsiteY69" fmla="*/ 588560 h 4001900"/>
                <a:gd name="connsiteX70" fmla="*/ 3588807 w 5772449"/>
                <a:gd name="connsiteY70" fmla="*/ 0 h 4001900"/>
                <a:gd name="connsiteX0" fmla="*/ 2076124 w 5772449"/>
                <a:gd name="connsiteY0" fmla="*/ 2881727 h 4001900"/>
                <a:gd name="connsiteX1" fmla="*/ 2060778 w 5772449"/>
                <a:gd name="connsiteY1" fmla="*/ 2890254 h 4001900"/>
                <a:gd name="connsiteX2" fmla="*/ 2080172 w 5772449"/>
                <a:gd name="connsiteY2" fmla="*/ 2885391 h 4001900"/>
                <a:gd name="connsiteX3" fmla="*/ 2076124 w 5772449"/>
                <a:gd name="connsiteY3" fmla="*/ 2881727 h 4001900"/>
                <a:gd name="connsiteX4" fmla="*/ 1037567 w 5772449"/>
                <a:gd name="connsiteY4" fmla="*/ 1281349 h 4001900"/>
                <a:gd name="connsiteX5" fmla="*/ 930224 w 5772449"/>
                <a:gd name="connsiteY5" fmla="*/ 1468205 h 4001900"/>
                <a:gd name="connsiteX6" fmla="*/ 1037567 w 5772449"/>
                <a:gd name="connsiteY6" fmla="*/ 1655061 h 4001900"/>
                <a:gd name="connsiteX7" fmla="*/ 1144910 w 5772449"/>
                <a:gd name="connsiteY7" fmla="*/ 1468205 h 4001900"/>
                <a:gd name="connsiteX8" fmla="*/ 1037567 w 5772449"/>
                <a:gd name="connsiteY8" fmla="*/ 1281349 h 4001900"/>
                <a:gd name="connsiteX9" fmla="*/ 3614442 w 5772449"/>
                <a:gd name="connsiteY9" fmla="*/ 402681 h 4001900"/>
                <a:gd name="connsiteX10" fmla="*/ 2707689 w 5772449"/>
                <a:gd name="connsiteY10" fmla="*/ 743140 h 4001900"/>
                <a:gd name="connsiteX11" fmla="*/ 3609704 w 5772449"/>
                <a:gd name="connsiteY11" fmla="*/ 567175 h 4001900"/>
                <a:gd name="connsiteX12" fmla="*/ 4568573 w 5772449"/>
                <a:gd name="connsiteY12" fmla="*/ 714713 h 4001900"/>
                <a:gd name="connsiteX13" fmla="*/ 3614442 w 5772449"/>
                <a:gd name="connsiteY13" fmla="*/ 402681 h 4001900"/>
                <a:gd name="connsiteX14" fmla="*/ 3588807 w 5772449"/>
                <a:gd name="connsiteY14" fmla="*/ 0 h 4001900"/>
                <a:gd name="connsiteX15" fmla="*/ 5772449 w 5772449"/>
                <a:gd name="connsiteY15" fmla="*/ 1815152 h 4001900"/>
                <a:gd name="connsiteX16" fmla="*/ 5605113 w 5772449"/>
                <a:gd name="connsiteY16" fmla="*/ 2496102 h 4001900"/>
                <a:gd name="connsiteX17" fmla="*/ 5581389 w 5772449"/>
                <a:gd name="connsiteY17" fmla="*/ 2534708 h 4001900"/>
                <a:gd name="connsiteX18" fmla="*/ 5607966 w 5772449"/>
                <a:gd name="connsiteY18" fmla="*/ 2515459 h 4001900"/>
                <a:gd name="connsiteX19" fmla="*/ 5525370 w 5772449"/>
                <a:gd name="connsiteY19" fmla="*/ 2625869 h 4001900"/>
                <a:gd name="connsiteX20" fmla="*/ 5515226 w 5772449"/>
                <a:gd name="connsiteY20" fmla="*/ 2642377 h 4001900"/>
                <a:gd name="connsiteX21" fmla="*/ 5483166 w 5772449"/>
                <a:gd name="connsiteY21" fmla="*/ 2683046 h 4001900"/>
                <a:gd name="connsiteX22" fmla="*/ 5429796 w 5772449"/>
                <a:gd name="connsiteY22" fmla="*/ 2755748 h 4001900"/>
                <a:gd name="connsiteX23" fmla="*/ 5027257 w 5772449"/>
                <a:gd name="connsiteY23" fmla="*/ 3685544 h 4001900"/>
                <a:gd name="connsiteX24" fmla="*/ 4992588 w 5772449"/>
                <a:gd name="connsiteY24" fmla="*/ 4001900 h 4001900"/>
                <a:gd name="connsiteX25" fmla="*/ 4303538 w 5772449"/>
                <a:gd name="connsiteY25" fmla="*/ 4001900 h 4001900"/>
                <a:gd name="connsiteX26" fmla="*/ 4303538 w 5772449"/>
                <a:gd name="connsiteY26" fmla="*/ 3500305 h 4001900"/>
                <a:gd name="connsiteX27" fmla="*/ 4314585 w 5772449"/>
                <a:gd name="connsiteY27" fmla="*/ 3490055 h 4001900"/>
                <a:gd name="connsiteX28" fmla="*/ 4967854 w 5772449"/>
                <a:gd name="connsiteY28" fmla="*/ 2550105 h 4001900"/>
                <a:gd name="connsiteX29" fmla="*/ 4168770 w 5772449"/>
                <a:gd name="connsiteY29" fmla="*/ 3385681 h 4001900"/>
                <a:gd name="connsiteX30" fmla="*/ 4080051 w 5772449"/>
                <a:gd name="connsiteY30" fmla="*/ 3432467 h 4001900"/>
                <a:gd name="connsiteX31" fmla="*/ 3947976 w 5772449"/>
                <a:gd name="connsiteY31" fmla="*/ 3449665 h 4001900"/>
                <a:gd name="connsiteX32" fmla="*/ 3616103 w 5772449"/>
                <a:gd name="connsiteY32" fmla="*/ 3466531 h 4001900"/>
                <a:gd name="connsiteX33" fmla="*/ 2800891 w 5772449"/>
                <a:gd name="connsiteY33" fmla="*/ 3328134 h 4001900"/>
                <a:gd name="connsiteX34" fmla="*/ 2641874 w 5772449"/>
                <a:gd name="connsiteY34" fmla="*/ 3261967 h 4001900"/>
                <a:gd name="connsiteX35" fmla="*/ 2617913 w 5772449"/>
                <a:gd name="connsiteY35" fmla="*/ 3306221 h 4001900"/>
                <a:gd name="connsiteX36" fmla="*/ 2568600 w 5772449"/>
                <a:gd name="connsiteY36" fmla="*/ 3585868 h 4001900"/>
                <a:gd name="connsiteX37" fmla="*/ 2390920 w 5772449"/>
                <a:gd name="connsiteY37" fmla="*/ 4001899 h 4001900"/>
                <a:gd name="connsiteX38" fmla="*/ 1818879 w 5772449"/>
                <a:gd name="connsiteY38" fmla="*/ 4001899 h 4001900"/>
                <a:gd name="connsiteX39" fmla="*/ 1761587 w 5772449"/>
                <a:gd name="connsiteY39" fmla="*/ 3115295 h 4001900"/>
                <a:gd name="connsiteX40" fmla="*/ 1730089 w 5772449"/>
                <a:gd name="connsiteY40" fmla="*/ 2999002 h 4001900"/>
                <a:gd name="connsiteX41" fmla="*/ 1644002 w 5772449"/>
                <a:gd name="connsiteY41" fmla="*/ 3002510 h 4001900"/>
                <a:gd name="connsiteX42" fmla="*/ 322817 w 5772449"/>
                <a:gd name="connsiteY42" fmla="*/ 2316279 h 4001900"/>
                <a:gd name="connsiteX43" fmla="*/ 319955 w 5772449"/>
                <a:gd name="connsiteY43" fmla="*/ 2285283 h 4001900"/>
                <a:gd name="connsiteX44" fmla="*/ 312614 w 5772449"/>
                <a:gd name="connsiteY44" fmla="*/ 2193378 h 4001900"/>
                <a:gd name="connsiteX45" fmla="*/ 323623 w 5772449"/>
                <a:gd name="connsiteY45" fmla="*/ 2123565 h 4001900"/>
                <a:gd name="connsiteX46" fmla="*/ 329559 w 5772449"/>
                <a:gd name="connsiteY46" fmla="*/ 2080966 h 4001900"/>
                <a:gd name="connsiteX47" fmla="*/ 345424 w 5772449"/>
                <a:gd name="connsiteY47" fmla="*/ 2037364 h 4001900"/>
                <a:gd name="connsiteX48" fmla="*/ 292834 w 5772449"/>
                <a:gd name="connsiteY48" fmla="*/ 2040121 h 4001900"/>
                <a:gd name="connsiteX49" fmla="*/ 16945 w 5772449"/>
                <a:gd name="connsiteY49" fmla="*/ 2066088 h 4001900"/>
                <a:gd name="connsiteX50" fmla="*/ 16943 w 5772449"/>
                <a:gd name="connsiteY50" fmla="*/ 1572425 h 4001900"/>
                <a:gd name="connsiteX51" fmla="*/ 145695 w 5772449"/>
                <a:gd name="connsiteY51" fmla="*/ 1596532 h 4001900"/>
                <a:gd name="connsiteX52" fmla="*/ 372468 w 5772449"/>
                <a:gd name="connsiteY52" fmla="*/ 1613096 h 4001900"/>
                <a:gd name="connsiteX53" fmla="*/ 438705 w 5772449"/>
                <a:gd name="connsiteY53" fmla="*/ 1620294 h 4001900"/>
                <a:gd name="connsiteX54" fmla="*/ 465911 w 5772449"/>
                <a:gd name="connsiteY54" fmla="*/ 1540746 h 4001900"/>
                <a:gd name="connsiteX55" fmla="*/ 1128855 w 5772449"/>
                <a:gd name="connsiteY55" fmla="*/ 832819 h 4001900"/>
                <a:gd name="connsiteX56" fmla="*/ 1214543 w 5772449"/>
                <a:gd name="connsiteY56" fmla="*/ 795124 h 4001900"/>
                <a:gd name="connsiteX57" fmla="*/ 1208241 w 5772449"/>
                <a:gd name="connsiteY57" fmla="*/ 739279 h 4001900"/>
                <a:gd name="connsiteX58" fmla="*/ 981908 w 5772449"/>
                <a:gd name="connsiteY58" fmla="*/ 311290 h 4001900"/>
                <a:gd name="connsiteX59" fmla="*/ 1502720 w 5772449"/>
                <a:gd name="connsiteY59" fmla="*/ 700904 h 4001900"/>
                <a:gd name="connsiteX60" fmla="*/ 1502585 w 5772449"/>
                <a:gd name="connsiteY60" fmla="*/ 717422 h 4001900"/>
                <a:gd name="connsiteX61" fmla="*/ 1548635 w 5772449"/>
                <a:gd name="connsiteY61" fmla="*/ 716384 h 4001900"/>
                <a:gd name="connsiteX62" fmla="*/ 1754070 w 5772449"/>
                <a:gd name="connsiteY62" fmla="*/ 724702 h 4001900"/>
                <a:gd name="connsiteX63" fmla="*/ 1779982 w 5772449"/>
                <a:gd name="connsiteY63" fmla="*/ 732866 h 4001900"/>
                <a:gd name="connsiteX64" fmla="*/ 1787832 w 5772449"/>
                <a:gd name="connsiteY64" fmla="*/ 724363 h 4001900"/>
                <a:gd name="connsiteX65" fmla="*/ 1799151 w 5772449"/>
                <a:gd name="connsiteY65" fmla="*/ 730288 h 4001900"/>
                <a:gd name="connsiteX66" fmla="*/ 2299619 w 5772449"/>
                <a:gd name="connsiteY66" fmla="*/ 1099661 h 4001900"/>
                <a:gd name="connsiteX67" fmla="*/ 1967789 w 5772449"/>
                <a:gd name="connsiteY67" fmla="*/ 643362 h 4001900"/>
                <a:gd name="connsiteX68" fmla="*/ 1915934 w 5772449"/>
                <a:gd name="connsiteY68" fmla="*/ 610519 h 4001900"/>
                <a:gd name="connsiteX69" fmla="*/ 1940675 w 5772449"/>
                <a:gd name="connsiteY69" fmla="*/ 588560 h 4001900"/>
                <a:gd name="connsiteX70" fmla="*/ 3588807 w 5772449"/>
                <a:gd name="connsiteY70" fmla="*/ 0 h 4001900"/>
                <a:gd name="connsiteX0" fmla="*/ 2073803 w 5770128"/>
                <a:gd name="connsiteY0" fmla="*/ 2881727 h 4001900"/>
                <a:gd name="connsiteX1" fmla="*/ 2058457 w 5770128"/>
                <a:gd name="connsiteY1" fmla="*/ 2890254 h 4001900"/>
                <a:gd name="connsiteX2" fmla="*/ 2077851 w 5770128"/>
                <a:gd name="connsiteY2" fmla="*/ 2885391 h 4001900"/>
                <a:gd name="connsiteX3" fmla="*/ 2073803 w 5770128"/>
                <a:gd name="connsiteY3" fmla="*/ 2881727 h 4001900"/>
                <a:gd name="connsiteX4" fmla="*/ 1035246 w 5770128"/>
                <a:gd name="connsiteY4" fmla="*/ 1281349 h 4001900"/>
                <a:gd name="connsiteX5" fmla="*/ 927903 w 5770128"/>
                <a:gd name="connsiteY5" fmla="*/ 1468205 h 4001900"/>
                <a:gd name="connsiteX6" fmla="*/ 1035246 w 5770128"/>
                <a:gd name="connsiteY6" fmla="*/ 1655061 h 4001900"/>
                <a:gd name="connsiteX7" fmla="*/ 1142589 w 5770128"/>
                <a:gd name="connsiteY7" fmla="*/ 1468205 h 4001900"/>
                <a:gd name="connsiteX8" fmla="*/ 1035246 w 5770128"/>
                <a:gd name="connsiteY8" fmla="*/ 1281349 h 4001900"/>
                <a:gd name="connsiteX9" fmla="*/ 3612121 w 5770128"/>
                <a:gd name="connsiteY9" fmla="*/ 402681 h 4001900"/>
                <a:gd name="connsiteX10" fmla="*/ 2705368 w 5770128"/>
                <a:gd name="connsiteY10" fmla="*/ 743140 h 4001900"/>
                <a:gd name="connsiteX11" fmla="*/ 3607383 w 5770128"/>
                <a:gd name="connsiteY11" fmla="*/ 567175 h 4001900"/>
                <a:gd name="connsiteX12" fmla="*/ 4566252 w 5770128"/>
                <a:gd name="connsiteY12" fmla="*/ 714713 h 4001900"/>
                <a:gd name="connsiteX13" fmla="*/ 3612121 w 5770128"/>
                <a:gd name="connsiteY13" fmla="*/ 402681 h 4001900"/>
                <a:gd name="connsiteX14" fmla="*/ 3586486 w 5770128"/>
                <a:gd name="connsiteY14" fmla="*/ 0 h 4001900"/>
                <a:gd name="connsiteX15" fmla="*/ 5770128 w 5770128"/>
                <a:gd name="connsiteY15" fmla="*/ 1815152 h 4001900"/>
                <a:gd name="connsiteX16" fmla="*/ 5602792 w 5770128"/>
                <a:gd name="connsiteY16" fmla="*/ 2496102 h 4001900"/>
                <a:gd name="connsiteX17" fmla="*/ 5579068 w 5770128"/>
                <a:gd name="connsiteY17" fmla="*/ 2534708 h 4001900"/>
                <a:gd name="connsiteX18" fmla="*/ 5605645 w 5770128"/>
                <a:gd name="connsiteY18" fmla="*/ 2515459 h 4001900"/>
                <a:gd name="connsiteX19" fmla="*/ 5523049 w 5770128"/>
                <a:gd name="connsiteY19" fmla="*/ 2625869 h 4001900"/>
                <a:gd name="connsiteX20" fmla="*/ 5512905 w 5770128"/>
                <a:gd name="connsiteY20" fmla="*/ 2642377 h 4001900"/>
                <a:gd name="connsiteX21" fmla="*/ 5480845 w 5770128"/>
                <a:gd name="connsiteY21" fmla="*/ 2683046 h 4001900"/>
                <a:gd name="connsiteX22" fmla="*/ 5427475 w 5770128"/>
                <a:gd name="connsiteY22" fmla="*/ 2755748 h 4001900"/>
                <a:gd name="connsiteX23" fmla="*/ 5024936 w 5770128"/>
                <a:gd name="connsiteY23" fmla="*/ 3685544 h 4001900"/>
                <a:gd name="connsiteX24" fmla="*/ 4990267 w 5770128"/>
                <a:gd name="connsiteY24" fmla="*/ 4001900 h 4001900"/>
                <a:gd name="connsiteX25" fmla="*/ 4301217 w 5770128"/>
                <a:gd name="connsiteY25" fmla="*/ 4001900 h 4001900"/>
                <a:gd name="connsiteX26" fmla="*/ 4301217 w 5770128"/>
                <a:gd name="connsiteY26" fmla="*/ 3500305 h 4001900"/>
                <a:gd name="connsiteX27" fmla="*/ 4312264 w 5770128"/>
                <a:gd name="connsiteY27" fmla="*/ 3490055 h 4001900"/>
                <a:gd name="connsiteX28" fmla="*/ 4965533 w 5770128"/>
                <a:gd name="connsiteY28" fmla="*/ 2550105 h 4001900"/>
                <a:gd name="connsiteX29" fmla="*/ 4166449 w 5770128"/>
                <a:gd name="connsiteY29" fmla="*/ 3385681 h 4001900"/>
                <a:gd name="connsiteX30" fmla="*/ 4077730 w 5770128"/>
                <a:gd name="connsiteY30" fmla="*/ 3432467 h 4001900"/>
                <a:gd name="connsiteX31" fmla="*/ 3945655 w 5770128"/>
                <a:gd name="connsiteY31" fmla="*/ 3449665 h 4001900"/>
                <a:gd name="connsiteX32" fmla="*/ 3613782 w 5770128"/>
                <a:gd name="connsiteY32" fmla="*/ 3466531 h 4001900"/>
                <a:gd name="connsiteX33" fmla="*/ 2798570 w 5770128"/>
                <a:gd name="connsiteY33" fmla="*/ 3328134 h 4001900"/>
                <a:gd name="connsiteX34" fmla="*/ 2639553 w 5770128"/>
                <a:gd name="connsiteY34" fmla="*/ 3261967 h 4001900"/>
                <a:gd name="connsiteX35" fmla="*/ 2615592 w 5770128"/>
                <a:gd name="connsiteY35" fmla="*/ 3306221 h 4001900"/>
                <a:gd name="connsiteX36" fmla="*/ 2566279 w 5770128"/>
                <a:gd name="connsiteY36" fmla="*/ 3585868 h 4001900"/>
                <a:gd name="connsiteX37" fmla="*/ 2388599 w 5770128"/>
                <a:gd name="connsiteY37" fmla="*/ 4001899 h 4001900"/>
                <a:gd name="connsiteX38" fmla="*/ 1816558 w 5770128"/>
                <a:gd name="connsiteY38" fmla="*/ 4001899 h 4001900"/>
                <a:gd name="connsiteX39" fmla="*/ 1759266 w 5770128"/>
                <a:gd name="connsiteY39" fmla="*/ 3115295 h 4001900"/>
                <a:gd name="connsiteX40" fmla="*/ 1727768 w 5770128"/>
                <a:gd name="connsiteY40" fmla="*/ 2999002 h 4001900"/>
                <a:gd name="connsiteX41" fmla="*/ 1641681 w 5770128"/>
                <a:gd name="connsiteY41" fmla="*/ 3002510 h 4001900"/>
                <a:gd name="connsiteX42" fmla="*/ 320496 w 5770128"/>
                <a:gd name="connsiteY42" fmla="*/ 2316279 h 4001900"/>
                <a:gd name="connsiteX43" fmla="*/ 317634 w 5770128"/>
                <a:gd name="connsiteY43" fmla="*/ 2285283 h 4001900"/>
                <a:gd name="connsiteX44" fmla="*/ 310293 w 5770128"/>
                <a:gd name="connsiteY44" fmla="*/ 2193378 h 4001900"/>
                <a:gd name="connsiteX45" fmla="*/ 321302 w 5770128"/>
                <a:gd name="connsiteY45" fmla="*/ 2123565 h 4001900"/>
                <a:gd name="connsiteX46" fmla="*/ 327238 w 5770128"/>
                <a:gd name="connsiteY46" fmla="*/ 2080966 h 4001900"/>
                <a:gd name="connsiteX47" fmla="*/ 343103 w 5770128"/>
                <a:gd name="connsiteY47" fmla="*/ 2037364 h 4001900"/>
                <a:gd name="connsiteX48" fmla="*/ 290513 w 5770128"/>
                <a:gd name="connsiteY48" fmla="*/ 2040121 h 4001900"/>
                <a:gd name="connsiteX49" fmla="*/ 14624 w 5770128"/>
                <a:gd name="connsiteY49" fmla="*/ 2066088 h 4001900"/>
                <a:gd name="connsiteX50" fmla="*/ 20509 w 5770128"/>
                <a:gd name="connsiteY50" fmla="*/ 1601864 h 4001900"/>
                <a:gd name="connsiteX51" fmla="*/ 143374 w 5770128"/>
                <a:gd name="connsiteY51" fmla="*/ 1596532 h 4001900"/>
                <a:gd name="connsiteX52" fmla="*/ 370147 w 5770128"/>
                <a:gd name="connsiteY52" fmla="*/ 1613096 h 4001900"/>
                <a:gd name="connsiteX53" fmla="*/ 436384 w 5770128"/>
                <a:gd name="connsiteY53" fmla="*/ 1620294 h 4001900"/>
                <a:gd name="connsiteX54" fmla="*/ 463590 w 5770128"/>
                <a:gd name="connsiteY54" fmla="*/ 1540746 h 4001900"/>
                <a:gd name="connsiteX55" fmla="*/ 1126534 w 5770128"/>
                <a:gd name="connsiteY55" fmla="*/ 832819 h 4001900"/>
                <a:gd name="connsiteX56" fmla="*/ 1212222 w 5770128"/>
                <a:gd name="connsiteY56" fmla="*/ 795124 h 4001900"/>
                <a:gd name="connsiteX57" fmla="*/ 1205920 w 5770128"/>
                <a:gd name="connsiteY57" fmla="*/ 739279 h 4001900"/>
                <a:gd name="connsiteX58" fmla="*/ 979587 w 5770128"/>
                <a:gd name="connsiteY58" fmla="*/ 311290 h 4001900"/>
                <a:gd name="connsiteX59" fmla="*/ 1500399 w 5770128"/>
                <a:gd name="connsiteY59" fmla="*/ 700904 h 4001900"/>
                <a:gd name="connsiteX60" fmla="*/ 1500264 w 5770128"/>
                <a:gd name="connsiteY60" fmla="*/ 717422 h 4001900"/>
                <a:gd name="connsiteX61" fmla="*/ 1546314 w 5770128"/>
                <a:gd name="connsiteY61" fmla="*/ 716384 h 4001900"/>
                <a:gd name="connsiteX62" fmla="*/ 1751749 w 5770128"/>
                <a:gd name="connsiteY62" fmla="*/ 724702 h 4001900"/>
                <a:gd name="connsiteX63" fmla="*/ 1777661 w 5770128"/>
                <a:gd name="connsiteY63" fmla="*/ 732866 h 4001900"/>
                <a:gd name="connsiteX64" fmla="*/ 1785511 w 5770128"/>
                <a:gd name="connsiteY64" fmla="*/ 724363 h 4001900"/>
                <a:gd name="connsiteX65" fmla="*/ 1796830 w 5770128"/>
                <a:gd name="connsiteY65" fmla="*/ 730288 h 4001900"/>
                <a:gd name="connsiteX66" fmla="*/ 2297298 w 5770128"/>
                <a:gd name="connsiteY66" fmla="*/ 1099661 h 4001900"/>
                <a:gd name="connsiteX67" fmla="*/ 1965468 w 5770128"/>
                <a:gd name="connsiteY67" fmla="*/ 643362 h 4001900"/>
                <a:gd name="connsiteX68" fmla="*/ 1913613 w 5770128"/>
                <a:gd name="connsiteY68" fmla="*/ 610519 h 4001900"/>
                <a:gd name="connsiteX69" fmla="*/ 1938354 w 5770128"/>
                <a:gd name="connsiteY69" fmla="*/ 588560 h 4001900"/>
                <a:gd name="connsiteX70" fmla="*/ 3586486 w 5770128"/>
                <a:gd name="connsiteY70" fmla="*/ 0 h 4001900"/>
                <a:gd name="connsiteX0" fmla="*/ 2062867 w 5759192"/>
                <a:gd name="connsiteY0" fmla="*/ 2881727 h 4001900"/>
                <a:gd name="connsiteX1" fmla="*/ 2047521 w 5759192"/>
                <a:gd name="connsiteY1" fmla="*/ 2890254 h 4001900"/>
                <a:gd name="connsiteX2" fmla="*/ 2066915 w 5759192"/>
                <a:gd name="connsiteY2" fmla="*/ 2885391 h 4001900"/>
                <a:gd name="connsiteX3" fmla="*/ 2062867 w 5759192"/>
                <a:gd name="connsiteY3" fmla="*/ 2881727 h 4001900"/>
                <a:gd name="connsiteX4" fmla="*/ 1024310 w 5759192"/>
                <a:gd name="connsiteY4" fmla="*/ 1281349 h 4001900"/>
                <a:gd name="connsiteX5" fmla="*/ 916967 w 5759192"/>
                <a:gd name="connsiteY5" fmla="*/ 1468205 h 4001900"/>
                <a:gd name="connsiteX6" fmla="*/ 1024310 w 5759192"/>
                <a:gd name="connsiteY6" fmla="*/ 1655061 h 4001900"/>
                <a:gd name="connsiteX7" fmla="*/ 1131653 w 5759192"/>
                <a:gd name="connsiteY7" fmla="*/ 1468205 h 4001900"/>
                <a:gd name="connsiteX8" fmla="*/ 1024310 w 5759192"/>
                <a:gd name="connsiteY8" fmla="*/ 1281349 h 4001900"/>
                <a:gd name="connsiteX9" fmla="*/ 3601185 w 5759192"/>
                <a:gd name="connsiteY9" fmla="*/ 402681 h 4001900"/>
                <a:gd name="connsiteX10" fmla="*/ 2694432 w 5759192"/>
                <a:gd name="connsiteY10" fmla="*/ 743140 h 4001900"/>
                <a:gd name="connsiteX11" fmla="*/ 3596447 w 5759192"/>
                <a:gd name="connsiteY11" fmla="*/ 567175 h 4001900"/>
                <a:gd name="connsiteX12" fmla="*/ 4555316 w 5759192"/>
                <a:gd name="connsiteY12" fmla="*/ 714713 h 4001900"/>
                <a:gd name="connsiteX13" fmla="*/ 3601185 w 5759192"/>
                <a:gd name="connsiteY13" fmla="*/ 402681 h 4001900"/>
                <a:gd name="connsiteX14" fmla="*/ 3575550 w 5759192"/>
                <a:gd name="connsiteY14" fmla="*/ 0 h 4001900"/>
                <a:gd name="connsiteX15" fmla="*/ 5759192 w 5759192"/>
                <a:gd name="connsiteY15" fmla="*/ 1815152 h 4001900"/>
                <a:gd name="connsiteX16" fmla="*/ 5591856 w 5759192"/>
                <a:gd name="connsiteY16" fmla="*/ 2496102 h 4001900"/>
                <a:gd name="connsiteX17" fmla="*/ 5568132 w 5759192"/>
                <a:gd name="connsiteY17" fmla="*/ 2534708 h 4001900"/>
                <a:gd name="connsiteX18" fmla="*/ 5594709 w 5759192"/>
                <a:gd name="connsiteY18" fmla="*/ 2515459 h 4001900"/>
                <a:gd name="connsiteX19" fmla="*/ 5512113 w 5759192"/>
                <a:gd name="connsiteY19" fmla="*/ 2625869 h 4001900"/>
                <a:gd name="connsiteX20" fmla="*/ 5501969 w 5759192"/>
                <a:gd name="connsiteY20" fmla="*/ 2642377 h 4001900"/>
                <a:gd name="connsiteX21" fmla="*/ 5469909 w 5759192"/>
                <a:gd name="connsiteY21" fmla="*/ 2683046 h 4001900"/>
                <a:gd name="connsiteX22" fmla="*/ 5416539 w 5759192"/>
                <a:gd name="connsiteY22" fmla="*/ 2755748 h 4001900"/>
                <a:gd name="connsiteX23" fmla="*/ 5014000 w 5759192"/>
                <a:gd name="connsiteY23" fmla="*/ 3685544 h 4001900"/>
                <a:gd name="connsiteX24" fmla="*/ 4979331 w 5759192"/>
                <a:gd name="connsiteY24" fmla="*/ 4001900 h 4001900"/>
                <a:gd name="connsiteX25" fmla="*/ 4290281 w 5759192"/>
                <a:gd name="connsiteY25" fmla="*/ 4001900 h 4001900"/>
                <a:gd name="connsiteX26" fmla="*/ 4290281 w 5759192"/>
                <a:gd name="connsiteY26" fmla="*/ 3500305 h 4001900"/>
                <a:gd name="connsiteX27" fmla="*/ 4301328 w 5759192"/>
                <a:gd name="connsiteY27" fmla="*/ 3490055 h 4001900"/>
                <a:gd name="connsiteX28" fmla="*/ 4954597 w 5759192"/>
                <a:gd name="connsiteY28" fmla="*/ 2550105 h 4001900"/>
                <a:gd name="connsiteX29" fmla="*/ 4155513 w 5759192"/>
                <a:gd name="connsiteY29" fmla="*/ 3385681 h 4001900"/>
                <a:gd name="connsiteX30" fmla="*/ 4066794 w 5759192"/>
                <a:gd name="connsiteY30" fmla="*/ 3432467 h 4001900"/>
                <a:gd name="connsiteX31" fmla="*/ 3934719 w 5759192"/>
                <a:gd name="connsiteY31" fmla="*/ 3449665 h 4001900"/>
                <a:gd name="connsiteX32" fmla="*/ 3602846 w 5759192"/>
                <a:gd name="connsiteY32" fmla="*/ 3466531 h 4001900"/>
                <a:gd name="connsiteX33" fmla="*/ 2787634 w 5759192"/>
                <a:gd name="connsiteY33" fmla="*/ 3328134 h 4001900"/>
                <a:gd name="connsiteX34" fmla="*/ 2628617 w 5759192"/>
                <a:gd name="connsiteY34" fmla="*/ 3261967 h 4001900"/>
                <a:gd name="connsiteX35" fmla="*/ 2604656 w 5759192"/>
                <a:gd name="connsiteY35" fmla="*/ 3306221 h 4001900"/>
                <a:gd name="connsiteX36" fmla="*/ 2555343 w 5759192"/>
                <a:gd name="connsiteY36" fmla="*/ 3585868 h 4001900"/>
                <a:gd name="connsiteX37" fmla="*/ 2377663 w 5759192"/>
                <a:gd name="connsiteY37" fmla="*/ 4001899 h 4001900"/>
                <a:gd name="connsiteX38" fmla="*/ 1805622 w 5759192"/>
                <a:gd name="connsiteY38" fmla="*/ 4001899 h 4001900"/>
                <a:gd name="connsiteX39" fmla="*/ 1748330 w 5759192"/>
                <a:gd name="connsiteY39" fmla="*/ 3115295 h 4001900"/>
                <a:gd name="connsiteX40" fmla="*/ 1716832 w 5759192"/>
                <a:gd name="connsiteY40" fmla="*/ 2999002 h 4001900"/>
                <a:gd name="connsiteX41" fmla="*/ 1630745 w 5759192"/>
                <a:gd name="connsiteY41" fmla="*/ 3002510 h 4001900"/>
                <a:gd name="connsiteX42" fmla="*/ 309560 w 5759192"/>
                <a:gd name="connsiteY42" fmla="*/ 2316279 h 4001900"/>
                <a:gd name="connsiteX43" fmla="*/ 306698 w 5759192"/>
                <a:gd name="connsiteY43" fmla="*/ 2285283 h 4001900"/>
                <a:gd name="connsiteX44" fmla="*/ 299357 w 5759192"/>
                <a:gd name="connsiteY44" fmla="*/ 2193378 h 4001900"/>
                <a:gd name="connsiteX45" fmla="*/ 310366 w 5759192"/>
                <a:gd name="connsiteY45" fmla="*/ 2123565 h 4001900"/>
                <a:gd name="connsiteX46" fmla="*/ 316302 w 5759192"/>
                <a:gd name="connsiteY46" fmla="*/ 2080966 h 4001900"/>
                <a:gd name="connsiteX47" fmla="*/ 332167 w 5759192"/>
                <a:gd name="connsiteY47" fmla="*/ 2037364 h 4001900"/>
                <a:gd name="connsiteX48" fmla="*/ 279577 w 5759192"/>
                <a:gd name="connsiteY48" fmla="*/ 2040121 h 4001900"/>
                <a:gd name="connsiteX49" fmla="*/ 27239 w 5759192"/>
                <a:gd name="connsiteY49" fmla="*/ 2060201 h 4001900"/>
                <a:gd name="connsiteX50" fmla="*/ 9573 w 5759192"/>
                <a:gd name="connsiteY50" fmla="*/ 1601864 h 4001900"/>
                <a:gd name="connsiteX51" fmla="*/ 132438 w 5759192"/>
                <a:gd name="connsiteY51" fmla="*/ 1596532 h 4001900"/>
                <a:gd name="connsiteX52" fmla="*/ 359211 w 5759192"/>
                <a:gd name="connsiteY52" fmla="*/ 1613096 h 4001900"/>
                <a:gd name="connsiteX53" fmla="*/ 425448 w 5759192"/>
                <a:gd name="connsiteY53" fmla="*/ 1620294 h 4001900"/>
                <a:gd name="connsiteX54" fmla="*/ 452654 w 5759192"/>
                <a:gd name="connsiteY54" fmla="*/ 1540746 h 4001900"/>
                <a:gd name="connsiteX55" fmla="*/ 1115598 w 5759192"/>
                <a:gd name="connsiteY55" fmla="*/ 832819 h 4001900"/>
                <a:gd name="connsiteX56" fmla="*/ 1201286 w 5759192"/>
                <a:gd name="connsiteY56" fmla="*/ 795124 h 4001900"/>
                <a:gd name="connsiteX57" fmla="*/ 1194984 w 5759192"/>
                <a:gd name="connsiteY57" fmla="*/ 739279 h 4001900"/>
                <a:gd name="connsiteX58" fmla="*/ 968651 w 5759192"/>
                <a:gd name="connsiteY58" fmla="*/ 311290 h 4001900"/>
                <a:gd name="connsiteX59" fmla="*/ 1489463 w 5759192"/>
                <a:gd name="connsiteY59" fmla="*/ 700904 h 4001900"/>
                <a:gd name="connsiteX60" fmla="*/ 1489328 w 5759192"/>
                <a:gd name="connsiteY60" fmla="*/ 717422 h 4001900"/>
                <a:gd name="connsiteX61" fmla="*/ 1535378 w 5759192"/>
                <a:gd name="connsiteY61" fmla="*/ 716384 h 4001900"/>
                <a:gd name="connsiteX62" fmla="*/ 1740813 w 5759192"/>
                <a:gd name="connsiteY62" fmla="*/ 724702 h 4001900"/>
                <a:gd name="connsiteX63" fmla="*/ 1766725 w 5759192"/>
                <a:gd name="connsiteY63" fmla="*/ 732866 h 4001900"/>
                <a:gd name="connsiteX64" fmla="*/ 1774575 w 5759192"/>
                <a:gd name="connsiteY64" fmla="*/ 724363 h 4001900"/>
                <a:gd name="connsiteX65" fmla="*/ 1785894 w 5759192"/>
                <a:gd name="connsiteY65" fmla="*/ 730288 h 4001900"/>
                <a:gd name="connsiteX66" fmla="*/ 2286362 w 5759192"/>
                <a:gd name="connsiteY66" fmla="*/ 1099661 h 4001900"/>
                <a:gd name="connsiteX67" fmla="*/ 1954532 w 5759192"/>
                <a:gd name="connsiteY67" fmla="*/ 643362 h 4001900"/>
                <a:gd name="connsiteX68" fmla="*/ 1902677 w 5759192"/>
                <a:gd name="connsiteY68" fmla="*/ 610519 h 4001900"/>
                <a:gd name="connsiteX69" fmla="*/ 1927418 w 5759192"/>
                <a:gd name="connsiteY69" fmla="*/ 588560 h 4001900"/>
                <a:gd name="connsiteX70" fmla="*/ 3575550 w 5759192"/>
                <a:gd name="connsiteY70" fmla="*/ 0 h 4001900"/>
                <a:gd name="connsiteX0" fmla="*/ 2041662 w 5737987"/>
                <a:gd name="connsiteY0" fmla="*/ 2881727 h 4001900"/>
                <a:gd name="connsiteX1" fmla="*/ 2026316 w 5737987"/>
                <a:gd name="connsiteY1" fmla="*/ 2890254 h 4001900"/>
                <a:gd name="connsiteX2" fmla="*/ 2045710 w 5737987"/>
                <a:gd name="connsiteY2" fmla="*/ 2885391 h 4001900"/>
                <a:gd name="connsiteX3" fmla="*/ 2041662 w 5737987"/>
                <a:gd name="connsiteY3" fmla="*/ 2881727 h 4001900"/>
                <a:gd name="connsiteX4" fmla="*/ 1003105 w 5737987"/>
                <a:gd name="connsiteY4" fmla="*/ 1281349 h 4001900"/>
                <a:gd name="connsiteX5" fmla="*/ 895762 w 5737987"/>
                <a:gd name="connsiteY5" fmla="*/ 1468205 h 4001900"/>
                <a:gd name="connsiteX6" fmla="*/ 1003105 w 5737987"/>
                <a:gd name="connsiteY6" fmla="*/ 1655061 h 4001900"/>
                <a:gd name="connsiteX7" fmla="*/ 1110448 w 5737987"/>
                <a:gd name="connsiteY7" fmla="*/ 1468205 h 4001900"/>
                <a:gd name="connsiteX8" fmla="*/ 1003105 w 5737987"/>
                <a:gd name="connsiteY8" fmla="*/ 1281349 h 4001900"/>
                <a:gd name="connsiteX9" fmla="*/ 3579980 w 5737987"/>
                <a:gd name="connsiteY9" fmla="*/ 402681 h 4001900"/>
                <a:gd name="connsiteX10" fmla="*/ 2673227 w 5737987"/>
                <a:gd name="connsiteY10" fmla="*/ 743140 h 4001900"/>
                <a:gd name="connsiteX11" fmla="*/ 3575242 w 5737987"/>
                <a:gd name="connsiteY11" fmla="*/ 567175 h 4001900"/>
                <a:gd name="connsiteX12" fmla="*/ 4534111 w 5737987"/>
                <a:gd name="connsiteY12" fmla="*/ 714713 h 4001900"/>
                <a:gd name="connsiteX13" fmla="*/ 3579980 w 5737987"/>
                <a:gd name="connsiteY13" fmla="*/ 402681 h 4001900"/>
                <a:gd name="connsiteX14" fmla="*/ 3554345 w 5737987"/>
                <a:gd name="connsiteY14" fmla="*/ 0 h 4001900"/>
                <a:gd name="connsiteX15" fmla="*/ 5737987 w 5737987"/>
                <a:gd name="connsiteY15" fmla="*/ 1815152 h 4001900"/>
                <a:gd name="connsiteX16" fmla="*/ 5570651 w 5737987"/>
                <a:gd name="connsiteY16" fmla="*/ 2496102 h 4001900"/>
                <a:gd name="connsiteX17" fmla="*/ 5546927 w 5737987"/>
                <a:gd name="connsiteY17" fmla="*/ 2534708 h 4001900"/>
                <a:gd name="connsiteX18" fmla="*/ 5573504 w 5737987"/>
                <a:gd name="connsiteY18" fmla="*/ 2515459 h 4001900"/>
                <a:gd name="connsiteX19" fmla="*/ 5490908 w 5737987"/>
                <a:gd name="connsiteY19" fmla="*/ 2625869 h 4001900"/>
                <a:gd name="connsiteX20" fmla="*/ 5480764 w 5737987"/>
                <a:gd name="connsiteY20" fmla="*/ 2642377 h 4001900"/>
                <a:gd name="connsiteX21" fmla="*/ 5448704 w 5737987"/>
                <a:gd name="connsiteY21" fmla="*/ 2683046 h 4001900"/>
                <a:gd name="connsiteX22" fmla="*/ 5395334 w 5737987"/>
                <a:gd name="connsiteY22" fmla="*/ 2755748 h 4001900"/>
                <a:gd name="connsiteX23" fmla="*/ 4992795 w 5737987"/>
                <a:gd name="connsiteY23" fmla="*/ 3685544 h 4001900"/>
                <a:gd name="connsiteX24" fmla="*/ 4958126 w 5737987"/>
                <a:gd name="connsiteY24" fmla="*/ 4001900 h 4001900"/>
                <a:gd name="connsiteX25" fmla="*/ 4269076 w 5737987"/>
                <a:gd name="connsiteY25" fmla="*/ 4001900 h 4001900"/>
                <a:gd name="connsiteX26" fmla="*/ 4269076 w 5737987"/>
                <a:gd name="connsiteY26" fmla="*/ 3500305 h 4001900"/>
                <a:gd name="connsiteX27" fmla="*/ 4280123 w 5737987"/>
                <a:gd name="connsiteY27" fmla="*/ 3490055 h 4001900"/>
                <a:gd name="connsiteX28" fmla="*/ 4933392 w 5737987"/>
                <a:gd name="connsiteY28" fmla="*/ 2550105 h 4001900"/>
                <a:gd name="connsiteX29" fmla="*/ 4134308 w 5737987"/>
                <a:gd name="connsiteY29" fmla="*/ 3385681 h 4001900"/>
                <a:gd name="connsiteX30" fmla="*/ 4045589 w 5737987"/>
                <a:gd name="connsiteY30" fmla="*/ 3432467 h 4001900"/>
                <a:gd name="connsiteX31" fmla="*/ 3913514 w 5737987"/>
                <a:gd name="connsiteY31" fmla="*/ 3449665 h 4001900"/>
                <a:gd name="connsiteX32" fmla="*/ 3581641 w 5737987"/>
                <a:gd name="connsiteY32" fmla="*/ 3466531 h 4001900"/>
                <a:gd name="connsiteX33" fmla="*/ 2766429 w 5737987"/>
                <a:gd name="connsiteY33" fmla="*/ 3328134 h 4001900"/>
                <a:gd name="connsiteX34" fmla="*/ 2607412 w 5737987"/>
                <a:gd name="connsiteY34" fmla="*/ 3261967 h 4001900"/>
                <a:gd name="connsiteX35" fmla="*/ 2583451 w 5737987"/>
                <a:gd name="connsiteY35" fmla="*/ 3306221 h 4001900"/>
                <a:gd name="connsiteX36" fmla="*/ 2534138 w 5737987"/>
                <a:gd name="connsiteY36" fmla="*/ 3585868 h 4001900"/>
                <a:gd name="connsiteX37" fmla="*/ 2356458 w 5737987"/>
                <a:gd name="connsiteY37" fmla="*/ 4001899 h 4001900"/>
                <a:gd name="connsiteX38" fmla="*/ 1784417 w 5737987"/>
                <a:gd name="connsiteY38" fmla="*/ 4001899 h 4001900"/>
                <a:gd name="connsiteX39" fmla="*/ 1727125 w 5737987"/>
                <a:gd name="connsiteY39" fmla="*/ 3115295 h 4001900"/>
                <a:gd name="connsiteX40" fmla="*/ 1695627 w 5737987"/>
                <a:gd name="connsiteY40" fmla="*/ 2999002 h 4001900"/>
                <a:gd name="connsiteX41" fmla="*/ 1609540 w 5737987"/>
                <a:gd name="connsiteY41" fmla="*/ 3002510 h 4001900"/>
                <a:gd name="connsiteX42" fmla="*/ 288355 w 5737987"/>
                <a:gd name="connsiteY42" fmla="*/ 2316279 h 4001900"/>
                <a:gd name="connsiteX43" fmla="*/ 285493 w 5737987"/>
                <a:gd name="connsiteY43" fmla="*/ 2285283 h 4001900"/>
                <a:gd name="connsiteX44" fmla="*/ 278152 w 5737987"/>
                <a:gd name="connsiteY44" fmla="*/ 2193378 h 4001900"/>
                <a:gd name="connsiteX45" fmla="*/ 289161 w 5737987"/>
                <a:gd name="connsiteY45" fmla="*/ 2123565 h 4001900"/>
                <a:gd name="connsiteX46" fmla="*/ 295097 w 5737987"/>
                <a:gd name="connsiteY46" fmla="*/ 2080966 h 4001900"/>
                <a:gd name="connsiteX47" fmla="*/ 310962 w 5737987"/>
                <a:gd name="connsiteY47" fmla="*/ 2037364 h 4001900"/>
                <a:gd name="connsiteX48" fmla="*/ 258372 w 5737987"/>
                <a:gd name="connsiteY48" fmla="*/ 2040121 h 4001900"/>
                <a:gd name="connsiteX49" fmla="*/ 6034 w 5737987"/>
                <a:gd name="connsiteY49" fmla="*/ 2060201 h 4001900"/>
                <a:gd name="connsiteX50" fmla="*/ 64909 w 5737987"/>
                <a:gd name="connsiteY50" fmla="*/ 1595976 h 4001900"/>
                <a:gd name="connsiteX51" fmla="*/ 111233 w 5737987"/>
                <a:gd name="connsiteY51" fmla="*/ 1596532 h 4001900"/>
                <a:gd name="connsiteX52" fmla="*/ 338006 w 5737987"/>
                <a:gd name="connsiteY52" fmla="*/ 1613096 h 4001900"/>
                <a:gd name="connsiteX53" fmla="*/ 404243 w 5737987"/>
                <a:gd name="connsiteY53" fmla="*/ 1620294 h 4001900"/>
                <a:gd name="connsiteX54" fmla="*/ 431449 w 5737987"/>
                <a:gd name="connsiteY54" fmla="*/ 1540746 h 4001900"/>
                <a:gd name="connsiteX55" fmla="*/ 1094393 w 5737987"/>
                <a:gd name="connsiteY55" fmla="*/ 832819 h 4001900"/>
                <a:gd name="connsiteX56" fmla="*/ 1180081 w 5737987"/>
                <a:gd name="connsiteY56" fmla="*/ 795124 h 4001900"/>
                <a:gd name="connsiteX57" fmla="*/ 1173779 w 5737987"/>
                <a:gd name="connsiteY57" fmla="*/ 739279 h 4001900"/>
                <a:gd name="connsiteX58" fmla="*/ 947446 w 5737987"/>
                <a:gd name="connsiteY58" fmla="*/ 311290 h 4001900"/>
                <a:gd name="connsiteX59" fmla="*/ 1468258 w 5737987"/>
                <a:gd name="connsiteY59" fmla="*/ 700904 h 4001900"/>
                <a:gd name="connsiteX60" fmla="*/ 1468123 w 5737987"/>
                <a:gd name="connsiteY60" fmla="*/ 717422 h 4001900"/>
                <a:gd name="connsiteX61" fmla="*/ 1514173 w 5737987"/>
                <a:gd name="connsiteY61" fmla="*/ 716384 h 4001900"/>
                <a:gd name="connsiteX62" fmla="*/ 1719608 w 5737987"/>
                <a:gd name="connsiteY62" fmla="*/ 724702 h 4001900"/>
                <a:gd name="connsiteX63" fmla="*/ 1745520 w 5737987"/>
                <a:gd name="connsiteY63" fmla="*/ 732866 h 4001900"/>
                <a:gd name="connsiteX64" fmla="*/ 1753370 w 5737987"/>
                <a:gd name="connsiteY64" fmla="*/ 724363 h 4001900"/>
                <a:gd name="connsiteX65" fmla="*/ 1764689 w 5737987"/>
                <a:gd name="connsiteY65" fmla="*/ 730288 h 4001900"/>
                <a:gd name="connsiteX66" fmla="*/ 2265157 w 5737987"/>
                <a:gd name="connsiteY66" fmla="*/ 1099661 h 4001900"/>
                <a:gd name="connsiteX67" fmla="*/ 1933327 w 5737987"/>
                <a:gd name="connsiteY67" fmla="*/ 643362 h 4001900"/>
                <a:gd name="connsiteX68" fmla="*/ 1881472 w 5737987"/>
                <a:gd name="connsiteY68" fmla="*/ 610519 h 4001900"/>
                <a:gd name="connsiteX69" fmla="*/ 1906213 w 5737987"/>
                <a:gd name="connsiteY69" fmla="*/ 588560 h 4001900"/>
                <a:gd name="connsiteX70" fmla="*/ 3554345 w 5737987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37370 w 5687002"/>
                <a:gd name="connsiteY42" fmla="*/ 2316279 h 4001900"/>
                <a:gd name="connsiteX43" fmla="*/ 234508 w 5687002"/>
                <a:gd name="connsiteY43" fmla="*/ 2285283 h 4001900"/>
                <a:gd name="connsiteX44" fmla="*/ 227167 w 5687002"/>
                <a:gd name="connsiteY44" fmla="*/ 2193378 h 4001900"/>
                <a:gd name="connsiteX45" fmla="*/ 238176 w 5687002"/>
                <a:gd name="connsiteY45" fmla="*/ 2123565 h 4001900"/>
                <a:gd name="connsiteX46" fmla="*/ 244112 w 5687002"/>
                <a:gd name="connsiteY46" fmla="*/ 2080966 h 4001900"/>
                <a:gd name="connsiteX47" fmla="*/ 259977 w 5687002"/>
                <a:gd name="connsiteY47" fmla="*/ 2037364 h 4001900"/>
                <a:gd name="connsiteX48" fmla="*/ 207387 w 5687002"/>
                <a:gd name="connsiteY48" fmla="*/ 2040121 h 4001900"/>
                <a:gd name="connsiteX49" fmla="*/ 19813 w 5687002"/>
                <a:gd name="connsiteY49" fmla="*/ 2054313 h 4001900"/>
                <a:gd name="connsiteX50" fmla="*/ 13924 w 5687002"/>
                <a:gd name="connsiteY50" fmla="*/ 1595976 h 4001900"/>
                <a:gd name="connsiteX51" fmla="*/ 60248 w 5687002"/>
                <a:gd name="connsiteY51" fmla="*/ 1596532 h 4001900"/>
                <a:gd name="connsiteX52" fmla="*/ 287021 w 5687002"/>
                <a:gd name="connsiteY52" fmla="*/ 1613096 h 4001900"/>
                <a:gd name="connsiteX53" fmla="*/ 353258 w 5687002"/>
                <a:gd name="connsiteY53" fmla="*/ 1620294 h 4001900"/>
                <a:gd name="connsiteX54" fmla="*/ 380464 w 5687002"/>
                <a:gd name="connsiteY54" fmla="*/ 1540746 h 4001900"/>
                <a:gd name="connsiteX55" fmla="*/ 1043408 w 5687002"/>
                <a:gd name="connsiteY55" fmla="*/ 832819 h 4001900"/>
                <a:gd name="connsiteX56" fmla="*/ 1129096 w 5687002"/>
                <a:gd name="connsiteY56" fmla="*/ 795124 h 4001900"/>
                <a:gd name="connsiteX57" fmla="*/ 1122794 w 5687002"/>
                <a:gd name="connsiteY57" fmla="*/ 739279 h 4001900"/>
                <a:gd name="connsiteX58" fmla="*/ 896461 w 5687002"/>
                <a:gd name="connsiteY58" fmla="*/ 311290 h 4001900"/>
                <a:gd name="connsiteX59" fmla="*/ 1417273 w 5687002"/>
                <a:gd name="connsiteY59" fmla="*/ 700904 h 4001900"/>
                <a:gd name="connsiteX60" fmla="*/ 1417138 w 5687002"/>
                <a:gd name="connsiteY60" fmla="*/ 717422 h 4001900"/>
                <a:gd name="connsiteX61" fmla="*/ 1463188 w 5687002"/>
                <a:gd name="connsiteY61" fmla="*/ 716384 h 4001900"/>
                <a:gd name="connsiteX62" fmla="*/ 1668623 w 5687002"/>
                <a:gd name="connsiteY62" fmla="*/ 724702 h 4001900"/>
                <a:gd name="connsiteX63" fmla="*/ 1694535 w 5687002"/>
                <a:gd name="connsiteY63" fmla="*/ 732866 h 4001900"/>
                <a:gd name="connsiteX64" fmla="*/ 1702385 w 5687002"/>
                <a:gd name="connsiteY64" fmla="*/ 724363 h 4001900"/>
                <a:gd name="connsiteX65" fmla="*/ 1713704 w 5687002"/>
                <a:gd name="connsiteY65" fmla="*/ 730288 h 4001900"/>
                <a:gd name="connsiteX66" fmla="*/ 2214172 w 5687002"/>
                <a:gd name="connsiteY66" fmla="*/ 1099661 h 4001900"/>
                <a:gd name="connsiteX67" fmla="*/ 1882342 w 5687002"/>
                <a:gd name="connsiteY67" fmla="*/ 643362 h 4001900"/>
                <a:gd name="connsiteX68" fmla="*/ 1830487 w 5687002"/>
                <a:gd name="connsiteY68" fmla="*/ 610519 h 4001900"/>
                <a:gd name="connsiteX69" fmla="*/ 1855228 w 5687002"/>
                <a:gd name="connsiteY69" fmla="*/ 588560 h 4001900"/>
                <a:gd name="connsiteX70" fmla="*/ 3503360 w 5687002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4508 w 5687002"/>
                <a:gd name="connsiteY43" fmla="*/ 2285283 h 4001900"/>
                <a:gd name="connsiteX44" fmla="*/ 227167 w 5687002"/>
                <a:gd name="connsiteY44" fmla="*/ 2193378 h 4001900"/>
                <a:gd name="connsiteX45" fmla="*/ 238176 w 5687002"/>
                <a:gd name="connsiteY45" fmla="*/ 2123565 h 4001900"/>
                <a:gd name="connsiteX46" fmla="*/ 244112 w 5687002"/>
                <a:gd name="connsiteY46" fmla="*/ 2080966 h 4001900"/>
                <a:gd name="connsiteX47" fmla="*/ 259977 w 5687002"/>
                <a:gd name="connsiteY47" fmla="*/ 2037364 h 4001900"/>
                <a:gd name="connsiteX48" fmla="*/ 207387 w 5687002"/>
                <a:gd name="connsiteY48" fmla="*/ 2040121 h 4001900"/>
                <a:gd name="connsiteX49" fmla="*/ 19813 w 5687002"/>
                <a:gd name="connsiteY49" fmla="*/ 2054313 h 4001900"/>
                <a:gd name="connsiteX50" fmla="*/ 13924 w 5687002"/>
                <a:gd name="connsiteY50" fmla="*/ 1595976 h 4001900"/>
                <a:gd name="connsiteX51" fmla="*/ 60248 w 5687002"/>
                <a:gd name="connsiteY51" fmla="*/ 1596532 h 4001900"/>
                <a:gd name="connsiteX52" fmla="*/ 287021 w 5687002"/>
                <a:gd name="connsiteY52" fmla="*/ 1613096 h 4001900"/>
                <a:gd name="connsiteX53" fmla="*/ 353258 w 5687002"/>
                <a:gd name="connsiteY53" fmla="*/ 1620294 h 4001900"/>
                <a:gd name="connsiteX54" fmla="*/ 380464 w 5687002"/>
                <a:gd name="connsiteY54" fmla="*/ 1540746 h 4001900"/>
                <a:gd name="connsiteX55" fmla="*/ 1043408 w 5687002"/>
                <a:gd name="connsiteY55" fmla="*/ 832819 h 4001900"/>
                <a:gd name="connsiteX56" fmla="*/ 1129096 w 5687002"/>
                <a:gd name="connsiteY56" fmla="*/ 795124 h 4001900"/>
                <a:gd name="connsiteX57" fmla="*/ 1122794 w 5687002"/>
                <a:gd name="connsiteY57" fmla="*/ 739279 h 4001900"/>
                <a:gd name="connsiteX58" fmla="*/ 896461 w 5687002"/>
                <a:gd name="connsiteY58" fmla="*/ 311290 h 4001900"/>
                <a:gd name="connsiteX59" fmla="*/ 1417273 w 5687002"/>
                <a:gd name="connsiteY59" fmla="*/ 700904 h 4001900"/>
                <a:gd name="connsiteX60" fmla="*/ 1417138 w 5687002"/>
                <a:gd name="connsiteY60" fmla="*/ 717422 h 4001900"/>
                <a:gd name="connsiteX61" fmla="*/ 1463188 w 5687002"/>
                <a:gd name="connsiteY61" fmla="*/ 716384 h 4001900"/>
                <a:gd name="connsiteX62" fmla="*/ 1668623 w 5687002"/>
                <a:gd name="connsiteY62" fmla="*/ 724702 h 4001900"/>
                <a:gd name="connsiteX63" fmla="*/ 1694535 w 5687002"/>
                <a:gd name="connsiteY63" fmla="*/ 732866 h 4001900"/>
                <a:gd name="connsiteX64" fmla="*/ 1702385 w 5687002"/>
                <a:gd name="connsiteY64" fmla="*/ 724363 h 4001900"/>
                <a:gd name="connsiteX65" fmla="*/ 1713704 w 5687002"/>
                <a:gd name="connsiteY65" fmla="*/ 730288 h 4001900"/>
                <a:gd name="connsiteX66" fmla="*/ 2214172 w 5687002"/>
                <a:gd name="connsiteY66" fmla="*/ 1099661 h 4001900"/>
                <a:gd name="connsiteX67" fmla="*/ 1882342 w 5687002"/>
                <a:gd name="connsiteY67" fmla="*/ 643362 h 4001900"/>
                <a:gd name="connsiteX68" fmla="*/ 1830487 w 5687002"/>
                <a:gd name="connsiteY68" fmla="*/ 610519 h 4001900"/>
                <a:gd name="connsiteX69" fmla="*/ 1855228 w 5687002"/>
                <a:gd name="connsiteY69" fmla="*/ 588560 h 4001900"/>
                <a:gd name="connsiteX70" fmla="*/ 3503360 w 5687002"/>
                <a:gd name="connsiteY70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4508 w 5687002"/>
                <a:gd name="connsiteY43" fmla="*/ 2285283 h 4001900"/>
                <a:gd name="connsiteX44" fmla="*/ 238176 w 5687002"/>
                <a:gd name="connsiteY44" fmla="*/ 2123565 h 4001900"/>
                <a:gd name="connsiteX45" fmla="*/ 244112 w 5687002"/>
                <a:gd name="connsiteY45" fmla="*/ 2080966 h 4001900"/>
                <a:gd name="connsiteX46" fmla="*/ 259977 w 5687002"/>
                <a:gd name="connsiteY46" fmla="*/ 2037364 h 4001900"/>
                <a:gd name="connsiteX47" fmla="*/ 207387 w 5687002"/>
                <a:gd name="connsiteY47" fmla="*/ 2040121 h 4001900"/>
                <a:gd name="connsiteX48" fmla="*/ 19813 w 5687002"/>
                <a:gd name="connsiteY48" fmla="*/ 2054313 h 4001900"/>
                <a:gd name="connsiteX49" fmla="*/ 13924 w 5687002"/>
                <a:gd name="connsiteY49" fmla="*/ 1595976 h 4001900"/>
                <a:gd name="connsiteX50" fmla="*/ 60248 w 5687002"/>
                <a:gd name="connsiteY50" fmla="*/ 1596532 h 4001900"/>
                <a:gd name="connsiteX51" fmla="*/ 287021 w 5687002"/>
                <a:gd name="connsiteY51" fmla="*/ 1613096 h 4001900"/>
                <a:gd name="connsiteX52" fmla="*/ 353258 w 5687002"/>
                <a:gd name="connsiteY52" fmla="*/ 1620294 h 4001900"/>
                <a:gd name="connsiteX53" fmla="*/ 380464 w 5687002"/>
                <a:gd name="connsiteY53" fmla="*/ 1540746 h 4001900"/>
                <a:gd name="connsiteX54" fmla="*/ 1043408 w 5687002"/>
                <a:gd name="connsiteY54" fmla="*/ 832819 h 4001900"/>
                <a:gd name="connsiteX55" fmla="*/ 1129096 w 5687002"/>
                <a:gd name="connsiteY55" fmla="*/ 795124 h 4001900"/>
                <a:gd name="connsiteX56" fmla="*/ 1122794 w 5687002"/>
                <a:gd name="connsiteY56" fmla="*/ 739279 h 4001900"/>
                <a:gd name="connsiteX57" fmla="*/ 896461 w 5687002"/>
                <a:gd name="connsiteY57" fmla="*/ 311290 h 4001900"/>
                <a:gd name="connsiteX58" fmla="*/ 1417273 w 5687002"/>
                <a:gd name="connsiteY58" fmla="*/ 700904 h 4001900"/>
                <a:gd name="connsiteX59" fmla="*/ 1417138 w 5687002"/>
                <a:gd name="connsiteY59" fmla="*/ 717422 h 4001900"/>
                <a:gd name="connsiteX60" fmla="*/ 1463188 w 5687002"/>
                <a:gd name="connsiteY60" fmla="*/ 716384 h 4001900"/>
                <a:gd name="connsiteX61" fmla="*/ 1668623 w 5687002"/>
                <a:gd name="connsiteY61" fmla="*/ 724702 h 4001900"/>
                <a:gd name="connsiteX62" fmla="*/ 1694535 w 5687002"/>
                <a:gd name="connsiteY62" fmla="*/ 732866 h 4001900"/>
                <a:gd name="connsiteX63" fmla="*/ 1702385 w 5687002"/>
                <a:gd name="connsiteY63" fmla="*/ 724363 h 4001900"/>
                <a:gd name="connsiteX64" fmla="*/ 1713704 w 5687002"/>
                <a:gd name="connsiteY64" fmla="*/ 730288 h 4001900"/>
                <a:gd name="connsiteX65" fmla="*/ 2214172 w 5687002"/>
                <a:gd name="connsiteY65" fmla="*/ 1099661 h 4001900"/>
                <a:gd name="connsiteX66" fmla="*/ 1882342 w 5687002"/>
                <a:gd name="connsiteY66" fmla="*/ 643362 h 4001900"/>
                <a:gd name="connsiteX67" fmla="*/ 1830487 w 5687002"/>
                <a:gd name="connsiteY67" fmla="*/ 610519 h 4001900"/>
                <a:gd name="connsiteX68" fmla="*/ 1855228 w 5687002"/>
                <a:gd name="connsiteY68" fmla="*/ 588560 h 4001900"/>
                <a:gd name="connsiteX69" fmla="*/ 3503360 w 5687002"/>
                <a:gd name="connsiteY69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8176 w 5687002"/>
                <a:gd name="connsiteY43" fmla="*/ 2123565 h 4001900"/>
                <a:gd name="connsiteX44" fmla="*/ 244112 w 5687002"/>
                <a:gd name="connsiteY44" fmla="*/ 2080966 h 4001900"/>
                <a:gd name="connsiteX45" fmla="*/ 259977 w 5687002"/>
                <a:gd name="connsiteY45" fmla="*/ 2037364 h 4001900"/>
                <a:gd name="connsiteX46" fmla="*/ 207387 w 5687002"/>
                <a:gd name="connsiteY46" fmla="*/ 2040121 h 4001900"/>
                <a:gd name="connsiteX47" fmla="*/ 19813 w 5687002"/>
                <a:gd name="connsiteY47" fmla="*/ 2054313 h 4001900"/>
                <a:gd name="connsiteX48" fmla="*/ 13924 w 5687002"/>
                <a:gd name="connsiteY48" fmla="*/ 1595976 h 4001900"/>
                <a:gd name="connsiteX49" fmla="*/ 60248 w 5687002"/>
                <a:gd name="connsiteY49" fmla="*/ 1596532 h 4001900"/>
                <a:gd name="connsiteX50" fmla="*/ 287021 w 5687002"/>
                <a:gd name="connsiteY50" fmla="*/ 1613096 h 4001900"/>
                <a:gd name="connsiteX51" fmla="*/ 353258 w 5687002"/>
                <a:gd name="connsiteY51" fmla="*/ 1620294 h 4001900"/>
                <a:gd name="connsiteX52" fmla="*/ 380464 w 5687002"/>
                <a:gd name="connsiteY52" fmla="*/ 1540746 h 4001900"/>
                <a:gd name="connsiteX53" fmla="*/ 1043408 w 5687002"/>
                <a:gd name="connsiteY53" fmla="*/ 832819 h 4001900"/>
                <a:gd name="connsiteX54" fmla="*/ 1129096 w 5687002"/>
                <a:gd name="connsiteY54" fmla="*/ 795124 h 4001900"/>
                <a:gd name="connsiteX55" fmla="*/ 1122794 w 5687002"/>
                <a:gd name="connsiteY55" fmla="*/ 739279 h 4001900"/>
                <a:gd name="connsiteX56" fmla="*/ 896461 w 5687002"/>
                <a:gd name="connsiteY56" fmla="*/ 311290 h 4001900"/>
                <a:gd name="connsiteX57" fmla="*/ 1417273 w 5687002"/>
                <a:gd name="connsiteY57" fmla="*/ 700904 h 4001900"/>
                <a:gd name="connsiteX58" fmla="*/ 1417138 w 5687002"/>
                <a:gd name="connsiteY58" fmla="*/ 717422 h 4001900"/>
                <a:gd name="connsiteX59" fmla="*/ 1463188 w 5687002"/>
                <a:gd name="connsiteY59" fmla="*/ 716384 h 4001900"/>
                <a:gd name="connsiteX60" fmla="*/ 1668623 w 5687002"/>
                <a:gd name="connsiteY60" fmla="*/ 724702 h 4001900"/>
                <a:gd name="connsiteX61" fmla="*/ 1694535 w 5687002"/>
                <a:gd name="connsiteY61" fmla="*/ 732866 h 4001900"/>
                <a:gd name="connsiteX62" fmla="*/ 1702385 w 5687002"/>
                <a:gd name="connsiteY62" fmla="*/ 724363 h 4001900"/>
                <a:gd name="connsiteX63" fmla="*/ 1713704 w 5687002"/>
                <a:gd name="connsiteY63" fmla="*/ 730288 h 4001900"/>
                <a:gd name="connsiteX64" fmla="*/ 2214172 w 5687002"/>
                <a:gd name="connsiteY64" fmla="*/ 1099661 h 4001900"/>
                <a:gd name="connsiteX65" fmla="*/ 1882342 w 5687002"/>
                <a:gd name="connsiteY65" fmla="*/ 643362 h 4001900"/>
                <a:gd name="connsiteX66" fmla="*/ 1830487 w 5687002"/>
                <a:gd name="connsiteY66" fmla="*/ 610519 h 4001900"/>
                <a:gd name="connsiteX67" fmla="*/ 1855228 w 5687002"/>
                <a:gd name="connsiteY67" fmla="*/ 588560 h 4001900"/>
                <a:gd name="connsiteX68" fmla="*/ 3503360 w 5687002"/>
                <a:gd name="connsiteY68" fmla="*/ 0 h 4001900"/>
                <a:gd name="connsiteX0" fmla="*/ 1990677 w 5687002"/>
                <a:gd name="connsiteY0" fmla="*/ 2881727 h 4001900"/>
                <a:gd name="connsiteX1" fmla="*/ 1975331 w 5687002"/>
                <a:gd name="connsiteY1" fmla="*/ 2890254 h 4001900"/>
                <a:gd name="connsiteX2" fmla="*/ 1994725 w 5687002"/>
                <a:gd name="connsiteY2" fmla="*/ 2885391 h 4001900"/>
                <a:gd name="connsiteX3" fmla="*/ 1990677 w 5687002"/>
                <a:gd name="connsiteY3" fmla="*/ 2881727 h 4001900"/>
                <a:gd name="connsiteX4" fmla="*/ 952120 w 5687002"/>
                <a:gd name="connsiteY4" fmla="*/ 1281349 h 4001900"/>
                <a:gd name="connsiteX5" fmla="*/ 844777 w 5687002"/>
                <a:gd name="connsiteY5" fmla="*/ 1468205 h 4001900"/>
                <a:gd name="connsiteX6" fmla="*/ 952120 w 5687002"/>
                <a:gd name="connsiteY6" fmla="*/ 1655061 h 4001900"/>
                <a:gd name="connsiteX7" fmla="*/ 1059463 w 5687002"/>
                <a:gd name="connsiteY7" fmla="*/ 1468205 h 4001900"/>
                <a:gd name="connsiteX8" fmla="*/ 952120 w 5687002"/>
                <a:gd name="connsiteY8" fmla="*/ 1281349 h 4001900"/>
                <a:gd name="connsiteX9" fmla="*/ 3528995 w 5687002"/>
                <a:gd name="connsiteY9" fmla="*/ 402681 h 4001900"/>
                <a:gd name="connsiteX10" fmla="*/ 2622242 w 5687002"/>
                <a:gd name="connsiteY10" fmla="*/ 743140 h 4001900"/>
                <a:gd name="connsiteX11" fmla="*/ 3524257 w 5687002"/>
                <a:gd name="connsiteY11" fmla="*/ 567175 h 4001900"/>
                <a:gd name="connsiteX12" fmla="*/ 4483126 w 5687002"/>
                <a:gd name="connsiteY12" fmla="*/ 714713 h 4001900"/>
                <a:gd name="connsiteX13" fmla="*/ 3528995 w 5687002"/>
                <a:gd name="connsiteY13" fmla="*/ 402681 h 4001900"/>
                <a:gd name="connsiteX14" fmla="*/ 3503360 w 5687002"/>
                <a:gd name="connsiteY14" fmla="*/ 0 h 4001900"/>
                <a:gd name="connsiteX15" fmla="*/ 5687002 w 5687002"/>
                <a:gd name="connsiteY15" fmla="*/ 1815152 h 4001900"/>
                <a:gd name="connsiteX16" fmla="*/ 5519666 w 5687002"/>
                <a:gd name="connsiteY16" fmla="*/ 2496102 h 4001900"/>
                <a:gd name="connsiteX17" fmla="*/ 5495942 w 5687002"/>
                <a:gd name="connsiteY17" fmla="*/ 2534708 h 4001900"/>
                <a:gd name="connsiteX18" fmla="*/ 5522519 w 5687002"/>
                <a:gd name="connsiteY18" fmla="*/ 2515459 h 4001900"/>
                <a:gd name="connsiteX19" fmla="*/ 5439923 w 5687002"/>
                <a:gd name="connsiteY19" fmla="*/ 2625869 h 4001900"/>
                <a:gd name="connsiteX20" fmla="*/ 5429779 w 5687002"/>
                <a:gd name="connsiteY20" fmla="*/ 2642377 h 4001900"/>
                <a:gd name="connsiteX21" fmla="*/ 5397719 w 5687002"/>
                <a:gd name="connsiteY21" fmla="*/ 2683046 h 4001900"/>
                <a:gd name="connsiteX22" fmla="*/ 5344349 w 5687002"/>
                <a:gd name="connsiteY22" fmla="*/ 2755748 h 4001900"/>
                <a:gd name="connsiteX23" fmla="*/ 4941810 w 5687002"/>
                <a:gd name="connsiteY23" fmla="*/ 3685544 h 4001900"/>
                <a:gd name="connsiteX24" fmla="*/ 4907141 w 5687002"/>
                <a:gd name="connsiteY24" fmla="*/ 4001900 h 4001900"/>
                <a:gd name="connsiteX25" fmla="*/ 4218091 w 5687002"/>
                <a:gd name="connsiteY25" fmla="*/ 4001900 h 4001900"/>
                <a:gd name="connsiteX26" fmla="*/ 4218091 w 5687002"/>
                <a:gd name="connsiteY26" fmla="*/ 3500305 h 4001900"/>
                <a:gd name="connsiteX27" fmla="*/ 4229138 w 5687002"/>
                <a:gd name="connsiteY27" fmla="*/ 3490055 h 4001900"/>
                <a:gd name="connsiteX28" fmla="*/ 4882407 w 5687002"/>
                <a:gd name="connsiteY28" fmla="*/ 2550105 h 4001900"/>
                <a:gd name="connsiteX29" fmla="*/ 4083323 w 5687002"/>
                <a:gd name="connsiteY29" fmla="*/ 3385681 h 4001900"/>
                <a:gd name="connsiteX30" fmla="*/ 3994604 w 5687002"/>
                <a:gd name="connsiteY30" fmla="*/ 3432467 h 4001900"/>
                <a:gd name="connsiteX31" fmla="*/ 3862529 w 5687002"/>
                <a:gd name="connsiteY31" fmla="*/ 3449665 h 4001900"/>
                <a:gd name="connsiteX32" fmla="*/ 3530656 w 5687002"/>
                <a:gd name="connsiteY32" fmla="*/ 3466531 h 4001900"/>
                <a:gd name="connsiteX33" fmla="*/ 2715444 w 5687002"/>
                <a:gd name="connsiteY33" fmla="*/ 3328134 h 4001900"/>
                <a:gd name="connsiteX34" fmla="*/ 2556427 w 5687002"/>
                <a:gd name="connsiteY34" fmla="*/ 3261967 h 4001900"/>
                <a:gd name="connsiteX35" fmla="*/ 2532466 w 5687002"/>
                <a:gd name="connsiteY35" fmla="*/ 3306221 h 4001900"/>
                <a:gd name="connsiteX36" fmla="*/ 2483153 w 5687002"/>
                <a:gd name="connsiteY36" fmla="*/ 3585868 h 4001900"/>
                <a:gd name="connsiteX37" fmla="*/ 2305473 w 5687002"/>
                <a:gd name="connsiteY37" fmla="*/ 4001899 h 4001900"/>
                <a:gd name="connsiteX38" fmla="*/ 1733432 w 5687002"/>
                <a:gd name="connsiteY38" fmla="*/ 4001899 h 4001900"/>
                <a:gd name="connsiteX39" fmla="*/ 1676140 w 5687002"/>
                <a:gd name="connsiteY39" fmla="*/ 3115295 h 4001900"/>
                <a:gd name="connsiteX40" fmla="*/ 1644642 w 5687002"/>
                <a:gd name="connsiteY40" fmla="*/ 2999002 h 4001900"/>
                <a:gd name="connsiteX41" fmla="*/ 1558555 w 5687002"/>
                <a:gd name="connsiteY41" fmla="*/ 3002510 h 4001900"/>
                <a:gd name="connsiteX42" fmla="*/ 266808 w 5687002"/>
                <a:gd name="connsiteY42" fmla="*/ 2316279 h 4001900"/>
                <a:gd name="connsiteX43" fmla="*/ 238176 w 5687002"/>
                <a:gd name="connsiteY43" fmla="*/ 2123565 h 4001900"/>
                <a:gd name="connsiteX44" fmla="*/ 259977 w 5687002"/>
                <a:gd name="connsiteY44" fmla="*/ 2037364 h 4001900"/>
                <a:gd name="connsiteX45" fmla="*/ 207387 w 5687002"/>
                <a:gd name="connsiteY45" fmla="*/ 2040121 h 4001900"/>
                <a:gd name="connsiteX46" fmla="*/ 19813 w 5687002"/>
                <a:gd name="connsiteY46" fmla="*/ 2054313 h 4001900"/>
                <a:gd name="connsiteX47" fmla="*/ 13924 w 5687002"/>
                <a:gd name="connsiteY47" fmla="*/ 1595976 h 4001900"/>
                <a:gd name="connsiteX48" fmla="*/ 60248 w 5687002"/>
                <a:gd name="connsiteY48" fmla="*/ 1596532 h 4001900"/>
                <a:gd name="connsiteX49" fmla="*/ 287021 w 5687002"/>
                <a:gd name="connsiteY49" fmla="*/ 1613096 h 4001900"/>
                <a:gd name="connsiteX50" fmla="*/ 353258 w 5687002"/>
                <a:gd name="connsiteY50" fmla="*/ 1620294 h 4001900"/>
                <a:gd name="connsiteX51" fmla="*/ 380464 w 5687002"/>
                <a:gd name="connsiteY51" fmla="*/ 1540746 h 4001900"/>
                <a:gd name="connsiteX52" fmla="*/ 1043408 w 5687002"/>
                <a:gd name="connsiteY52" fmla="*/ 832819 h 4001900"/>
                <a:gd name="connsiteX53" fmla="*/ 1129096 w 5687002"/>
                <a:gd name="connsiteY53" fmla="*/ 795124 h 4001900"/>
                <a:gd name="connsiteX54" fmla="*/ 1122794 w 5687002"/>
                <a:gd name="connsiteY54" fmla="*/ 739279 h 4001900"/>
                <a:gd name="connsiteX55" fmla="*/ 896461 w 5687002"/>
                <a:gd name="connsiteY55" fmla="*/ 311290 h 4001900"/>
                <a:gd name="connsiteX56" fmla="*/ 1417273 w 5687002"/>
                <a:gd name="connsiteY56" fmla="*/ 700904 h 4001900"/>
                <a:gd name="connsiteX57" fmla="*/ 1417138 w 5687002"/>
                <a:gd name="connsiteY57" fmla="*/ 717422 h 4001900"/>
                <a:gd name="connsiteX58" fmla="*/ 1463188 w 5687002"/>
                <a:gd name="connsiteY58" fmla="*/ 716384 h 4001900"/>
                <a:gd name="connsiteX59" fmla="*/ 1668623 w 5687002"/>
                <a:gd name="connsiteY59" fmla="*/ 724702 h 4001900"/>
                <a:gd name="connsiteX60" fmla="*/ 1694535 w 5687002"/>
                <a:gd name="connsiteY60" fmla="*/ 732866 h 4001900"/>
                <a:gd name="connsiteX61" fmla="*/ 1702385 w 5687002"/>
                <a:gd name="connsiteY61" fmla="*/ 724363 h 4001900"/>
                <a:gd name="connsiteX62" fmla="*/ 1713704 w 5687002"/>
                <a:gd name="connsiteY62" fmla="*/ 730288 h 4001900"/>
                <a:gd name="connsiteX63" fmla="*/ 2214172 w 5687002"/>
                <a:gd name="connsiteY63" fmla="*/ 1099661 h 4001900"/>
                <a:gd name="connsiteX64" fmla="*/ 1882342 w 5687002"/>
                <a:gd name="connsiteY64" fmla="*/ 643362 h 4001900"/>
                <a:gd name="connsiteX65" fmla="*/ 1830487 w 5687002"/>
                <a:gd name="connsiteY65" fmla="*/ 610519 h 4001900"/>
                <a:gd name="connsiteX66" fmla="*/ 1855228 w 5687002"/>
                <a:gd name="connsiteY66" fmla="*/ 588560 h 4001900"/>
                <a:gd name="connsiteX67" fmla="*/ 3503360 w 5687002"/>
                <a:gd name="connsiteY67" fmla="*/ 0 h 400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687002" h="4001900">
                  <a:moveTo>
                    <a:pt x="1990677" y="2881727"/>
                  </a:moveTo>
                  <a:lnTo>
                    <a:pt x="1975331" y="2890254"/>
                  </a:lnTo>
                  <a:lnTo>
                    <a:pt x="1994725" y="2885391"/>
                  </a:lnTo>
                  <a:lnTo>
                    <a:pt x="1990677" y="2881727"/>
                  </a:lnTo>
                  <a:close/>
                  <a:moveTo>
                    <a:pt x="952120" y="1281349"/>
                  </a:moveTo>
                  <a:cubicBezTo>
                    <a:pt x="892836" y="1281349"/>
                    <a:pt x="844777" y="1365007"/>
                    <a:pt x="844777" y="1468205"/>
                  </a:cubicBezTo>
                  <a:cubicBezTo>
                    <a:pt x="844777" y="1571403"/>
                    <a:pt x="892836" y="1655061"/>
                    <a:pt x="952120" y="1655061"/>
                  </a:cubicBezTo>
                  <a:cubicBezTo>
                    <a:pt x="1011404" y="1655061"/>
                    <a:pt x="1059463" y="1571403"/>
                    <a:pt x="1059463" y="1468205"/>
                  </a:cubicBezTo>
                  <a:cubicBezTo>
                    <a:pt x="1059463" y="1365007"/>
                    <a:pt x="1011404" y="1281349"/>
                    <a:pt x="952120" y="1281349"/>
                  </a:cubicBezTo>
                  <a:close/>
                  <a:moveTo>
                    <a:pt x="3528995" y="402681"/>
                  </a:moveTo>
                  <a:cubicBezTo>
                    <a:pt x="3000908" y="402682"/>
                    <a:pt x="2547228" y="625706"/>
                    <a:pt x="2622242" y="743140"/>
                  </a:cubicBezTo>
                  <a:cubicBezTo>
                    <a:pt x="2792014" y="860575"/>
                    <a:pt x="2915628" y="557700"/>
                    <a:pt x="3524257" y="567175"/>
                  </a:cubicBezTo>
                  <a:cubicBezTo>
                    <a:pt x="4227644" y="571913"/>
                    <a:pt x="4426272" y="836476"/>
                    <a:pt x="4483126" y="714713"/>
                  </a:cubicBezTo>
                  <a:cubicBezTo>
                    <a:pt x="4539979" y="602426"/>
                    <a:pt x="4123412" y="397943"/>
                    <a:pt x="3528995" y="402681"/>
                  </a:cubicBezTo>
                  <a:close/>
                  <a:moveTo>
                    <a:pt x="3503360" y="0"/>
                  </a:moveTo>
                  <a:cubicBezTo>
                    <a:pt x="4709352" y="0"/>
                    <a:pt x="5687002" y="812671"/>
                    <a:pt x="5687002" y="1815152"/>
                  </a:cubicBezTo>
                  <a:cubicBezTo>
                    <a:pt x="5687002" y="2065772"/>
                    <a:pt x="5627605" y="2294294"/>
                    <a:pt x="5519666" y="2496102"/>
                  </a:cubicBezTo>
                  <a:lnTo>
                    <a:pt x="5495942" y="2534708"/>
                  </a:lnTo>
                  <a:lnTo>
                    <a:pt x="5522519" y="2515459"/>
                  </a:lnTo>
                  <a:lnTo>
                    <a:pt x="5439923" y="2625869"/>
                  </a:lnTo>
                  <a:lnTo>
                    <a:pt x="5429779" y="2642377"/>
                  </a:lnTo>
                  <a:lnTo>
                    <a:pt x="5397719" y="2683046"/>
                  </a:lnTo>
                  <a:lnTo>
                    <a:pt x="5344349" y="2755748"/>
                  </a:lnTo>
                  <a:cubicBezTo>
                    <a:pt x="4981785" y="3255633"/>
                    <a:pt x="4973410" y="3359436"/>
                    <a:pt x="4941810" y="3685544"/>
                  </a:cubicBezTo>
                  <a:lnTo>
                    <a:pt x="4907141" y="4001900"/>
                  </a:lnTo>
                  <a:lnTo>
                    <a:pt x="4218091" y="4001900"/>
                  </a:lnTo>
                  <a:lnTo>
                    <a:pt x="4218091" y="3500305"/>
                  </a:lnTo>
                  <a:lnTo>
                    <a:pt x="4229138" y="3490055"/>
                  </a:lnTo>
                  <a:cubicBezTo>
                    <a:pt x="4898537" y="2998085"/>
                    <a:pt x="4931208" y="2601035"/>
                    <a:pt x="4882407" y="2550105"/>
                  </a:cubicBezTo>
                  <a:cubicBezTo>
                    <a:pt x="4771651" y="2449542"/>
                    <a:pt x="4794373" y="2975425"/>
                    <a:pt x="4083323" y="3385681"/>
                  </a:cubicBezTo>
                  <a:lnTo>
                    <a:pt x="3994604" y="3432467"/>
                  </a:lnTo>
                  <a:lnTo>
                    <a:pt x="3862529" y="3449665"/>
                  </a:lnTo>
                  <a:cubicBezTo>
                    <a:pt x="3754533" y="3460828"/>
                    <a:pt x="3643718" y="3466531"/>
                    <a:pt x="3530656" y="3466531"/>
                  </a:cubicBezTo>
                  <a:cubicBezTo>
                    <a:pt x="3229158" y="3466531"/>
                    <a:pt x="2957570" y="3416490"/>
                    <a:pt x="2715444" y="3328134"/>
                  </a:cubicBezTo>
                  <a:lnTo>
                    <a:pt x="2556427" y="3261967"/>
                  </a:lnTo>
                  <a:lnTo>
                    <a:pt x="2532466" y="3306221"/>
                  </a:lnTo>
                  <a:cubicBezTo>
                    <a:pt x="2502316" y="3376431"/>
                    <a:pt x="2496696" y="3446108"/>
                    <a:pt x="2483153" y="3585868"/>
                  </a:cubicBezTo>
                  <a:lnTo>
                    <a:pt x="2305473" y="4001899"/>
                  </a:lnTo>
                  <a:lnTo>
                    <a:pt x="1733432" y="4001899"/>
                  </a:lnTo>
                  <a:cubicBezTo>
                    <a:pt x="1732168" y="3738991"/>
                    <a:pt x="1750813" y="3439585"/>
                    <a:pt x="1676140" y="3115295"/>
                  </a:cubicBezTo>
                  <a:lnTo>
                    <a:pt x="1644642" y="2999002"/>
                  </a:lnTo>
                  <a:lnTo>
                    <a:pt x="1558555" y="3002510"/>
                  </a:lnTo>
                  <a:cubicBezTo>
                    <a:pt x="1251712" y="2989473"/>
                    <a:pt x="374675" y="2817230"/>
                    <a:pt x="266808" y="2316279"/>
                  </a:cubicBezTo>
                  <a:lnTo>
                    <a:pt x="238176" y="2123565"/>
                  </a:lnTo>
                  <a:lnTo>
                    <a:pt x="259977" y="2037364"/>
                  </a:lnTo>
                  <a:lnTo>
                    <a:pt x="207387" y="2040121"/>
                  </a:lnTo>
                  <a:cubicBezTo>
                    <a:pt x="95702" y="2047681"/>
                    <a:pt x="141359" y="2047301"/>
                    <a:pt x="19813" y="2054313"/>
                  </a:cubicBezTo>
                  <a:cubicBezTo>
                    <a:pt x="-6366" y="1882279"/>
                    <a:pt x="-4776" y="1773619"/>
                    <a:pt x="13924" y="1595976"/>
                  </a:cubicBezTo>
                  <a:cubicBezTo>
                    <a:pt x="36364" y="1595976"/>
                    <a:pt x="37808" y="1596532"/>
                    <a:pt x="60248" y="1596532"/>
                  </a:cubicBezTo>
                  <a:cubicBezTo>
                    <a:pt x="135980" y="1626451"/>
                    <a:pt x="214794" y="1604214"/>
                    <a:pt x="287021" y="1613096"/>
                  </a:cubicBezTo>
                  <a:lnTo>
                    <a:pt x="353258" y="1620294"/>
                  </a:lnTo>
                  <a:lnTo>
                    <a:pt x="380464" y="1540746"/>
                  </a:lnTo>
                  <a:cubicBezTo>
                    <a:pt x="514057" y="1211922"/>
                    <a:pt x="784879" y="967067"/>
                    <a:pt x="1043408" y="832819"/>
                  </a:cubicBezTo>
                  <a:lnTo>
                    <a:pt x="1129096" y="795124"/>
                  </a:lnTo>
                  <a:lnTo>
                    <a:pt x="1122794" y="739279"/>
                  </a:lnTo>
                  <a:cubicBezTo>
                    <a:pt x="1075759" y="566685"/>
                    <a:pt x="854717" y="383184"/>
                    <a:pt x="896461" y="311290"/>
                  </a:cubicBezTo>
                  <a:cubicBezTo>
                    <a:pt x="960072" y="252980"/>
                    <a:pt x="1441127" y="348892"/>
                    <a:pt x="1417273" y="700904"/>
                  </a:cubicBezTo>
                  <a:lnTo>
                    <a:pt x="1417138" y="717422"/>
                  </a:lnTo>
                  <a:lnTo>
                    <a:pt x="1463188" y="716384"/>
                  </a:lnTo>
                  <a:cubicBezTo>
                    <a:pt x="1556703" y="720358"/>
                    <a:pt x="1617147" y="713916"/>
                    <a:pt x="1668623" y="724702"/>
                  </a:cubicBezTo>
                  <a:lnTo>
                    <a:pt x="1694535" y="732866"/>
                  </a:lnTo>
                  <a:lnTo>
                    <a:pt x="1702385" y="724363"/>
                  </a:lnTo>
                  <a:lnTo>
                    <a:pt x="1713704" y="730288"/>
                  </a:lnTo>
                  <a:cubicBezTo>
                    <a:pt x="2073407" y="938958"/>
                    <a:pt x="2153595" y="1208074"/>
                    <a:pt x="2214172" y="1099661"/>
                  </a:cubicBezTo>
                  <a:cubicBezTo>
                    <a:pt x="2237970" y="1050160"/>
                    <a:pt x="2179594" y="846188"/>
                    <a:pt x="1882342" y="643362"/>
                  </a:cubicBezTo>
                  <a:lnTo>
                    <a:pt x="1830487" y="610519"/>
                  </a:lnTo>
                  <a:lnTo>
                    <a:pt x="1855228" y="588560"/>
                  </a:lnTo>
                  <a:cubicBezTo>
                    <a:pt x="2285078" y="241110"/>
                    <a:pt x="2900364" y="0"/>
                    <a:pt x="350336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61522" y="-1846438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304266" y="1175257"/>
            <a:ext cx="792000" cy="792000"/>
            <a:chOff x="1180984" y="-1670104"/>
            <a:chExt cx="792000" cy="792000"/>
          </a:xfrm>
        </p:grpSpPr>
        <p:sp>
          <p:nvSpPr>
            <p:cNvPr id="141" name="Freeform 140"/>
            <p:cNvSpPr/>
            <p:nvPr/>
          </p:nvSpPr>
          <p:spPr>
            <a:xfrm>
              <a:off x="1217035" y="-1580233"/>
              <a:ext cx="719899" cy="612259"/>
            </a:xfrm>
            <a:custGeom>
              <a:avLst/>
              <a:gdLst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349313 w 3735977"/>
                <a:gd name="connsiteY13" fmla="*/ 126244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840892 w 3735977"/>
                <a:gd name="connsiteY16" fmla="*/ 0 h 3177362"/>
                <a:gd name="connsiteX17" fmla="*/ 2791601 w 3735977"/>
                <a:gd name="connsiteY17" fmla="*/ 0 h 3177362"/>
                <a:gd name="connsiteX18" fmla="*/ 3516593 w 3735977"/>
                <a:gd name="connsiteY18" fmla="*/ 1099462 h 3177362"/>
                <a:gd name="connsiteX19" fmla="*/ 3574622 w 3735977"/>
                <a:gd name="connsiteY19" fmla="*/ 1273078 h 3177362"/>
                <a:gd name="connsiteX20" fmla="*/ 3597686 w 3735977"/>
                <a:gd name="connsiteY20" fmla="*/ 1280238 h 3177362"/>
                <a:gd name="connsiteX21" fmla="*/ 3735977 w 3735977"/>
                <a:gd name="connsiteY21" fmla="*/ 1488871 h 3177362"/>
                <a:gd name="connsiteX22" fmla="*/ 3735977 w 3735977"/>
                <a:gd name="connsiteY22" fmla="*/ 2394554 h 3177362"/>
                <a:gd name="connsiteX23" fmla="*/ 3509550 w 3735977"/>
                <a:gd name="connsiteY23" fmla="*/ 2620981 h 3177362"/>
                <a:gd name="connsiteX24" fmla="*/ 3471295 w 3735977"/>
                <a:gd name="connsiteY24" fmla="*/ 2620981 h 3177362"/>
                <a:gd name="connsiteX25" fmla="*/ 3471295 w 3735977"/>
                <a:gd name="connsiteY25" fmla="*/ 3079389 h 3177362"/>
                <a:gd name="connsiteX26" fmla="*/ 3373322 w 3735977"/>
                <a:gd name="connsiteY26" fmla="*/ 3177362 h 3177362"/>
                <a:gd name="connsiteX27" fmla="*/ 2981439 w 3735977"/>
                <a:gd name="connsiteY27" fmla="*/ 3177362 h 3177362"/>
                <a:gd name="connsiteX28" fmla="*/ 2883466 w 3735977"/>
                <a:gd name="connsiteY28" fmla="*/ 3079389 h 3177362"/>
                <a:gd name="connsiteX29" fmla="*/ 2883466 w 3735977"/>
                <a:gd name="connsiteY29" fmla="*/ 2620981 h 3177362"/>
                <a:gd name="connsiteX30" fmla="*/ 812571 w 3735977"/>
                <a:gd name="connsiteY30" fmla="*/ 2620981 h 3177362"/>
                <a:gd name="connsiteX31" fmla="*/ 812571 w 3735977"/>
                <a:gd name="connsiteY31" fmla="*/ 3079389 h 3177362"/>
                <a:gd name="connsiteX32" fmla="*/ 714598 w 3735977"/>
                <a:gd name="connsiteY32" fmla="*/ 3177362 h 3177362"/>
                <a:gd name="connsiteX33" fmla="*/ 322715 w 3735977"/>
                <a:gd name="connsiteY33" fmla="*/ 3177362 h 3177362"/>
                <a:gd name="connsiteX34" fmla="*/ 224742 w 3735977"/>
                <a:gd name="connsiteY34" fmla="*/ 3079389 h 3177362"/>
                <a:gd name="connsiteX35" fmla="*/ 224742 w 3735977"/>
                <a:gd name="connsiteY35" fmla="*/ 2620811 h 3177362"/>
                <a:gd name="connsiteX36" fmla="*/ 180794 w 3735977"/>
                <a:gd name="connsiteY36" fmla="*/ 2616381 h 3177362"/>
                <a:gd name="connsiteX37" fmla="*/ 0 w 3735977"/>
                <a:gd name="connsiteY37" fmla="*/ 2394554 h 3177362"/>
                <a:gd name="connsiteX38" fmla="*/ 0 w 3735977"/>
                <a:gd name="connsiteY38" fmla="*/ 1488871 h 3177362"/>
                <a:gd name="connsiteX39" fmla="*/ 180794 w 3735977"/>
                <a:gd name="connsiteY39" fmla="*/ 1267044 h 3177362"/>
                <a:gd name="connsiteX40" fmla="*/ 194961 w 3735977"/>
                <a:gd name="connsiteY40" fmla="*/ 1265616 h 3177362"/>
                <a:gd name="connsiteX41" fmla="*/ 250202 w 3735977"/>
                <a:gd name="connsiteY41" fmla="*/ 1120715 h 3177362"/>
                <a:gd name="connsiteX42" fmla="*/ 840892 w 3735977"/>
                <a:gd name="connsiteY42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2739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356578 w 3735977"/>
                <a:gd name="connsiteY12" fmla="*/ 126244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  <a:gd name="connsiteX0" fmla="*/ 2872378 w 3735977"/>
                <a:gd name="connsiteY0" fmla="*/ 1656959 h 3177362"/>
                <a:gd name="connsiteX1" fmla="*/ 2601444 w 3735977"/>
                <a:gd name="connsiteY1" fmla="*/ 1927893 h 3177362"/>
                <a:gd name="connsiteX2" fmla="*/ 2872378 w 3735977"/>
                <a:gd name="connsiteY2" fmla="*/ 2198827 h 3177362"/>
                <a:gd name="connsiteX3" fmla="*/ 3143312 w 3735977"/>
                <a:gd name="connsiteY3" fmla="*/ 1927893 h 3177362"/>
                <a:gd name="connsiteX4" fmla="*/ 2872378 w 3735977"/>
                <a:gd name="connsiteY4" fmla="*/ 1656959 h 3177362"/>
                <a:gd name="connsiteX5" fmla="*/ 736384 w 3735977"/>
                <a:gd name="connsiteY5" fmla="*/ 1656959 h 3177362"/>
                <a:gd name="connsiteX6" fmla="*/ 465450 w 3735977"/>
                <a:gd name="connsiteY6" fmla="*/ 1927893 h 3177362"/>
                <a:gd name="connsiteX7" fmla="*/ 736384 w 3735977"/>
                <a:gd name="connsiteY7" fmla="*/ 2198827 h 3177362"/>
                <a:gd name="connsiteX8" fmla="*/ 1007318 w 3735977"/>
                <a:gd name="connsiteY8" fmla="*/ 1927893 h 3177362"/>
                <a:gd name="connsiteX9" fmla="*/ 736384 w 3735977"/>
                <a:gd name="connsiteY9" fmla="*/ 1656959 h 3177362"/>
                <a:gd name="connsiteX10" fmla="*/ 931614 w 3735977"/>
                <a:gd name="connsiteY10" fmla="*/ 163939 h 3177362"/>
                <a:gd name="connsiteX11" fmla="*/ 409512 w 3735977"/>
                <a:gd name="connsiteY11" fmla="*/ 1127397 h 3177362"/>
                <a:gd name="connsiteX12" fmla="*/ 478498 w 3735977"/>
                <a:gd name="connsiteY12" fmla="*/ 1266254 h 3177362"/>
                <a:gd name="connsiteX13" fmla="*/ 3235013 w 3735977"/>
                <a:gd name="connsiteY13" fmla="*/ 1266254 h 3177362"/>
                <a:gd name="connsiteX14" fmla="*/ 3296626 w 3735977"/>
                <a:gd name="connsiteY14" fmla="*/ 1109126 h 3177362"/>
                <a:gd name="connsiteX15" fmla="*/ 2655816 w 3735977"/>
                <a:gd name="connsiteY15" fmla="*/ 163939 h 3177362"/>
                <a:gd name="connsiteX16" fmla="*/ 931614 w 3735977"/>
                <a:gd name="connsiteY16" fmla="*/ 163939 h 3177362"/>
                <a:gd name="connsiteX17" fmla="*/ 840892 w 3735977"/>
                <a:gd name="connsiteY17" fmla="*/ 0 h 3177362"/>
                <a:gd name="connsiteX18" fmla="*/ 2791601 w 3735977"/>
                <a:gd name="connsiteY18" fmla="*/ 0 h 3177362"/>
                <a:gd name="connsiteX19" fmla="*/ 3516593 w 3735977"/>
                <a:gd name="connsiteY19" fmla="*/ 1099462 h 3177362"/>
                <a:gd name="connsiteX20" fmla="*/ 3574622 w 3735977"/>
                <a:gd name="connsiteY20" fmla="*/ 1273078 h 3177362"/>
                <a:gd name="connsiteX21" fmla="*/ 3597686 w 3735977"/>
                <a:gd name="connsiteY21" fmla="*/ 1280238 h 3177362"/>
                <a:gd name="connsiteX22" fmla="*/ 3735977 w 3735977"/>
                <a:gd name="connsiteY22" fmla="*/ 1488871 h 3177362"/>
                <a:gd name="connsiteX23" fmla="*/ 3735977 w 3735977"/>
                <a:gd name="connsiteY23" fmla="*/ 2394554 h 3177362"/>
                <a:gd name="connsiteX24" fmla="*/ 3509550 w 3735977"/>
                <a:gd name="connsiteY24" fmla="*/ 2620981 h 3177362"/>
                <a:gd name="connsiteX25" fmla="*/ 3471295 w 3735977"/>
                <a:gd name="connsiteY25" fmla="*/ 2620981 h 3177362"/>
                <a:gd name="connsiteX26" fmla="*/ 3471295 w 3735977"/>
                <a:gd name="connsiteY26" fmla="*/ 3079389 h 3177362"/>
                <a:gd name="connsiteX27" fmla="*/ 3373322 w 3735977"/>
                <a:gd name="connsiteY27" fmla="*/ 3177362 h 3177362"/>
                <a:gd name="connsiteX28" fmla="*/ 2981439 w 3735977"/>
                <a:gd name="connsiteY28" fmla="*/ 3177362 h 3177362"/>
                <a:gd name="connsiteX29" fmla="*/ 2883466 w 3735977"/>
                <a:gd name="connsiteY29" fmla="*/ 3079389 h 3177362"/>
                <a:gd name="connsiteX30" fmla="*/ 2883466 w 3735977"/>
                <a:gd name="connsiteY30" fmla="*/ 2620981 h 3177362"/>
                <a:gd name="connsiteX31" fmla="*/ 812571 w 3735977"/>
                <a:gd name="connsiteY31" fmla="*/ 2620981 h 3177362"/>
                <a:gd name="connsiteX32" fmla="*/ 812571 w 3735977"/>
                <a:gd name="connsiteY32" fmla="*/ 3079389 h 3177362"/>
                <a:gd name="connsiteX33" fmla="*/ 714598 w 3735977"/>
                <a:gd name="connsiteY33" fmla="*/ 3177362 h 3177362"/>
                <a:gd name="connsiteX34" fmla="*/ 322715 w 3735977"/>
                <a:gd name="connsiteY34" fmla="*/ 3177362 h 3177362"/>
                <a:gd name="connsiteX35" fmla="*/ 224742 w 3735977"/>
                <a:gd name="connsiteY35" fmla="*/ 3079389 h 3177362"/>
                <a:gd name="connsiteX36" fmla="*/ 224742 w 3735977"/>
                <a:gd name="connsiteY36" fmla="*/ 2620811 h 3177362"/>
                <a:gd name="connsiteX37" fmla="*/ 180794 w 3735977"/>
                <a:gd name="connsiteY37" fmla="*/ 2616381 h 3177362"/>
                <a:gd name="connsiteX38" fmla="*/ 0 w 3735977"/>
                <a:gd name="connsiteY38" fmla="*/ 2394554 h 3177362"/>
                <a:gd name="connsiteX39" fmla="*/ 0 w 3735977"/>
                <a:gd name="connsiteY39" fmla="*/ 1488871 h 3177362"/>
                <a:gd name="connsiteX40" fmla="*/ 180794 w 3735977"/>
                <a:gd name="connsiteY40" fmla="*/ 1267044 h 3177362"/>
                <a:gd name="connsiteX41" fmla="*/ 194961 w 3735977"/>
                <a:gd name="connsiteY41" fmla="*/ 1265616 h 3177362"/>
                <a:gd name="connsiteX42" fmla="*/ 250202 w 3735977"/>
                <a:gd name="connsiteY42" fmla="*/ 1120715 h 3177362"/>
                <a:gd name="connsiteX43" fmla="*/ 840892 w 3735977"/>
                <a:gd name="connsiteY43" fmla="*/ 0 h 317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735977" h="3177362">
                  <a:moveTo>
                    <a:pt x="2872378" y="1656959"/>
                  </a:moveTo>
                  <a:cubicBezTo>
                    <a:pt x="2722745" y="1656959"/>
                    <a:pt x="2601444" y="1778260"/>
                    <a:pt x="2601444" y="1927893"/>
                  </a:cubicBezTo>
                  <a:cubicBezTo>
                    <a:pt x="2601444" y="2077526"/>
                    <a:pt x="2722745" y="2198827"/>
                    <a:pt x="2872378" y="2198827"/>
                  </a:cubicBezTo>
                  <a:cubicBezTo>
                    <a:pt x="3022011" y="2198827"/>
                    <a:pt x="3143312" y="2077526"/>
                    <a:pt x="3143312" y="1927893"/>
                  </a:cubicBezTo>
                  <a:cubicBezTo>
                    <a:pt x="3143312" y="1778260"/>
                    <a:pt x="3022011" y="1656959"/>
                    <a:pt x="2872378" y="1656959"/>
                  </a:cubicBezTo>
                  <a:close/>
                  <a:moveTo>
                    <a:pt x="736384" y="1656959"/>
                  </a:moveTo>
                  <a:cubicBezTo>
                    <a:pt x="586751" y="1656959"/>
                    <a:pt x="465450" y="1778260"/>
                    <a:pt x="465450" y="1927893"/>
                  </a:cubicBezTo>
                  <a:cubicBezTo>
                    <a:pt x="465450" y="2077526"/>
                    <a:pt x="586751" y="2198827"/>
                    <a:pt x="736384" y="2198827"/>
                  </a:cubicBezTo>
                  <a:cubicBezTo>
                    <a:pt x="886017" y="2198827"/>
                    <a:pt x="1007318" y="2077526"/>
                    <a:pt x="1007318" y="1927893"/>
                  </a:cubicBezTo>
                  <a:cubicBezTo>
                    <a:pt x="1007318" y="1778260"/>
                    <a:pt x="886017" y="1656959"/>
                    <a:pt x="736384" y="1656959"/>
                  </a:cubicBezTo>
                  <a:close/>
                  <a:moveTo>
                    <a:pt x="931614" y="163939"/>
                  </a:moveTo>
                  <a:cubicBezTo>
                    <a:pt x="654378" y="163683"/>
                    <a:pt x="666973" y="446506"/>
                    <a:pt x="409512" y="1127397"/>
                  </a:cubicBezTo>
                  <a:cubicBezTo>
                    <a:pt x="390597" y="1204163"/>
                    <a:pt x="352633" y="1265688"/>
                    <a:pt x="478498" y="1266254"/>
                  </a:cubicBezTo>
                  <a:lnTo>
                    <a:pt x="3235013" y="1266254"/>
                  </a:lnTo>
                  <a:cubicBezTo>
                    <a:pt x="3324131" y="1264678"/>
                    <a:pt x="3314188" y="1160232"/>
                    <a:pt x="3296626" y="1109126"/>
                  </a:cubicBezTo>
                  <a:cubicBezTo>
                    <a:pt x="3058529" y="397784"/>
                    <a:pt x="3108411" y="167020"/>
                    <a:pt x="2655816" y="163939"/>
                  </a:cubicBezTo>
                  <a:lnTo>
                    <a:pt x="931614" y="163939"/>
                  </a:lnTo>
                  <a:close/>
                  <a:moveTo>
                    <a:pt x="840892" y="0"/>
                  </a:moveTo>
                  <a:lnTo>
                    <a:pt x="2791601" y="0"/>
                  </a:lnTo>
                  <a:cubicBezTo>
                    <a:pt x="3260547" y="34607"/>
                    <a:pt x="3247217" y="272013"/>
                    <a:pt x="3516593" y="1099462"/>
                  </a:cubicBezTo>
                  <a:lnTo>
                    <a:pt x="3574622" y="1273078"/>
                  </a:lnTo>
                  <a:lnTo>
                    <a:pt x="3597686" y="1280238"/>
                  </a:lnTo>
                  <a:cubicBezTo>
                    <a:pt x="3678954" y="1314611"/>
                    <a:pt x="3735977" y="1395082"/>
                    <a:pt x="3735977" y="1488871"/>
                  </a:cubicBezTo>
                  <a:lnTo>
                    <a:pt x="3735977" y="2394554"/>
                  </a:lnTo>
                  <a:cubicBezTo>
                    <a:pt x="3735977" y="2519606"/>
                    <a:pt x="3634602" y="2620981"/>
                    <a:pt x="3509550" y="2620981"/>
                  </a:cubicBezTo>
                  <a:lnTo>
                    <a:pt x="3471295" y="2620981"/>
                  </a:lnTo>
                  <a:lnTo>
                    <a:pt x="3471295" y="3079389"/>
                  </a:lnTo>
                  <a:cubicBezTo>
                    <a:pt x="3471295" y="3133498"/>
                    <a:pt x="3427431" y="3177362"/>
                    <a:pt x="3373322" y="3177362"/>
                  </a:cubicBezTo>
                  <a:lnTo>
                    <a:pt x="2981439" y="3177362"/>
                  </a:lnTo>
                  <a:cubicBezTo>
                    <a:pt x="2927330" y="3177362"/>
                    <a:pt x="2883466" y="3133498"/>
                    <a:pt x="2883466" y="3079389"/>
                  </a:cubicBezTo>
                  <a:lnTo>
                    <a:pt x="2883466" y="2620981"/>
                  </a:lnTo>
                  <a:lnTo>
                    <a:pt x="812571" y="2620981"/>
                  </a:lnTo>
                  <a:lnTo>
                    <a:pt x="812571" y="3079389"/>
                  </a:lnTo>
                  <a:cubicBezTo>
                    <a:pt x="812571" y="3133498"/>
                    <a:pt x="768707" y="3177362"/>
                    <a:pt x="714598" y="3177362"/>
                  </a:cubicBezTo>
                  <a:lnTo>
                    <a:pt x="322715" y="3177362"/>
                  </a:lnTo>
                  <a:cubicBezTo>
                    <a:pt x="268606" y="3177362"/>
                    <a:pt x="224742" y="3133498"/>
                    <a:pt x="224742" y="3079389"/>
                  </a:cubicBezTo>
                  <a:lnTo>
                    <a:pt x="224742" y="2620811"/>
                  </a:lnTo>
                  <a:lnTo>
                    <a:pt x="180794" y="2616381"/>
                  </a:lnTo>
                  <a:cubicBezTo>
                    <a:pt x="77615" y="2595268"/>
                    <a:pt x="0" y="2503975"/>
                    <a:pt x="0" y="2394554"/>
                  </a:cubicBezTo>
                  <a:lnTo>
                    <a:pt x="0" y="1488871"/>
                  </a:lnTo>
                  <a:cubicBezTo>
                    <a:pt x="0" y="1379451"/>
                    <a:pt x="77615" y="1288158"/>
                    <a:pt x="180794" y="1267044"/>
                  </a:cubicBezTo>
                  <a:lnTo>
                    <a:pt x="194961" y="1265616"/>
                  </a:lnTo>
                  <a:lnTo>
                    <a:pt x="250202" y="1120715"/>
                  </a:lnTo>
                  <a:cubicBezTo>
                    <a:pt x="541485" y="328688"/>
                    <a:pt x="573876" y="4126"/>
                    <a:pt x="84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1180984" y="-167010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3893639" y="1170922"/>
            <a:ext cx="792000" cy="792000"/>
            <a:chOff x="6308915" y="-2785797"/>
            <a:chExt cx="792000" cy="792000"/>
          </a:xfrm>
        </p:grpSpPr>
        <p:sp>
          <p:nvSpPr>
            <p:cNvPr id="142" name="Freeform 141"/>
            <p:cNvSpPr/>
            <p:nvPr/>
          </p:nvSpPr>
          <p:spPr>
            <a:xfrm>
              <a:off x="6390925" y="-2756429"/>
              <a:ext cx="627981" cy="733265"/>
            </a:xfrm>
            <a:custGeom>
              <a:avLst/>
              <a:gdLst>
                <a:gd name="connsiteX0" fmla="*/ 1787320 w 2188565"/>
                <a:gd name="connsiteY0" fmla="*/ 719233 h 2555493"/>
                <a:gd name="connsiteX1" fmla="*/ 1784159 w 2188565"/>
                <a:gd name="connsiteY1" fmla="*/ 848908 h 2555493"/>
                <a:gd name="connsiteX2" fmla="*/ 1100901 w 2188565"/>
                <a:gd name="connsiteY2" fmla="*/ 2071287 h 2555493"/>
                <a:gd name="connsiteX3" fmla="*/ 747527 w 2188565"/>
                <a:gd name="connsiteY3" fmla="*/ 1817336 h 2555493"/>
                <a:gd name="connsiteX4" fmla="*/ 690853 w 2188565"/>
                <a:gd name="connsiteY4" fmla="*/ 1752876 h 2555493"/>
                <a:gd name="connsiteX5" fmla="*/ 1075160 w 2188565"/>
                <a:gd name="connsiteY5" fmla="*/ 445400 h 2555493"/>
                <a:gd name="connsiteX6" fmla="*/ 1459621 w 2188565"/>
                <a:gd name="connsiteY6" fmla="*/ 670640 h 2555493"/>
                <a:gd name="connsiteX7" fmla="*/ 1477007 w 2188565"/>
                <a:gd name="connsiteY7" fmla="*/ 673429 h 2555493"/>
                <a:gd name="connsiteX8" fmla="*/ 551214 w 2188565"/>
                <a:gd name="connsiteY8" fmla="*/ 1545848 h 2555493"/>
                <a:gd name="connsiteX9" fmla="*/ 537612 w 2188565"/>
                <a:gd name="connsiteY9" fmla="*/ 1521396 h 2555493"/>
                <a:gd name="connsiteX10" fmla="*/ 395906 w 2188565"/>
                <a:gd name="connsiteY10" fmla="*/ 658259 h 2555493"/>
                <a:gd name="connsiteX11" fmla="*/ 1075160 w 2188565"/>
                <a:gd name="connsiteY11" fmla="*/ 445400 h 2555493"/>
                <a:gd name="connsiteX12" fmla="*/ 1073552 w 2188565"/>
                <a:gd name="connsiteY12" fmla="*/ 284332 h 2555493"/>
                <a:gd name="connsiteX13" fmla="*/ 243506 w 2188565"/>
                <a:gd name="connsiteY13" fmla="*/ 544444 h 2555493"/>
                <a:gd name="connsiteX14" fmla="*/ 1105008 w 2188565"/>
                <a:gd name="connsiteY14" fmla="*/ 2271160 h 2555493"/>
                <a:gd name="connsiteX15" fmla="*/ 1945057 w 2188565"/>
                <a:gd name="connsiteY15" fmla="*/ 567753 h 2555493"/>
                <a:gd name="connsiteX16" fmla="*/ 1073552 w 2188565"/>
                <a:gd name="connsiteY16" fmla="*/ 284332 h 2555493"/>
                <a:gd name="connsiteX17" fmla="*/ 1067619 w 2188565"/>
                <a:gd name="connsiteY17" fmla="*/ 0 h 2555493"/>
                <a:gd name="connsiteX18" fmla="*/ 2188565 w 2188565"/>
                <a:gd name="connsiteY18" fmla="*/ 364541 h 2555493"/>
                <a:gd name="connsiteX19" fmla="*/ 1108079 w 2188565"/>
                <a:gd name="connsiteY19" fmla="*/ 2555493 h 2555493"/>
                <a:gd name="connsiteX20" fmla="*/ 0 w 2188565"/>
                <a:gd name="connsiteY20" fmla="*/ 334561 h 2555493"/>
                <a:gd name="connsiteX21" fmla="*/ 1067619 w 2188565"/>
                <a:gd name="connsiteY21" fmla="*/ 0 h 2555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88565" h="2555493">
                  <a:moveTo>
                    <a:pt x="1787320" y="719233"/>
                  </a:moveTo>
                  <a:lnTo>
                    <a:pt x="1784159" y="848908"/>
                  </a:lnTo>
                  <a:cubicBezTo>
                    <a:pt x="1762455" y="1268976"/>
                    <a:pt x="1641830" y="1808282"/>
                    <a:pt x="1100901" y="2071287"/>
                  </a:cubicBezTo>
                  <a:cubicBezTo>
                    <a:pt x="955063" y="1997326"/>
                    <a:pt x="839340" y="1910830"/>
                    <a:pt x="747527" y="1817336"/>
                  </a:cubicBezTo>
                  <a:lnTo>
                    <a:pt x="690853" y="1752876"/>
                  </a:lnTo>
                  <a:close/>
                  <a:moveTo>
                    <a:pt x="1075160" y="445400"/>
                  </a:moveTo>
                  <a:cubicBezTo>
                    <a:pt x="1152632" y="543920"/>
                    <a:pt x="1291185" y="632226"/>
                    <a:pt x="1459621" y="670640"/>
                  </a:cubicBezTo>
                  <a:lnTo>
                    <a:pt x="1477007" y="673429"/>
                  </a:lnTo>
                  <a:lnTo>
                    <a:pt x="551214" y="1545848"/>
                  </a:lnTo>
                  <a:lnTo>
                    <a:pt x="537612" y="1521396"/>
                  </a:lnTo>
                  <a:cubicBezTo>
                    <a:pt x="370281" y="1181552"/>
                    <a:pt x="399661" y="825477"/>
                    <a:pt x="395906" y="658259"/>
                  </a:cubicBezTo>
                  <a:cubicBezTo>
                    <a:pt x="709101" y="715060"/>
                    <a:pt x="915164" y="617267"/>
                    <a:pt x="1075160" y="445400"/>
                  </a:cubicBezTo>
                  <a:close/>
                  <a:moveTo>
                    <a:pt x="1073552" y="284332"/>
                  </a:moveTo>
                  <a:cubicBezTo>
                    <a:pt x="878038" y="494353"/>
                    <a:pt x="626229" y="613855"/>
                    <a:pt x="243506" y="544444"/>
                  </a:cubicBezTo>
                  <a:cubicBezTo>
                    <a:pt x="250846" y="871388"/>
                    <a:pt x="154533" y="1789134"/>
                    <a:pt x="1105008" y="2271160"/>
                  </a:cubicBezTo>
                  <a:cubicBezTo>
                    <a:pt x="1860451" y="1903856"/>
                    <a:pt x="1945057" y="1095553"/>
                    <a:pt x="1945057" y="567753"/>
                  </a:cubicBezTo>
                  <a:cubicBezTo>
                    <a:pt x="1567577" y="637631"/>
                    <a:pt x="1225025" y="476957"/>
                    <a:pt x="1073552" y="284332"/>
                  </a:cubicBezTo>
                  <a:close/>
                  <a:moveTo>
                    <a:pt x="1067619" y="0"/>
                  </a:moveTo>
                  <a:cubicBezTo>
                    <a:pt x="1262447" y="247758"/>
                    <a:pt x="1703043" y="454419"/>
                    <a:pt x="2188565" y="364541"/>
                  </a:cubicBezTo>
                  <a:cubicBezTo>
                    <a:pt x="2188565" y="1043406"/>
                    <a:pt x="2079743" y="2083060"/>
                    <a:pt x="1108079" y="2555493"/>
                  </a:cubicBezTo>
                  <a:cubicBezTo>
                    <a:pt x="-114438" y="1935502"/>
                    <a:pt x="9441" y="755082"/>
                    <a:pt x="0" y="334561"/>
                  </a:cubicBezTo>
                  <a:cubicBezTo>
                    <a:pt x="492265" y="423838"/>
                    <a:pt x="816146" y="270132"/>
                    <a:pt x="10676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6308915" y="-278579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2336352" y="4292398"/>
            <a:ext cx="792000" cy="792000"/>
            <a:chOff x="2402202" y="-2875380"/>
            <a:chExt cx="792000" cy="792000"/>
          </a:xfrm>
        </p:grpSpPr>
        <p:sp>
          <p:nvSpPr>
            <p:cNvPr id="135" name="Freeform 134"/>
            <p:cNvSpPr/>
            <p:nvPr/>
          </p:nvSpPr>
          <p:spPr>
            <a:xfrm>
              <a:off x="2435245" y="-2754437"/>
              <a:ext cx="725914" cy="550115"/>
            </a:xfrm>
            <a:custGeom>
              <a:avLst/>
              <a:gdLst>
                <a:gd name="connsiteX0" fmla="*/ 3418882 w 6378694"/>
                <a:gd name="connsiteY0" fmla="*/ 2386361 h 4833928"/>
                <a:gd name="connsiteX1" fmla="*/ 3418882 w 6378694"/>
                <a:gd name="connsiteY1" fmla="*/ 3838643 h 4833928"/>
                <a:gd name="connsiteX2" fmla="*/ 4142035 w 6378694"/>
                <a:gd name="connsiteY2" fmla="*/ 3838643 h 4833928"/>
                <a:gd name="connsiteX3" fmla="*/ 4142035 w 6378694"/>
                <a:gd name="connsiteY3" fmla="*/ 3271284 h 4833928"/>
                <a:gd name="connsiteX4" fmla="*/ 4146646 w 6378694"/>
                <a:gd name="connsiteY4" fmla="*/ 3268019 h 4833928"/>
                <a:gd name="connsiteX5" fmla="*/ 4205581 w 6378694"/>
                <a:gd name="connsiteY5" fmla="*/ 3250308 h 4833928"/>
                <a:gd name="connsiteX6" fmla="*/ 4365919 w 6378694"/>
                <a:gd name="connsiteY6" fmla="*/ 3105052 h 4833928"/>
                <a:gd name="connsiteX7" fmla="*/ 4150267 w 6378694"/>
                <a:gd name="connsiteY7" fmla="*/ 2743848 h 4833928"/>
                <a:gd name="connsiteX8" fmla="*/ 4142035 w 6378694"/>
                <a:gd name="connsiteY8" fmla="*/ 2711512 h 4833928"/>
                <a:gd name="connsiteX9" fmla="*/ 4142035 w 6378694"/>
                <a:gd name="connsiteY9" fmla="*/ 2386361 h 4833928"/>
                <a:gd name="connsiteX10" fmla="*/ 3911192 w 6378694"/>
                <a:gd name="connsiteY10" fmla="*/ 1086263 h 4833928"/>
                <a:gd name="connsiteX11" fmla="*/ 3289639 w 6378694"/>
                <a:gd name="connsiteY11" fmla="*/ 1854240 h 4833928"/>
                <a:gd name="connsiteX12" fmla="*/ 3289918 w 6378694"/>
                <a:gd name="connsiteY12" fmla="*/ 1855738 h 4833928"/>
                <a:gd name="connsiteX13" fmla="*/ 3289639 w 6378694"/>
                <a:gd name="connsiteY13" fmla="*/ 1858444 h 4833928"/>
                <a:gd name="connsiteX14" fmla="*/ 3561577 w 6378694"/>
                <a:gd name="connsiteY14" fmla="*/ 2259322 h 4833928"/>
                <a:gd name="connsiteX15" fmla="*/ 3598918 w 6378694"/>
                <a:gd name="connsiteY15" fmla="*/ 2270649 h 4833928"/>
                <a:gd name="connsiteX16" fmla="*/ 3587192 w 6378694"/>
                <a:gd name="connsiteY16" fmla="*/ 2192644 h 4833928"/>
                <a:gd name="connsiteX17" fmla="*/ 3817381 w 6378694"/>
                <a:gd name="connsiteY17" fmla="*/ 1807791 h 4833928"/>
                <a:gd name="connsiteX18" fmla="*/ 3899841 w 6378694"/>
                <a:gd name="connsiteY18" fmla="*/ 2252583 h 4833928"/>
                <a:gd name="connsiteX19" fmla="*/ 3909769 w 6378694"/>
                <a:gd name="connsiteY19" fmla="*/ 2257696 h 4833928"/>
                <a:gd name="connsiteX20" fmla="*/ 3965765 w 6378694"/>
                <a:gd name="connsiteY20" fmla="*/ 2230526 h 4833928"/>
                <a:gd name="connsiteX21" fmla="*/ 4180135 w 6378694"/>
                <a:gd name="connsiteY21" fmla="*/ 1858444 h 4833928"/>
                <a:gd name="connsiteX22" fmla="*/ 4179882 w 6378694"/>
                <a:gd name="connsiteY22" fmla="*/ 1855988 h 4833928"/>
                <a:gd name="connsiteX23" fmla="*/ 4180134 w 6378694"/>
                <a:gd name="connsiteY23" fmla="*/ 1854240 h 4833928"/>
                <a:gd name="connsiteX24" fmla="*/ 4175498 w 6378694"/>
                <a:gd name="connsiteY24" fmla="*/ 1813498 h 4833928"/>
                <a:gd name="connsiteX25" fmla="*/ 4171089 w 6378694"/>
                <a:gd name="connsiteY25" fmla="*/ 1770763 h 4833928"/>
                <a:gd name="connsiteX26" fmla="*/ 4166342 w 6378694"/>
                <a:gd name="connsiteY26" fmla="*/ 1755819 h 4833928"/>
                <a:gd name="connsiteX27" fmla="*/ 4163868 w 6378694"/>
                <a:gd name="connsiteY27" fmla="*/ 1742258 h 4833928"/>
                <a:gd name="connsiteX28" fmla="*/ 4066955 w 6378694"/>
                <a:gd name="connsiteY28" fmla="*/ 1569962 h 4833928"/>
                <a:gd name="connsiteX29" fmla="*/ 4064273 w 6378694"/>
                <a:gd name="connsiteY29" fmla="*/ 1568034 h 4833928"/>
                <a:gd name="connsiteX30" fmla="*/ 4049725 w 6378694"/>
                <a:gd name="connsiteY30" fmla="*/ 1550805 h 4833928"/>
                <a:gd name="connsiteX31" fmla="*/ 3983830 w 6378694"/>
                <a:gd name="connsiteY31" fmla="*/ 1497679 h 4833928"/>
                <a:gd name="connsiteX32" fmla="*/ 3947122 w 6378694"/>
                <a:gd name="connsiteY32" fmla="*/ 1478210 h 4833928"/>
                <a:gd name="connsiteX33" fmla="*/ 3930962 w 6378694"/>
                <a:gd name="connsiteY33" fmla="*/ 1463666 h 4833928"/>
                <a:gd name="connsiteX34" fmla="*/ 3884299 w 6378694"/>
                <a:gd name="connsiteY34" fmla="*/ 1403016 h 4833928"/>
                <a:gd name="connsiteX35" fmla="*/ 3911192 w 6378694"/>
                <a:gd name="connsiteY35" fmla="*/ 1086263 h 4833928"/>
                <a:gd name="connsiteX36" fmla="*/ 2475243 w 6378694"/>
                <a:gd name="connsiteY36" fmla="*/ 0 h 4833928"/>
                <a:gd name="connsiteX37" fmla="*/ 2475248 w 6378694"/>
                <a:gd name="connsiteY37" fmla="*/ 0 h 4833928"/>
                <a:gd name="connsiteX38" fmla="*/ 3839806 w 6378694"/>
                <a:gd name="connsiteY38" fmla="*/ 0 h 4833928"/>
                <a:gd name="connsiteX39" fmla="*/ 3839809 w 6378694"/>
                <a:gd name="connsiteY39" fmla="*/ 0 h 4833928"/>
                <a:gd name="connsiteX40" fmla="*/ 5176652 w 6378694"/>
                <a:gd name="connsiteY40" fmla="*/ 1089558 h 4833928"/>
                <a:gd name="connsiteX41" fmla="*/ 5197153 w 6378694"/>
                <a:gd name="connsiteY41" fmla="*/ 1223889 h 4833928"/>
                <a:gd name="connsiteX42" fmla="*/ 5204375 w 6378694"/>
                <a:gd name="connsiteY42" fmla="*/ 1223889 h 4833928"/>
                <a:gd name="connsiteX43" fmla="*/ 5204375 w 6378694"/>
                <a:gd name="connsiteY43" fmla="*/ 1364566 h 4833928"/>
                <a:gd name="connsiteX44" fmla="*/ 5204375 w 6378694"/>
                <a:gd name="connsiteY44" fmla="*/ 3823490 h 4833928"/>
                <a:gd name="connsiteX45" fmla="*/ 5986807 w 6378694"/>
                <a:gd name="connsiteY45" fmla="*/ 3821054 h 4833928"/>
                <a:gd name="connsiteX46" fmla="*/ 6378694 w 6378694"/>
                <a:gd name="connsiteY46" fmla="*/ 4825219 h 4833928"/>
                <a:gd name="connsiteX47" fmla="*/ 0 w 6378694"/>
                <a:gd name="connsiteY47" fmla="*/ 4833928 h 4833928"/>
                <a:gd name="connsiteX48" fmla="*/ 391886 w 6378694"/>
                <a:gd name="connsiteY48" fmla="*/ 3838470 h 4833928"/>
                <a:gd name="connsiteX49" fmla="*/ 1110677 w 6378694"/>
                <a:gd name="connsiteY49" fmla="*/ 3836233 h 4833928"/>
                <a:gd name="connsiteX50" fmla="*/ 1110677 w 6378694"/>
                <a:gd name="connsiteY50" fmla="*/ 1364566 h 4833928"/>
                <a:gd name="connsiteX51" fmla="*/ 1110677 w 6378694"/>
                <a:gd name="connsiteY51" fmla="*/ 1223889 h 4833928"/>
                <a:gd name="connsiteX52" fmla="*/ 1117899 w 6378694"/>
                <a:gd name="connsiteY52" fmla="*/ 1223889 h 4833928"/>
                <a:gd name="connsiteX53" fmla="*/ 1138400 w 6378694"/>
                <a:gd name="connsiteY53" fmla="*/ 1089558 h 4833928"/>
                <a:gd name="connsiteX54" fmla="*/ 2475243 w 6378694"/>
                <a:gd name="connsiteY54" fmla="*/ 0 h 483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378694" h="4833928">
                  <a:moveTo>
                    <a:pt x="3418882" y="2386361"/>
                  </a:moveTo>
                  <a:lnTo>
                    <a:pt x="3418882" y="3838643"/>
                  </a:lnTo>
                  <a:lnTo>
                    <a:pt x="4142035" y="3838643"/>
                  </a:lnTo>
                  <a:lnTo>
                    <a:pt x="4142035" y="3271284"/>
                  </a:lnTo>
                  <a:lnTo>
                    <a:pt x="4146646" y="3268019"/>
                  </a:lnTo>
                  <a:cubicBezTo>
                    <a:pt x="4162356" y="3260296"/>
                    <a:pt x="4180777" y="3256725"/>
                    <a:pt x="4205581" y="3250308"/>
                  </a:cubicBezTo>
                  <a:cubicBezTo>
                    <a:pt x="4338533" y="3273194"/>
                    <a:pt x="4365919" y="3178699"/>
                    <a:pt x="4365919" y="3105052"/>
                  </a:cubicBezTo>
                  <a:cubicBezTo>
                    <a:pt x="4315913" y="3032277"/>
                    <a:pt x="4215669" y="2958023"/>
                    <a:pt x="4150267" y="2743848"/>
                  </a:cubicBezTo>
                  <a:lnTo>
                    <a:pt x="4142035" y="2711512"/>
                  </a:lnTo>
                  <a:lnTo>
                    <a:pt x="4142035" y="2386361"/>
                  </a:lnTo>
                  <a:close/>
                  <a:moveTo>
                    <a:pt x="3911192" y="1086263"/>
                  </a:moveTo>
                  <a:cubicBezTo>
                    <a:pt x="3837980" y="1159475"/>
                    <a:pt x="3294121" y="1294445"/>
                    <a:pt x="3289639" y="1854240"/>
                  </a:cubicBezTo>
                  <a:lnTo>
                    <a:pt x="3289918" y="1855738"/>
                  </a:lnTo>
                  <a:lnTo>
                    <a:pt x="3289639" y="1858444"/>
                  </a:lnTo>
                  <a:cubicBezTo>
                    <a:pt x="3289639" y="2038655"/>
                    <a:pt x="3401770" y="2193275"/>
                    <a:pt x="3561577" y="2259322"/>
                  </a:cubicBezTo>
                  <a:lnTo>
                    <a:pt x="3598918" y="2270649"/>
                  </a:lnTo>
                  <a:lnTo>
                    <a:pt x="3587192" y="2192644"/>
                  </a:lnTo>
                  <a:cubicBezTo>
                    <a:pt x="3571396" y="1962872"/>
                    <a:pt x="3700769" y="1870748"/>
                    <a:pt x="3817381" y="1807791"/>
                  </a:cubicBezTo>
                  <a:cubicBezTo>
                    <a:pt x="3784845" y="1885755"/>
                    <a:pt x="3750708" y="2139429"/>
                    <a:pt x="3899841" y="2252583"/>
                  </a:cubicBezTo>
                  <a:lnTo>
                    <a:pt x="3909769" y="2257696"/>
                  </a:lnTo>
                  <a:lnTo>
                    <a:pt x="3965765" y="2230526"/>
                  </a:lnTo>
                  <a:cubicBezTo>
                    <a:pt x="4094285" y="2154221"/>
                    <a:pt x="4180135" y="2016129"/>
                    <a:pt x="4180135" y="1858444"/>
                  </a:cubicBezTo>
                  <a:lnTo>
                    <a:pt x="4179882" y="1855988"/>
                  </a:lnTo>
                  <a:lnTo>
                    <a:pt x="4180134" y="1854240"/>
                  </a:lnTo>
                  <a:lnTo>
                    <a:pt x="4175498" y="1813498"/>
                  </a:lnTo>
                  <a:lnTo>
                    <a:pt x="4171089" y="1770763"/>
                  </a:lnTo>
                  <a:lnTo>
                    <a:pt x="4166342" y="1755819"/>
                  </a:lnTo>
                  <a:lnTo>
                    <a:pt x="4163868" y="1742258"/>
                  </a:lnTo>
                  <a:cubicBezTo>
                    <a:pt x="4142805" y="1648187"/>
                    <a:pt x="4108137" y="1603575"/>
                    <a:pt x="4066955" y="1569962"/>
                  </a:cubicBezTo>
                  <a:lnTo>
                    <a:pt x="4064273" y="1568034"/>
                  </a:lnTo>
                  <a:lnTo>
                    <a:pt x="4049725" y="1550805"/>
                  </a:lnTo>
                  <a:cubicBezTo>
                    <a:pt x="4029582" y="1531122"/>
                    <a:pt x="4007517" y="1513316"/>
                    <a:pt x="3983830" y="1497679"/>
                  </a:cubicBezTo>
                  <a:lnTo>
                    <a:pt x="3947122" y="1478210"/>
                  </a:lnTo>
                  <a:lnTo>
                    <a:pt x="3930962" y="1463666"/>
                  </a:lnTo>
                  <a:cubicBezTo>
                    <a:pt x="3915256" y="1446975"/>
                    <a:pt x="3899614" y="1427233"/>
                    <a:pt x="3884299" y="1403016"/>
                  </a:cubicBezTo>
                  <a:cubicBezTo>
                    <a:pt x="3797639" y="1239161"/>
                    <a:pt x="3870851" y="1234181"/>
                    <a:pt x="3911192" y="1086263"/>
                  </a:cubicBezTo>
                  <a:close/>
                  <a:moveTo>
                    <a:pt x="2475243" y="0"/>
                  </a:moveTo>
                  <a:lnTo>
                    <a:pt x="2475248" y="0"/>
                  </a:lnTo>
                  <a:lnTo>
                    <a:pt x="3839806" y="0"/>
                  </a:lnTo>
                  <a:lnTo>
                    <a:pt x="3839809" y="0"/>
                  </a:lnTo>
                  <a:cubicBezTo>
                    <a:pt x="4499235" y="0"/>
                    <a:pt x="5049411" y="467749"/>
                    <a:pt x="5176652" y="1089558"/>
                  </a:cubicBezTo>
                  <a:lnTo>
                    <a:pt x="5197153" y="1223889"/>
                  </a:lnTo>
                  <a:lnTo>
                    <a:pt x="5204375" y="1223889"/>
                  </a:lnTo>
                  <a:lnTo>
                    <a:pt x="5204375" y="1364566"/>
                  </a:lnTo>
                  <a:lnTo>
                    <a:pt x="5204375" y="3823490"/>
                  </a:lnTo>
                  <a:lnTo>
                    <a:pt x="5986807" y="3821054"/>
                  </a:lnTo>
                  <a:lnTo>
                    <a:pt x="6378694" y="4825219"/>
                  </a:lnTo>
                  <a:lnTo>
                    <a:pt x="0" y="4833928"/>
                  </a:lnTo>
                  <a:lnTo>
                    <a:pt x="391886" y="3838470"/>
                  </a:lnTo>
                  <a:lnTo>
                    <a:pt x="1110677" y="3836233"/>
                  </a:lnTo>
                  <a:lnTo>
                    <a:pt x="1110677" y="1364566"/>
                  </a:lnTo>
                  <a:lnTo>
                    <a:pt x="1110677" y="1223889"/>
                  </a:lnTo>
                  <a:lnTo>
                    <a:pt x="1117899" y="1223889"/>
                  </a:lnTo>
                  <a:lnTo>
                    <a:pt x="1138400" y="1089558"/>
                  </a:lnTo>
                  <a:cubicBezTo>
                    <a:pt x="1265641" y="467749"/>
                    <a:pt x="1815818" y="0"/>
                    <a:pt x="24752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2402202" y="-2875380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2294991" y="2284067"/>
            <a:ext cx="792000" cy="792000"/>
            <a:chOff x="6188755" y="-3502593"/>
            <a:chExt cx="792000" cy="792000"/>
          </a:xfrm>
        </p:grpSpPr>
        <p:sp>
          <p:nvSpPr>
            <p:cNvPr id="138" name="Freeform 137"/>
            <p:cNvSpPr/>
            <p:nvPr/>
          </p:nvSpPr>
          <p:spPr>
            <a:xfrm>
              <a:off x="6202315" y="-3403979"/>
              <a:ext cx="764880" cy="594772"/>
            </a:xfrm>
            <a:custGeom>
              <a:avLst/>
              <a:gdLst>
                <a:gd name="connsiteX0" fmla="*/ 2274769 w 4195772"/>
                <a:gd name="connsiteY0" fmla="*/ 965981 h 3262644"/>
                <a:gd name="connsiteX1" fmla="*/ 3137238 w 4195772"/>
                <a:gd name="connsiteY1" fmla="*/ 2047966 h 3262644"/>
                <a:gd name="connsiteX2" fmla="*/ 3313282 w 4195772"/>
                <a:gd name="connsiteY2" fmla="*/ 2490521 h 3262644"/>
                <a:gd name="connsiteX3" fmla="*/ 3195647 w 4195772"/>
                <a:gd name="connsiteY3" fmla="*/ 3003337 h 3262644"/>
                <a:gd name="connsiteX4" fmla="*/ 3600733 w 4195772"/>
                <a:gd name="connsiteY4" fmla="*/ 3003337 h 3262644"/>
                <a:gd name="connsiteX5" fmla="*/ 3643952 w 4195772"/>
                <a:gd name="connsiteY5" fmla="*/ 3046556 h 3262644"/>
                <a:gd name="connsiteX6" fmla="*/ 3643952 w 4195772"/>
                <a:gd name="connsiteY6" fmla="*/ 3219425 h 3262644"/>
                <a:gd name="connsiteX7" fmla="*/ 3600733 w 4195772"/>
                <a:gd name="connsiteY7" fmla="*/ 3262644 h 3262644"/>
                <a:gd name="connsiteX8" fmla="*/ 3593647 w 4195772"/>
                <a:gd name="connsiteY8" fmla="*/ 3262644 h 3262644"/>
                <a:gd name="connsiteX9" fmla="*/ 2633318 w 4195772"/>
                <a:gd name="connsiteY9" fmla="*/ 3262644 h 3262644"/>
                <a:gd name="connsiteX10" fmla="*/ 2633318 w 4195772"/>
                <a:gd name="connsiteY10" fmla="*/ 3091464 h 3262644"/>
                <a:gd name="connsiteX11" fmla="*/ 2631431 w 4195772"/>
                <a:gd name="connsiteY11" fmla="*/ 3091464 h 3262644"/>
                <a:gd name="connsiteX12" fmla="*/ 2631431 w 4195772"/>
                <a:gd name="connsiteY12" fmla="*/ 3050053 h 3262644"/>
                <a:gd name="connsiteX13" fmla="*/ 2701177 w 4195772"/>
                <a:gd name="connsiteY13" fmla="*/ 3050053 h 3262644"/>
                <a:gd name="connsiteX14" fmla="*/ 2685257 w 4195772"/>
                <a:gd name="connsiteY14" fmla="*/ 3015587 h 3262644"/>
                <a:gd name="connsiteX15" fmla="*/ 2318154 w 4195772"/>
                <a:gd name="connsiteY15" fmla="*/ 2299482 h 3262644"/>
                <a:gd name="connsiteX16" fmla="*/ 2632479 w 4195772"/>
                <a:gd name="connsiteY16" fmla="*/ 1699407 h 3262644"/>
                <a:gd name="connsiteX17" fmla="*/ 1918104 w 4195772"/>
                <a:gd name="connsiteY17" fmla="*/ 2242332 h 3262644"/>
                <a:gd name="connsiteX18" fmla="*/ 2062328 w 4195772"/>
                <a:gd name="connsiteY18" fmla="*/ 2990668 h 3262644"/>
                <a:gd name="connsiteX19" fmla="*/ 2078606 w 4195772"/>
                <a:gd name="connsiteY19" fmla="*/ 3061482 h 3262644"/>
                <a:gd name="connsiteX20" fmla="*/ 1846571 w 4195772"/>
                <a:gd name="connsiteY20" fmla="*/ 3061482 h 3262644"/>
                <a:gd name="connsiteX21" fmla="*/ 1846571 w 4195772"/>
                <a:gd name="connsiteY21" fmla="*/ 3091464 h 3262644"/>
                <a:gd name="connsiteX22" fmla="*/ 1844593 w 4195772"/>
                <a:gd name="connsiteY22" fmla="*/ 3091464 h 3262644"/>
                <a:gd name="connsiteX23" fmla="*/ 1844593 w 4195772"/>
                <a:gd name="connsiteY23" fmla="*/ 3262644 h 3262644"/>
                <a:gd name="connsiteX24" fmla="*/ 43219 w 4195772"/>
                <a:gd name="connsiteY24" fmla="*/ 3262644 h 3262644"/>
                <a:gd name="connsiteX25" fmla="*/ 0 w 4195772"/>
                <a:gd name="connsiteY25" fmla="*/ 3219425 h 3262644"/>
                <a:gd name="connsiteX26" fmla="*/ 0 w 4195772"/>
                <a:gd name="connsiteY26" fmla="*/ 3046556 h 3262644"/>
                <a:gd name="connsiteX27" fmla="*/ 43219 w 4195772"/>
                <a:gd name="connsiteY27" fmla="*/ 3003337 h 3262644"/>
                <a:gd name="connsiteX28" fmla="*/ 326790 w 4195772"/>
                <a:gd name="connsiteY28" fmla="*/ 3003337 h 3262644"/>
                <a:gd name="connsiteX29" fmla="*/ 587838 w 4195772"/>
                <a:gd name="connsiteY29" fmla="*/ 1865329 h 3262644"/>
                <a:gd name="connsiteX30" fmla="*/ 906568 w 4195772"/>
                <a:gd name="connsiteY30" fmla="*/ 1594035 h 3262644"/>
                <a:gd name="connsiteX31" fmla="*/ 2274769 w 4195772"/>
                <a:gd name="connsiteY31" fmla="*/ 965981 h 3262644"/>
                <a:gd name="connsiteX32" fmla="*/ 2512194 w 4195772"/>
                <a:gd name="connsiteY32" fmla="*/ 0 h 3262644"/>
                <a:gd name="connsiteX33" fmla="*/ 2555539 w 4195772"/>
                <a:gd name="connsiteY33" fmla="*/ 22305 h 3262644"/>
                <a:gd name="connsiteX34" fmla="*/ 4180676 w 4195772"/>
                <a:gd name="connsiteY34" fmla="*/ 1940516 h 3262644"/>
                <a:gd name="connsiteX35" fmla="*/ 4173252 w 4195772"/>
                <a:gd name="connsiteY35" fmla="*/ 2030282 h 3262644"/>
                <a:gd name="connsiteX36" fmla="*/ 3978877 w 4195772"/>
                <a:gd name="connsiteY36" fmla="*/ 2194958 h 3262644"/>
                <a:gd name="connsiteX37" fmla="*/ 3889111 w 4195772"/>
                <a:gd name="connsiteY37" fmla="*/ 2187534 h 3262644"/>
                <a:gd name="connsiteX38" fmla="*/ 2423033 w 4195772"/>
                <a:gd name="connsiteY38" fmla="*/ 457067 h 3262644"/>
                <a:gd name="connsiteX39" fmla="*/ 382262 w 4195772"/>
                <a:gd name="connsiteY39" fmla="*/ 1455685 h 3262644"/>
                <a:gd name="connsiteX40" fmla="*/ 297059 w 4195772"/>
                <a:gd name="connsiteY40" fmla="*/ 1426470 h 3262644"/>
                <a:gd name="connsiteX41" fmla="*/ 185085 w 4195772"/>
                <a:gd name="connsiteY41" fmla="*/ 1197643 h 3262644"/>
                <a:gd name="connsiteX42" fmla="*/ 214299 w 4195772"/>
                <a:gd name="connsiteY42" fmla="*/ 1112440 h 3262644"/>
                <a:gd name="connsiteX43" fmla="*/ 1043207 w 4195772"/>
                <a:gd name="connsiteY43" fmla="*/ 706828 h 3262644"/>
                <a:gd name="connsiteX44" fmla="*/ 1132709 w 4195772"/>
                <a:gd name="connsiteY44" fmla="*/ 295155 h 3262644"/>
                <a:gd name="connsiteX45" fmla="*/ 1135869 w 4195772"/>
                <a:gd name="connsiteY45" fmla="*/ 290602 h 3262644"/>
                <a:gd name="connsiteX46" fmla="*/ 1172191 w 4195772"/>
                <a:gd name="connsiteY46" fmla="*/ 123533 h 3262644"/>
                <a:gd name="connsiteX47" fmla="*/ 1303394 w 4195772"/>
                <a:gd name="connsiteY47" fmla="*/ 39192 h 3262644"/>
                <a:gd name="connsiteX48" fmla="*/ 1734468 w 4195772"/>
                <a:gd name="connsiteY48" fmla="*/ 132911 h 3262644"/>
                <a:gd name="connsiteX49" fmla="*/ 1818810 w 4195772"/>
                <a:gd name="connsiteY49" fmla="*/ 264114 h 3262644"/>
                <a:gd name="connsiteX50" fmla="*/ 1803437 w 4195772"/>
                <a:gd name="connsiteY50" fmla="*/ 334821 h 3262644"/>
                <a:gd name="connsiteX51" fmla="*/ 2472514 w 4195772"/>
                <a:gd name="connsiteY51" fmla="*/ 7420 h 3262644"/>
                <a:gd name="connsiteX52" fmla="*/ 2485457 w 4195772"/>
                <a:gd name="connsiteY52" fmla="*/ 4033 h 3262644"/>
                <a:gd name="connsiteX53" fmla="*/ 2487924 w 4195772"/>
                <a:gd name="connsiteY53" fmla="*/ 2674 h 3262644"/>
                <a:gd name="connsiteX54" fmla="*/ 2492639 w 4195772"/>
                <a:gd name="connsiteY54" fmla="*/ 2154 h 3262644"/>
                <a:gd name="connsiteX55" fmla="*/ 2496982 w 4195772"/>
                <a:gd name="connsiteY55" fmla="*/ 1019 h 3262644"/>
                <a:gd name="connsiteX56" fmla="*/ 2499624 w 4195772"/>
                <a:gd name="connsiteY56" fmla="*/ 1385 h 326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195772" h="3262644">
                  <a:moveTo>
                    <a:pt x="2274769" y="965981"/>
                  </a:moveTo>
                  <a:cubicBezTo>
                    <a:pt x="2552734" y="1329817"/>
                    <a:pt x="2930710" y="1760330"/>
                    <a:pt x="3137238" y="2047966"/>
                  </a:cubicBezTo>
                  <a:cubicBezTo>
                    <a:pt x="3259438" y="2208562"/>
                    <a:pt x="3350053" y="2330221"/>
                    <a:pt x="3313282" y="2490521"/>
                  </a:cubicBezTo>
                  <a:lnTo>
                    <a:pt x="3195647" y="3003337"/>
                  </a:lnTo>
                  <a:lnTo>
                    <a:pt x="3600733" y="3003337"/>
                  </a:lnTo>
                  <a:cubicBezTo>
                    <a:pt x="3624602" y="3003337"/>
                    <a:pt x="3643952" y="3022687"/>
                    <a:pt x="3643952" y="3046556"/>
                  </a:cubicBezTo>
                  <a:lnTo>
                    <a:pt x="3643952" y="3219425"/>
                  </a:lnTo>
                  <a:cubicBezTo>
                    <a:pt x="3643952" y="3243294"/>
                    <a:pt x="3624602" y="3262644"/>
                    <a:pt x="3600733" y="3262644"/>
                  </a:cubicBezTo>
                  <a:lnTo>
                    <a:pt x="3593647" y="3262644"/>
                  </a:lnTo>
                  <a:lnTo>
                    <a:pt x="2633318" y="3262644"/>
                  </a:lnTo>
                  <a:lnTo>
                    <a:pt x="2633318" y="3091464"/>
                  </a:lnTo>
                  <a:lnTo>
                    <a:pt x="2631431" y="3091464"/>
                  </a:lnTo>
                  <a:lnTo>
                    <a:pt x="2631431" y="3050053"/>
                  </a:lnTo>
                  <a:lnTo>
                    <a:pt x="2701177" y="3050053"/>
                  </a:lnTo>
                  <a:lnTo>
                    <a:pt x="2685257" y="3015587"/>
                  </a:lnTo>
                  <a:cubicBezTo>
                    <a:pt x="2579298" y="2786001"/>
                    <a:pt x="2565407" y="2757873"/>
                    <a:pt x="2318154" y="2299482"/>
                  </a:cubicBezTo>
                  <a:cubicBezTo>
                    <a:pt x="2438804" y="2007382"/>
                    <a:pt x="2464204" y="1981982"/>
                    <a:pt x="2632479" y="1699407"/>
                  </a:cubicBezTo>
                  <a:lnTo>
                    <a:pt x="1918104" y="2242332"/>
                  </a:lnTo>
                  <a:cubicBezTo>
                    <a:pt x="2000059" y="2542369"/>
                    <a:pt x="2006657" y="2726941"/>
                    <a:pt x="2062328" y="2990668"/>
                  </a:cubicBezTo>
                  <a:lnTo>
                    <a:pt x="2078606" y="3061482"/>
                  </a:lnTo>
                  <a:lnTo>
                    <a:pt x="1846571" y="3061482"/>
                  </a:lnTo>
                  <a:lnTo>
                    <a:pt x="1846571" y="3091464"/>
                  </a:lnTo>
                  <a:lnTo>
                    <a:pt x="1844593" y="3091464"/>
                  </a:lnTo>
                  <a:lnTo>
                    <a:pt x="1844593" y="3262644"/>
                  </a:lnTo>
                  <a:lnTo>
                    <a:pt x="43219" y="3262644"/>
                  </a:lnTo>
                  <a:cubicBezTo>
                    <a:pt x="19350" y="3262644"/>
                    <a:pt x="0" y="3243294"/>
                    <a:pt x="0" y="3219425"/>
                  </a:cubicBezTo>
                  <a:lnTo>
                    <a:pt x="0" y="3046556"/>
                  </a:lnTo>
                  <a:cubicBezTo>
                    <a:pt x="0" y="3022687"/>
                    <a:pt x="19350" y="3003337"/>
                    <a:pt x="43219" y="3003337"/>
                  </a:cubicBezTo>
                  <a:lnTo>
                    <a:pt x="326790" y="3003337"/>
                  </a:lnTo>
                  <a:lnTo>
                    <a:pt x="587838" y="1865329"/>
                  </a:lnTo>
                  <a:cubicBezTo>
                    <a:pt x="624610" y="1705029"/>
                    <a:pt x="712931" y="1681089"/>
                    <a:pt x="906568" y="1594035"/>
                  </a:cubicBezTo>
                  <a:cubicBezTo>
                    <a:pt x="1395973" y="1360873"/>
                    <a:pt x="1947289" y="1099133"/>
                    <a:pt x="2274769" y="965981"/>
                  </a:cubicBezTo>
                  <a:close/>
                  <a:moveTo>
                    <a:pt x="2512194" y="0"/>
                  </a:moveTo>
                  <a:cubicBezTo>
                    <a:pt x="2528438" y="1345"/>
                    <a:pt x="2544170" y="8885"/>
                    <a:pt x="2555539" y="22305"/>
                  </a:cubicBezTo>
                  <a:lnTo>
                    <a:pt x="4180676" y="1940516"/>
                  </a:lnTo>
                  <a:cubicBezTo>
                    <a:pt x="4203414" y="1967354"/>
                    <a:pt x="4200089" y="2007543"/>
                    <a:pt x="4173252" y="2030282"/>
                  </a:cubicBezTo>
                  <a:lnTo>
                    <a:pt x="3978877" y="2194958"/>
                  </a:lnTo>
                  <a:cubicBezTo>
                    <a:pt x="3952038" y="2217696"/>
                    <a:pt x="3911849" y="2214373"/>
                    <a:pt x="3889111" y="2187534"/>
                  </a:cubicBezTo>
                  <a:lnTo>
                    <a:pt x="2423033" y="457067"/>
                  </a:lnTo>
                  <a:lnTo>
                    <a:pt x="382262" y="1455685"/>
                  </a:lnTo>
                  <a:cubicBezTo>
                    <a:pt x="350665" y="1471146"/>
                    <a:pt x="312520" y="1458067"/>
                    <a:pt x="297059" y="1426470"/>
                  </a:cubicBezTo>
                  <a:lnTo>
                    <a:pt x="185085" y="1197643"/>
                  </a:lnTo>
                  <a:cubicBezTo>
                    <a:pt x="169625" y="1166047"/>
                    <a:pt x="182705" y="1127900"/>
                    <a:pt x="214299" y="1112440"/>
                  </a:cubicBezTo>
                  <a:lnTo>
                    <a:pt x="1043207" y="706828"/>
                  </a:lnTo>
                  <a:lnTo>
                    <a:pt x="1132709" y="295155"/>
                  </a:lnTo>
                  <a:lnTo>
                    <a:pt x="1135869" y="290602"/>
                  </a:lnTo>
                  <a:lnTo>
                    <a:pt x="1172191" y="123533"/>
                  </a:lnTo>
                  <a:cubicBezTo>
                    <a:pt x="1185132" y="64013"/>
                    <a:pt x="1243874" y="26251"/>
                    <a:pt x="1303394" y="39192"/>
                  </a:cubicBezTo>
                  <a:lnTo>
                    <a:pt x="1734468" y="132911"/>
                  </a:lnTo>
                  <a:cubicBezTo>
                    <a:pt x="1793989" y="145851"/>
                    <a:pt x="1831750" y="204594"/>
                    <a:pt x="1818810" y="264114"/>
                  </a:cubicBezTo>
                  <a:lnTo>
                    <a:pt x="1803437" y="334821"/>
                  </a:lnTo>
                  <a:lnTo>
                    <a:pt x="2472514" y="7420"/>
                  </a:lnTo>
                  <a:lnTo>
                    <a:pt x="2485457" y="4033"/>
                  </a:lnTo>
                  <a:lnTo>
                    <a:pt x="2487924" y="2674"/>
                  </a:lnTo>
                  <a:lnTo>
                    <a:pt x="2492639" y="2154"/>
                  </a:lnTo>
                  <a:lnTo>
                    <a:pt x="2496982" y="1019"/>
                  </a:lnTo>
                  <a:lnTo>
                    <a:pt x="2499624" y="138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6188755" y="-350259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3843634" y="2353516"/>
            <a:ext cx="792000" cy="792000"/>
            <a:chOff x="2668106" y="-2297747"/>
            <a:chExt cx="792000" cy="792000"/>
          </a:xfrm>
        </p:grpSpPr>
        <p:sp>
          <p:nvSpPr>
            <p:cNvPr id="140" name="Freeform 139"/>
            <p:cNvSpPr/>
            <p:nvPr/>
          </p:nvSpPr>
          <p:spPr>
            <a:xfrm rot="215849">
              <a:off x="2715703" y="-2060368"/>
              <a:ext cx="696806" cy="317242"/>
            </a:xfrm>
            <a:custGeom>
              <a:avLst/>
              <a:gdLst>
                <a:gd name="connsiteX0" fmla="*/ 3624740 w 4654610"/>
                <a:gd name="connsiteY0" fmla="*/ 1205095 h 2119156"/>
                <a:gd name="connsiteX1" fmla="*/ 3429913 w 4654610"/>
                <a:gd name="connsiteY1" fmla="*/ 1426064 h 2119156"/>
                <a:gd name="connsiteX2" fmla="*/ 3650882 w 4654610"/>
                <a:gd name="connsiteY2" fmla="*/ 1620892 h 2119156"/>
                <a:gd name="connsiteX3" fmla="*/ 3845710 w 4654610"/>
                <a:gd name="connsiteY3" fmla="*/ 1399923 h 2119156"/>
                <a:gd name="connsiteX4" fmla="*/ 3624740 w 4654610"/>
                <a:gd name="connsiteY4" fmla="*/ 1205095 h 2119156"/>
                <a:gd name="connsiteX5" fmla="*/ 1004707 w 4654610"/>
                <a:gd name="connsiteY5" fmla="*/ 1369818 h 2119156"/>
                <a:gd name="connsiteX6" fmla="*/ 809880 w 4654610"/>
                <a:gd name="connsiteY6" fmla="*/ 1590787 h 2119156"/>
                <a:gd name="connsiteX7" fmla="*/ 1030849 w 4654610"/>
                <a:gd name="connsiteY7" fmla="*/ 1785615 h 2119156"/>
                <a:gd name="connsiteX8" fmla="*/ 1225677 w 4654610"/>
                <a:gd name="connsiteY8" fmla="*/ 1564646 h 2119156"/>
                <a:gd name="connsiteX9" fmla="*/ 1004707 w 4654610"/>
                <a:gd name="connsiteY9" fmla="*/ 1369818 h 2119156"/>
                <a:gd name="connsiteX10" fmla="*/ 2342954 w 4654610"/>
                <a:gd name="connsiteY10" fmla="*/ 267575 h 2119156"/>
                <a:gd name="connsiteX11" fmla="*/ 2367113 w 4654610"/>
                <a:gd name="connsiteY11" fmla="*/ 651827 h 2119156"/>
                <a:gd name="connsiteX12" fmla="*/ 3230157 w 4654610"/>
                <a:gd name="connsiteY12" fmla="*/ 605202 h 2119156"/>
                <a:gd name="connsiteX13" fmla="*/ 2756826 w 4654610"/>
                <a:gd name="connsiteY13" fmla="*/ 241555 h 2119156"/>
                <a:gd name="connsiteX14" fmla="*/ 1721717 w 4654610"/>
                <a:gd name="connsiteY14" fmla="*/ 306633 h 2119156"/>
                <a:gd name="connsiteX15" fmla="*/ 1745875 w 4654610"/>
                <a:gd name="connsiteY15" fmla="*/ 690884 h 2119156"/>
                <a:gd name="connsiteX16" fmla="*/ 2190167 w 4654610"/>
                <a:gd name="connsiteY16" fmla="*/ 662951 h 2119156"/>
                <a:gd name="connsiteX17" fmla="*/ 2166009 w 4654610"/>
                <a:gd name="connsiteY17" fmla="*/ 278700 h 2119156"/>
                <a:gd name="connsiteX18" fmla="*/ 888845 w 4654610"/>
                <a:gd name="connsiteY18" fmla="*/ 340050 h 2119156"/>
                <a:gd name="connsiteX19" fmla="*/ 864463 w 4654610"/>
                <a:gd name="connsiteY19" fmla="*/ 367704 h 2119156"/>
                <a:gd name="connsiteX20" fmla="*/ 869496 w 4654610"/>
                <a:gd name="connsiteY20" fmla="*/ 447756 h 2119156"/>
                <a:gd name="connsiteX21" fmla="*/ 761758 w 4654610"/>
                <a:gd name="connsiteY21" fmla="*/ 454529 h 2119156"/>
                <a:gd name="connsiteX22" fmla="*/ 733312 w 4654610"/>
                <a:gd name="connsiteY22" fmla="*/ 486792 h 2119156"/>
                <a:gd name="connsiteX23" fmla="*/ 740945 w 4654610"/>
                <a:gd name="connsiteY23" fmla="*/ 608204 h 2119156"/>
                <a:gd name="connsiteX24" fmla="*/ 773208 w 4654610"/>
                <a:gd name="connsiteY24" fmla="*/ 636650 h 2119156"/>
                <a:gd name="connsiteX25" fmla="*/ 880946 w 4654610"/>
                <a:gd name="connsiteY25" fmla="*/ 629876 h 2119156"/>
                <a:gd name="connsiteX26" fmla="*/ 898939 w 4654610"/>
                <a:gd name="connsiteY26" fmla="*/ 916062 h 2119156"/>
                <a:gd name="connsiteX27" fmla="*/ 926592 w 4654610"/>
                <a:gd name="connsiteY27" fmla="*/ 940444 h 2119156"/>
                <a:gd name="connsiteX28" fmla="*/ 1030659 w 4654610"/>
                <a:gd name="connsiteY28" fmla="*/ 933901 h 2119156"/>
                <a:gd name="connsiteX29" fmla="*/ 1055041 w 4654610"/>
                <a:gd name="connsiteY29" fmla="*/ 906248 h 2119156"/>
                <a:gd name="connsiteX30" fmla="*/ 1037048 w 4654610"/>
                <a:gd name="connsiteY30" fmla="*/ 620062 h 2119156"/>
                <a:gd name="connsiteX31" fmla="*/ 1162797 w 4654610"/>
                <a:gd name="connsiteY31" fmla="*/ 612156 h 2119156"/>
                <a:gd name="connsiteX32" fmla="*/ 1191242 w 4654610"/>
                <a:gd name="connsiteY32" fmla="*/ 579893 h 2119156"/>
                <a:gd name="connsiteX33" fmla="*/ 1183609 w 4654610"/>
                <a:gd name="connsiteY33" fmla="*/ 458481 h 2119156"/>
                <a:gd name="connsiteX34" fmla="*/ 1151347 w 4654610"/>
                <a:gd name="connsiteY34" fmla="*/ 430035 h 2119156"/>
                <a:gd name="connsiteX35" fmla="*/ 1025598 w 4654610"/>
                <a:gd name="connsiteY35" fmla="*/ 437941 h 2119156"/>
                <a:gd name="connsiteX36" fmla="*/ 1020565 w 4654610"/>
                <a:gd name="connsiteY36" fmla="*/ 357889 h 2119156"/>
                <a:gd name="connsiteX37" fmla="*/ 992912 w 4654610"/>
                <a:gd name="connsiteY37" fmla="*/ 333508 h 2119156"/>
                <a:gd name="connsiteX38" fmla="*/ 593663 w 4654610"/>
                <a:gd name="connsiteY38" fmla="*/ 129841 h 2119156"/>
                <a:gd name="connsiteX39" fmla="*/ 2650403 w 4654610"/>
                <a:gd name="connsiteY39" fmla="*/ 533 h 2119156"/>
                <a:gd name="connsiteX40" fmla="*/ 2843111 w 4654610"/>
                <a:gd name="connsiteY40" fmla="*/ 66521 h 2119156"/>
                <a:gd name="connsiteX41" fmla="*/ 2851867 w 4654610"/>
                <a:gd name="connsiteY41" fmla="*/ 77897 h 2119156"/>
                <a:gd name="connsiteX42" fmla="*/ 3752395 w 4654610"/>
                <a:gd name="connsiteY42" fmla="*/ 665650 h 2119156"/>
                <a:gd name="connsiteX43" fmla="*/ 4428797 w 4654610"/>
                <a:gd name="connsiteY43" fmla="*/ 665650 h 2119156"/>
                <a:gd name="connsiteX44" fmla="*/ 4539262 w 4654610"/>
                <a:gd name="connsiteY44" fmla="*/ 776118 h 2119156"/>
                <a:gd name="connsiteX45" fmla="*/ 4539262 w 4654610"/>
                <a:gd name="connsiteY45" fmla="*/ 1214963 h 2119156"/>
                <a:gd name="connsiteX46" fmla="*/ 4598407 w 4654610"/>
                <a:gd name="connsiteY46" fmla="*/ 1220823 h 2119156"/>
                <a:gd name="connsiteX47" fmla="*/ 4643787 w 4654610"/>
                <a:gd name="connsiteY47" fmla="*/ 1260834 h 2119156"/>
                <a:gd name="connsiteX48" fmla="*/ 4654525 w 4654610"/>
                <a:gd name="connsiteY48" fmla="*/ 1431609 h 2119156"/>
                <a:gd name="connsiteX49" fmla="*/ 4614512 w 4654610"/>
                <a:gd name="connsiteY49" fmla="*/ 1476989 h 2119156"/>
                <a:gd name="connsiteX50" fmla="*/ 4170070 w 4654610"/>
                <a:gd name="connsiteY50" fmla="*/ 1504931 h 2119156"/>
                <a:gd name="connsiteX51" fmla="*/ 4148924 w 4654610"/>
                <a:gd name="connsiteY51" fmla="*/ 1592021 h 2119156"/>
                <a:gd name="connsiteX52" fmla="*/ 3671782 w 4654610"/>
                <a:gd name="connsiteY52" fmla="*/ 1953347 h 2119156"/>
                <a:gd name="connsiteX53" fmla="*/ 3153143 w 4654610"/>
                <a:gd name="connsiteY53" fmla="*/ 1654627 h 2119156"/>
                <a:gd name="connsiteX54" fmla="*/ 3121256 w 4654610"/>
                <a:gd name="connsiteY54" fmla="*/ 1570871 h 2119156"/>
                <a:gd name="connsiteX55" fmla="*/ 2812056 w 4654610"/>
                <a:gd name="connsiteY55" fmla="*/ 1590310 h 2119156"/>
                <a:gd name="connsiteX56" fmla="*/ 2739370 w 4654610"/>
                <a:gd name="connsiteY56" fmla="*/ 1596000 h 2119156"/>
                <a:gd name="connsiteX57" fmla="*/ 2729116 w 4654610"/>
                <a:gd name="connsiteY57" fmla="*/ 1595525 h 2119156"/>
                <a:gd name="connsiteX58" fmla="*/ 1550037 w 4654610"/>
                <a:gd name="connsiteY58" fmla="*/ 1669654 h 2119156"/>
                <a:gd name="connsiteX59" fmla="*/ 1528891 w 4654610"/>
                <a:gd name="connsiteY59" fmla="*/ 1756744 h 2119156"/>
                <a:gd name="connsiteX60" fmla="*/ 1051749 w 4654610"/>
                <a:gd name="connsiteY60" fmla="*/ 2118071 h 2119156"/>
                <a:gd name="connsiteX61" fmla="*/ 533110 w 4654610"/>
                <a:gd name="connsiteY61" fmla="*/ 1819349 h 2119156"/>
                <a:gd name="connsiteX62" fmla="*/ 501223 w 4654610"/>
                <a:gd name="connsiteY62" fmla="*/ 1735594 h 2119156"/>
                <a:gd name="connsiteX63" fmla="*/ 97560 w 4654610"/>
                <a:gd name="connsiteY63" fmla="*/ 1760972 h 2119156"/>
                <a:gd name="connsiteX64" fmla="*/ 18786 w 4654610"/>
                <a:gd name="connsiteY64" fmla="*/ 1691517 h 2119156"/>
                <a:gd name="connsiteX65" fmla="*/ 148 w 4654610"/>
                <a:gd name="connsiteY65" fmla="*/ 1395065 h 2119156"/>
                <a:gd name="connsiteX66" fmla="*/ 69603 w 4654610"/>
                <a:gd name="connsiteY66" fmla="*/ 1316291 h 2119156"/>
                <a:gd name="connsiteX67" fmla="*/ 139087 w 4654610"/>
                <a:gd name="connsiteY67" fmla="*/ 1311923 h 2119156"/>
                <a:gd name="connsiteX68" fmla="*/ 149971 w 4654610"/>
                <a:gd name="connsiteY68" fmla="*/ 1234154 h 2119156"/>
                <a:gd name="connsiteX69" fmla="*/ 291068 w 4654610"/>
                <a:gd name="connsiteY69" fmla="*/ 415528 h 2119156"/>
                <a:gd name="connsiteX70" fmla="*/ 593663 w 4654610"/>
                <a:gd name="connsiteY70" fmla="*/ 129841 h 2119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654610" h="2119156">
                  <a:moveTo>
                    <a:pt x="3624740" y="1205095"/>
                  </a:moveTo>
                  <a:cubicBezTo>
                    <a:pt x="3509921" y="1212314"/>
                    <a:pt x="3422694" y="1311245"/>
                    <a:pt x="3429913" y="1426064"/>
                  </a:cubicBezTo>
                  <a:cubicBezTo>
                    <a:pt x="3437131" y="1540884"/>
                    <a:pt x="3536063" y="1628111"/>
                    <a:pt x="3650882" y="1620892"/>
                  </a:cubicBezTo>
                  <a:cubicBezTo>
                    <a:pt x="3765701" y="1613673"/>
                    <a:pt x="3852928" y="1514742"/>
                    <a:pt x="3845710" y="1399923"/>
                  </a:cubicBezTo>
                  <a:cubicBezTo>
                    <a:pt x="3838491" y="1285104"/>
                    <a:pt x="3739560" y="1197876"/>
                    <a:pt x="3624740" y="1205095"/>
                  </a:cubicBezTo>
                  <a:close/>
                  <a:moveTo>
                    <a:pt x="1004707" y="1369818"/>
                  </a:moveTo>
                  <a:cubicBezTo>
                    <a:pt x="889888" y="1377037"/>
                    <a:pt x="802661" y="1475968"/>
                    <a:pt x="809880" y="1590787"/>
                  </a:cubicBezTo>
                  <a:cubicBezTo>
                    <a:pt x="817098" y="1705607"/>
                    <a:pt x="916029" y="1792834"/>
                    <a:pt x="1030849" y="1785615"/>
                  </a:cubicBezTo>
                  <a:cubicBezTo>
                    <a:pt x="1145668" y="1778396"/>
                    <a:pt x="1232895" y="1679465"/>
                    <a:pt x="1225677" y="1564646"/>
                  </a:cubicBezTo>
                  <a:cubicBezTo>
                    <a:pt x="1218458" y="1449827"/>
                    <a:pt x="1119527" y="1362599"/>
                    <a:pt x="1004707" y="1369818"/>
                  </a:cubicBezTo>
                  <a:close/>
                  <a:moveTo>
                    <a:pt x="2342954" y="267575"/>
                  </a:moveTo>
                  <a:lnTo>
                    <a:pt x="2367113" y="651827"/>
                  </a:lnTo>
                  <a:lnTo>
                    <a:pt x="3230157" y="605202"/>
                  </a:lnTo>
                  <a:lnTo>
                    <a:pt x="2756826" y="241555"/>
                  </a:lnTo>
                  <a:close/>
                  <a:moveTo>
                    <a:pt x="1721717" y="306633"/>
                  </a:moveTo>
                  <a:lnTo>
                    <a:pt x="1745875" y="690884"/>
                  </a:lnTo>
                  <a:lnTo>
                    <a:pt x="2190167" y="662951"/>
                  </a:lnTo>
                  <a:lnTo>
                    <a:pt x="2166009" y="278700"/>
                  </a:lnTo>
                  <a:close/>
                  <a:moveTo>
                    <a:pt x="888845" y="340050"/>
                  </a:moveTo>
                  <a:cubicBezTo>
                    <a:pt x="874475" y="340954"/>
                    <a:pt x="863560" y="353334"/>
                    <a:pt x="864463" y="367704"/>
                  </a:cubicBezTo>
                  <a:lnTo>
                    <a:pt x="869496" y="447756"/>
                  </a:lnTo>
                  <a:lnTo>
                    <a:pt x="761758" y="454529"/>
                  </a:lnTo>
                  <a:cubicBezTo>
                    <a:pt x="744994" y="455583"/>
                    <a:pt x="732258" y="470028"/>
                    <a:pt x="733312" y="486792"/>
                  </a:cubicBezTo>
                  <a:lnTo>
                    <a:pt x="740945" y="608204"/>
                  </a:lnTo>
                  <a:cubicBezTo>
                    <a:pt x="741999" y="624968"/>
                    <a:pt x="756444" y="637704"/>
                    <a:pt x="773208" y="636650"/>
                  </a:cubicBezTo>
                  <a:lnTo>
                    <a:pt x="880946" y="629876"/>
                  </a:lnTo>
                  <a:lnTo>
                    <a:pt x="898939" y="916062"/>
                  </a:lnTo>
                  <a:cubicBezTo>
                    <a:pt x="899842" y="930432"/>
                    <a:pt x="912223" y="941347"/>
                    <a:pt x="926592" y="940444"/>
                  </a:cubicBezTo>
                  <a:lnTo>
                    <a:pt x="1030659" y="933901"/>
                  </a:lnTo>
                  <a:cubicBezTo>
                    <a:pt x="1045028" y="932998"/>
                    <a:pt x="1055944" y="920617"/>
                    <a:pt x="1055041" y="906248"/>
                  </a:cubicBezTo>
                  <a:lnTo>
                    <a:pt x="1037048" y="620062"/>
                  </a:lnTo>
                  <a:lnTo>
                    <a:pt x="1162797" y="612156"/>
                  </a:lnTo>
                  <a:cubicBezTo>
                    <a:pt x="1179561" y="611102"/>
                    <a:pt x="1192296" y="596657"/>
                    <a:pt x="1191242" y="579893"/>
                  </a:cubicBezTo>
                  <a:lnTo>
                    <a:pt x="1183609" y="458481"/>
                  </a:lnTo>
                  <a:cubicBezTo>
                    <a:pt x="1182555" y="441717"/>
                    <a:pt x="1168111" y="428982"/>
                    <a:pt x="1151347" y="430035"/>
                  </a:cubicBezTo>
                  <a:lnTo>
                    <a:pt x="1025598" y="437941"/>
                  </a:lnTo>
                  <a:lnTo>
                    <a:pt x="1020565" y="357889"/>
                  </a:lnTo>
                  <a:cubicBezTo>
                    <a:pt x="1019662" y="343520"/>
                    <a:pt x="1007281" y="332604"/>
                    <a:pt x="992912" y="333508"/>
                  </a:cubicBezTo>
                  <a:close/>
                  <a:moveTo>
                    <a:pt x="593663" y="129841"/>
                  </a:moveTo>
                  <a:lnTo>
                    <a:pt x="2650403" y="533"/>
                  </a:lnTo>
                  <a:cubicBezTo>
                    <a:pt x="2723750" y="-4079"/>
                    <a:pt x="2792022" y="21476"/>
                    <a:pt x="2843111" y="66521"/>
                  </a:cubicBezTo>
                  <a:lnTo>
                    <a:pt x="2851867" y="77897"/>
                  </a:lnTo>
                  <a:lnTo>
                    <a:pt x="3752395" y="665650"/>
                  </a:lnTo>
                  <a:lnTo>
                    <a:pt x="4428797" y="665650"/>
                  </a:lnTo>
                  <a:cubicBezTo>
                    <a:pt x="4489804" y="665650"/>
                    <a:pt x="4539265" y="715108"/>
                    <a:pt x="4539262" y="776118"/>
                  </a:cubicBezTo>
                  <a:lnTo>
                    <a:pt x="4539262" y="1214963"/>
                  </a:lnTo>
                  <a:lnTo>
                    <a:pt x="4598407" y="1220823"/>
                  </a:lnTo>
                  <a:cubicBezTo>
                    <a:pt x="4621987" y="1219340"/>
                    <a:pt x="4642308" y="1237253"/>
                    <a:pt x="4643787" y="1260834"/>
                  </a:cubicBezTo>
                  <a:lnTo>
                    <a:pt x="4654525" y="1431609"/>
                  </a:lnTo>
                  <a:cubicBezTo>
                    <a:pt x="4656006" y="1455189"/>
                    <a:pt x="4638094" y="1475506"/>
                    <a:pt x="4614512" y="1476989"/>
                  </a:cubicBezTo>
                  <a:lnTo>
                    <a:pt x="4170070" y="1504931"/>
                  </a:lnTo>
                  <a:lnTo>
                    <a:pt x="4148924" y="1592021"/>
                  </a:lnTo>
                  <a:cubicBezTo>
                    <a:pt x="4079087" y="1791120"/>
                    <a:pt x="3895605" y="1939276"/>
                    <a:pt x="3671782" y="1953347"/>
                  </a:cubicBezTo>
                  <a:cubicBezTo>
                    <a:pt x="3447960" y="1967419"/>
                    <a:pt x="3247366" y="1843411"/>
                    <a:pt x="3153143" y="1654627"/>
                  </a:cubicBezTo>
                  <a:lnTo>
                    <a:pt x="3121256" y="1570871"/>
                  </a:lnTo>
                  <a:lnTo>
                    <a:pt x="2812056" y="1590310"/>
                  </a:lnTo>
                  <a:cubicBezTo>
                    <a:pt x="2800266" y="1591051"/>
                    <a:pt x="2768437" y="1595092"/>
                    <a:pt x="2739370" y="1596000"/>
                  </a:cubicBezTo>
                  <a:lnTo>
                    <a:pt x="2729116" y="1595525"/>
                  </a:lnTo>
                  <a:lnTo>
                    <a:pt x="1550037" y="1669654"/>
                  </a:lnTo>
                  <a:lnTo>
                    <a:pt x="1528891" y="1756744"/>
                  </a:lnTo>
                  <a:cubicBezTo>
                    <a:pt x="1459054" y="1955843"/>
                    <a:pt x="1275572" y="2103999"/>
                    <a:pt x="1051749" y="2118071"/>
                  </a:cubicBezTo>
                  <a:cubicBezTo>
                    <a:pt x="827927" y="2132142"/>
                    <a:pt x="627333" y="2008134"/>
                    <a:pt x="533110" y="1819349"/>
                  </a:cubicBezTo>
                  <a:lnTo>
                    <a:pt x="501223" y="1735594"/>
                  </a:lnTo>
                  <a:lnTo>
                    <a:pt x="97560" y="1760972"/>
                  </a:lnTo>
                  <a:cubicBezTo>
                    <a:pt x="56628" y="1763546"/>
                    <a:pt x="21360" y="1732449"/>
                    <a:pt x="18786" y="1691517"/>
                  </a:cubicBezTo>
                  <a:lnTo>
                    <a:pt x="148" y="1395065"/>
                  </a:lnTo>
                  <a:cubicBezTo>
                    <a:pt x="-2425" y="1354133"/>
                    <a:pt x="28671" y="1318864"/>
                    <a:pt x="69603" y="1316291"/>
                  </a:cubicBezTo>
                  <a:lnTo>
                    <a:pt x="139087" y="1311923"/>
                  </a:lnTo>
                  <a:lnTo>
                    <a:pt x="149971" y="1234154"/>
                  </a:lnTo>
                  <a:cubicBezTo>
                    <a:pt x="205681" y="837708"/>
                    <a:pt x="218285" y="775876"/>
                    <a:pt x="291068" y="415528"/>
                  </a:cubicBezTo>
                  <a:cubicBezTo>
                    <a:pt x="357476" y="138326"/>
                    <a:pt x="446970" y="139064"/>
                    <a:pt x="593663" y="1298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2668106" y="-2297747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3099773" y="3003886"/>
            <a:ext cx="792000" cy="792000"/>
            <a:chOff x="2511956" y="-4061125"/>
            <a:chExt cx="792000" cy="792000"/>
          </a:xfrm>
        </p:grpSpPr>
        <p:sp>
          <p:nvSpPr>
            <p:cNvPr id="136" name="Freeform 135"/>
            <p:cNvSpPr/>
            <p:nvPr/>
          </p:nvSpPr>
          <p:spPr>
            <a:xfrm rot="17954429">
              <a:off x="2566338" y="-4014144"/>
              <a:ext cx="683237" cy="698039"/>
            </a:xfrm>
            <a:custGeom>
              <a:avLst/>
              <a:gdLst>
                <a:gd name="connsiteX0" fmla="*/ 1117677 w 3542052"/>
                <a:gd name="connsiteY0" fmla="*/ 2085176 h 3618787"/>
                <a:gd name="connsiteX1" fmla="*/ 1067602 w 3542052"/>
                <a:gd name="connsiteY1" fmla="*/ 2113786 h 3618787"/>
                <a:gd name="connsiteX2" fmla="*/ 895200 w 3542052"/>
                <a:gd name="connsiteY2" fmla="*/ 2213023 h 3618787"/>
                <a:gd name="connsiteX3" fmla="*/ 897046 w 3542052"/>
                <a:gd name="connsiteY3" fmla="*/ 2167618 h 3618787"/>
                <a:gd name="connsiteX4" fmla="*/ 962880 w 3542052"/>
                <a:gd name="connsiteY4" fmla="*/ 2074724 h 3618787"/>
                <a:gd name="connsiteX5" fmla="*/ 1070020 w 3542052"/>
                <a:gd name="connsiteY5" fmla="*/ 2070961 h 3618787"/>
                <a:gd name="connsiteX6" fmla="*/ 1787475 w 3542052"/>
                <a:gd name="connsiteY6" fmla="*/ 1904760 h 3618787"/>
                <a:gd name="connsiteX7" fmla="*/ 1786815 w 3542052"/>
                <a:gd name="connsiteY7" fmla="*/ 1906799 h 3618787"/>
                <a:gd name="connsiteX8" fmla="*/ 1731207 w 3542052"/>
                <a:gd name="connsiteY8" fmla="*/ 1999374 h 3618787"/>
                <a:gd name="connsiteX9" fmla="*/ 1548048 w 3542052"/>
                <a:gd name="connsiteY9" fmla="*/ 2047327 h 3618787"/>
                <a:gd name="connsiteX10" fmla="*/ 1525001 w 3542052"/>
                <a:gd name="connsiteY10" fmla="*/ 2041498 h 3618787"/>
                <a:gd name="connsiteX11" fmla="*/ 1599161 w 3542052"/>
                <a:gd name="connsiteY11" fmla="*/ 2002849 h 3618787"/>
                <a:gd name="connsiteX12" fmla="*/ 1782165 w 3542052"/>
                <a:gd name="connsiteY12" fmla="*/ 1907523 h 3618787"/>
                <a:gd name="connsiteX13" fmla="*/ 2364208 w 3542052"/>
                <a:gd name="connsiteY13" fmla="*/ 1369218 h 3618787"/>
                <a:gd name="connsiteX14" fmla="*/ 2276690 w 3542052"/>
                <a:gd name="connsiteY14" fmla="*/ 1420459 h 3618787"/>
                <a:gd name="connsiteX15" fmla="*/ 2106735 w 3542052"/>
                <a:gd name="connsiteY15" fmla="*/ 1518292 h 3618787"/>
                <a:gd name="connsiteX16" fmla="*/ 2128462 w 3542052"/>
                <a:gd name="connsiteY16" fmla="*/ 1477628 h 3618787"/>
                <a:gd name="connsiteX17" fmla="*/ 2239907 w 3542052"/>
                <a:gd name="connsiteY17" fmla="*/ 1387124 h 3618787"/>
                <a:gd name="connsiteX18" fmla="*/ 2344016 w 3542052"/>
                <a:gd name="connsiteY18" fmla="*/ 1365926 h 3618787"/>
                <a:gd name="connsiteX19" fmla="*/ 2931873 w 3542052"/>
                <a:gd name="connsiteY19" fmla="*/ 1177581 h 3618787"/>
                <a:gd name="connsiteX20" fmla="*/ 2797370 w 3542052"/>
                <a:gd name="connsiteY20" fmla="*/ 1112747 h 3618787"/>
                <a:gd name="connsiteX21" fmla="*/ 2617457 w 3542052"/>
                <a:gd name="connsiteY21" fmla="*/ 1220139 h 3618787"/>
                <a:gd name="connsiteX22" fmla="*/ 2530610 w 3542052"/>
                <a:gd name="connsiteY22" fmla="*/ 1147473 h 3618787"/>
                <a:gd name="connsiteX23" fmla="*/ 2149355 w 3542052"/>
                <a:gd name="connsiteY23" fmla="*/ 1137626 h 3618787"/>
                <a:gd name="connsiteX24" fmla="*/ 1873674 w 3542052"/>
                <a:gd name="connsiteY24" fmla="*/ 1544384 h 3618787"/>
                <a:gd name="connsiteX25" fmla="*/ 1849907 w 3542052"/>
                <a:gd name="connsiteY25" fmla="*/ 1666131 h 3618787"/>
                <a:gd name="connsiteX26" fmla="*/ 1690278 w 3542052"/>
                <a:gd name="connsiteY26" fmla="*/ 1758019 h 3618787"/>
                <a:gd name="connsiteX27" fmla="*/ 1322966 w 3542052"/>
                <a:gd name="connsiteY27" fmla="*/ 1967883 h 3618787"/>
                <a:gd name="connsiteX28" fmla="*/ 1306177 w 3542052"/>
                <a:gd name="connsiteY28" fmla="*/ 1961000 h 3618787"/>
                <a:gd name="connsiteX29" fmla="*/ 848877 w 3542052"/>
                <a:gd name="connsiteY29" fmla="*/ 1939325 h 3618787"/>
                <a:gd name="connsiteX30" fmla="*/ 776454 w 3542052"/>
                <a:gd name="connsiteY30" fmla="*/ 2264587 h 3618787"/>
                <a:gd name="connsiteX31" fmla="*/ 781024 w 3542052"/>
                <a:gd name="connsiteY31" fmla="*/ 2278744 h 3618787"/>
                <a:gd name="connsiteX32" fmla="*/ 438130 w 3542052"/>
                <a:gd name="connsiteY32" fmla="*/ 2476118 h 3618787"/>
                <a:gd name="connsiteX33" fmla="*/ 488302 w 3542052"/>
                <a:gd name="connsiteY33" fmla="*/ 2582069 h 3618787"/>
                <a:gd name="connsiteX34" fmla="*/ 822651 w 3542052"/>
                <a:gd name="connsiteY34" fmla="*/ 2407685 h 3618787"/>
                <a:gd name="connsiteX35" fmla="*/ 828856 w 3542052"/>
                <a:gd name="connsiteY35" fmla="*/ 2426906 h 3618787"/>
                <a:gd name="connsiteX36" fmla="*/ 893994 w 3542052"/>
                <a:gd name="connsiteY36" fmla="*/ 2585400 h 3618787"/>
                <a:gd name="connsiteX37" fmla="*/ 950610 w 3542052"/>
                <a:gd name="connsiteY37" fmla="*/ 2563821 h 3618787"/>
                <a:gd name="connsiteX38" fmla="*/ 919954 w 3542052"/>
                <a:gd name="connsiteY38" fmla="*/ 2390750 h 3618787"/>
                <a:gd name="connsiteX39" fmla="*/ 913565 w 3542052"/>
                <a:gd name="connsiteY39" fmla="*/ 2360272 h 3618787"/>
                <a:gd name="connsiteX40" fmla="*/ 1128633 w 3542052"/>
                <a:gd name="connsiteY40" fmla="*/ 2248119 h 3618787"/>
                <a:gd name="connsiteX41" fmla="*/ 1304744 w 3542052"/>
                <a:gd name="connsiteY41" fmla="*/ 2156303 h 3618787"/>
                <a:gd name="connsiteX42" fmla="*/ 1374479 w 3542052"/>
                <a:gd name="connsiteY42" fmla="*/ 2183603 h 3618787"/>
                <a:gd name="connsiteX43" fmla="*/ 1861327 w 3542052"/>
                <a:gd name="connsiteY43" fmla="*/ 2183055 h 3618787"/>
                <a:gd name="connsiteX44" fmla="*/ 2014339 w 3542052"/>
                <a:gd name="connsiteY44" fmla="*/ 1880759 h 3618787"/>
                <a:gd name="connsiteX45" fmla="*/ 2035794 w 3542052"/>
                <a:gd name="connsiteY45" fmla="*/ 1775562 h 3618787"/>
                <a:gd name="connsiteX46" fmla="*/ 2066499 w 3542052"/>
                <a:gd name="connsiteY46" fmla="*/ 1759597 h 3618787"/>
                <a:gd name="connsiteX47" fmla="*/ 2357310 w 3542052"/>
                <a:gd name="connsiteY47" fmla="*/ 1608847 h 3618787"/>
                <a:gd name="connsiteX48" fmla="*/ 2510242 w 3542052"/>
                <a:gd name="connsiteY48" fmla="*/ 1529970 h 3618787"/>
                <a:gd name="connsiteX49" fmla="*/ 2516028 w 3542052"/>
                <a:gd name="connsiteY49" fmla="*/ 1559609 h 3618787"/>
                <a:gd name="connsiteX50" fmla="*/ 2454146 w 3542052"/>
                <a:gd name="connsiteY50" fmla="*/ 1872397 h 3618787"/>
                <a:gd name="connsiteX51" fmla="*/ 2678500 w 3542052"/>
                <a:gd name="connsiteY51" fmla="*/ 1896616 h 3618787"/>
                <a:gd name="connsiteX52" fmla="*/ 2743705 w 3542052"/>
                <a:gd name="connsiteY52" fmla="*/ 1519883 h 3618787"/>
                <a:gd name="connsiteX53" fmla="*/ 2722529 w 3542052"/>
                <a:gd name="connsiteY53" fmla="*/ 1420717 h 3618787"/>
                <a:gd name="connsiteX54" fmla="*/ 2784657 w 3542052"/>
                <a:gd name="connsiteY54" fmla="*/ 1388743 h 3618787"/>
                <a:gd name="connsiteX55" fmla="*/ 2902633 w 3542052"/>
                <a:gd name="connsiteY55" fmla="*/ 1327989 h 3618787"/>
                <a:gd name="connsiteX56" fmla="*/ 2931873 w 3542052"/>
                <a:gd name="connsiteY56" fmla="*/ 1177581 h 3618787"/>
                <a:gd name="connsiteX57" fmla="*/ 3519850 w 3542052"/>
                <a:gd name="connsiteY57" fmla="*/ 1221944 h 3618787"/>
                <a:gd name="connsiteX58" fmla="*/ 3453015 w 3542052"/>
                <a:gd name="connsiteY58" fmla="*/ 1458772 h 3618787"/>
                <a:gd name="connsiteX59" fmla="*/ 2785227 w 3542052"/>
                <a:gd name="connsiteY59" fmla="*/ 1832606 h 3618787"/>
                <a:gd name="connsiteX60" fmla="*/ 3429369 w 3542052"/>
                <a:gd name="connsiteY60" fmla="*/ 2245854 h 3618787"/>
                <a:gd name="connsiteX61" fmla="*/ 3481866 w 3542052"/>
                <a:gd name="connsiteY61" fmla="*/ 2486266 h 3618787"/>
                <a:gd name="connsiteX62" fmla="*/ 3106045 w 3542052"/>
                <a:gd name="connsiteY62" fmla="*/ 3072070 h 3618787"/>
                <a:gd name="connsiteX63" fmla="*/ 2865632 w 3542052"/>
                <a:gd name="connsiteY63" fmla="*/ 3124567 h 3618787"/>
                <a:gd name="connsiteX64" fmla="*/ 2297090 w 3542052"/>
                <a:gd name="connsiteY64" fmla="*/ 2759820 h 3618787"/>
                <a:gd name="connsiteX65" fmla="*/ 2297090 w 3542052"/>
                <a:gd name="connsiteY65" fmla="*/ 3444784 h 3618787"/>
                <a:gd name="connsiteX66" fmla="*/ 2123087 w 3542052"/>
                <a:gd name="connsiteY66" fmla="*/ 3618787 h 3618787"/>
                <a:gd name="connsiteX67" fmla="*/ 1427093 w 3542052"/>
                <a:gd name="connsiteY67" fmla="*/ 3618787 h 3618787"/>
                <a:gd name="connsiteX68" fmla="*/ 1253090 w 3542052"/>
                <a:gd name="connsiteY68" fmla="*/ 3444784 h 3618787"/>
                <a:gd name="connsiteX69" fmla="*/ 1253090 w 3542052"/>
                <a:gd name="connsiteY69" fmla="*/ 2690309 h 3618787"/>
                <a:gd name="connsiteX70" fmla="*/ 599006 w 3542052"/>
                <a:gd name="connsiteY70" fmla="*/ 3056471 h 3618787"/>
                <a:gd name="connsiteX71" fmla="*/ 362179 w 3542052"/>
                <a:gd name="connsiteY71" fmla="*/ 2989636 h 3618787"/>
                <a:gd name="connsiteX72" fmla="*/ 22202 w 3542052"/>
                <a:gd name="connsiteY72" fmla="*/ 2382328 h 3618787"/>
                <a:gd name="connsiteX73" fmla="*/ 89037 w 3542052"/>
                <a:gd name="connsiteY73" fmla="*/ 2145500 h 3618787"/>
                <a:gd name="connsiteX74" fmla="*/ 756825 w 3542052"/>
                <a:gd name="connsiteY74" fmla="*/ 1771666 h 3618787"/>
                <a:gd name="connsiteX75" fmla="*/ 112683 w 3542052"/>
                <a:gd name="connsiteY75" fmla="*/ 1358418 h 3618787"/>
                <a:gd name="connsiteX76" fmla="*/ 60186 w 3542052"/>
                <a:gd name="connsiteY76" fmla="*/ 1118006 h 3618787"/>
                <a:gd name="connsiteX77" fmla="*/ 436007 w 3542052"/>
                <a:gd name="connsiteY77" fmla="*/ 532202 h 3618787"/>
                <a:gd name="connsiteX78" fmla="*/ 676420 w 3542052"/>
                <a:gd name="connsiteY78" fmla="*/ 479705 h 3618787"/>
                <a:gd name="connsiteX79" fmla="*/ 1253090 w 3542052"/>
                <a:gd name="connsiteY79" fmla="*/ 849666 h 3618787"/>
                <a:gd name="connsiteX80" fmla="*/ 1253090 w 3542052"/>
                <a:gd name="connsiteY80" fmla="*/ 174003 h 3618787"/>
                <a:gd name="connsiteX81" fmla="*/ 1427093 w 3542052"/>
                <a:gd name="connsiteY81" fmla="*/ 0 h 3618787"/>
                <a:gd name="connsiteX82" fmla="*/ 2123087 w 3542052"/>
                <a:gd name="connsiteY82" fmla="*/ 0 h 3618787"/>
                <a:gd name="connsiteX83" fmla="*/ 2297090 w 3542052"/>
                <a:gd name="connsiteY83" fmla="*/ 174003 h 3618787"/>
                <a:gd name="connsiteX84" fmla="*/ 2297090 w 3542052"/>
                <a:gd name="connsiteY84" fmla="*/ 909413 h 3618787"/>
                <a:gd name="connsiteX85" fmla="*/ 2943046 w 3542052"/>
                <a:gd name="connsiteY85" fmla="*/ 547801 h 3618787"/>
                <a:gd name="connsiteX86" fmla="*/ 3179873 w 3542052"/>
                <a:gd name="connsiteY86" fmla="*/ 614636 h 361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542052" h="3618787">
                  <a:moveTo>
                    <a:pt x="1117677" y="2085176"/>
                  </a:moveTo>
                  <a:lnTo>
                    <a:pt x="1067602" y="2113786"/>
                  </a:lnTo>
                  <a:lnTo>
                    <a:pt x="895200" y="2213023"/>
                  </a:lnTo>
                  <a:lnTo>
                    <a:pt x="897046" y="2167618"/>
                  </a:lnTo>
                  <a:cubicBezTo>
                    <a:pt x="904337" y="2125021"/>
                    <a:pt x="923721" y="2091267"/>
                    <a:pt x="962880" y="2074724"/>
                  </a:cubicBezTo>
                  <a:cubicBezTo>
                    <a:pt x="984427" y="2057484"/>
                    <a:pt x="1021912" y="2058880"/>
                    <a:pt x="1070020" y="2070961"/>
                  </a:cubicBezTo>
                  <a:close/>
                  <a:moveTo>
                    <a:pt x="1787475" y="1904760"/>
                  </a:moveTo>
                  <a:lnTo>
                    <a:pt x="1786815" y="1906799"/>
                  </a:lnTo>
                  <a:cubicBezTo>
                    <a:pt x="1772047" y="1941233"/>
                    <a:pt x="1754026" y="1972499"/>
                    <a:pt x="1731207" y="1999374"/>
                  </a:cubicBezTo>
                  <a:cubicBezTo>
                    <a:pt x="1685566" y="2053122"/>
                    <a:pt x="1621700" y="2061416"/>
                    <a:pt x="1548048" y="2047327"/>
                  </a:cubicBezTo>
                  <a:lnTo>
                    <a:pt x="1525001" y="2041498"/>
                  </a:lnTo>
                  <a:lnTo>
                    <a:pt x="1599161" y="2002849"/>
                  </a:lnTo>
                  <a:cubicBezTo>
                    <a:pt x="1665462" y="1968304"/>
                    <a:pt x="1726209" y="1936660"/>
                    <a:pt x="1782165" y="1907523"/>
                  </a:cubicBezTo>
                  <a:close/>
                  <a:moveTo>
                    <a:pt x="2364208" y="1369218"/>
                  </a:moveTo>
                  <a:lnTo>
                    <a:pt x="2276690" y="1420459"/>
                  </a:lnTo>
                  <a:lnTo>
                    <a:pt x="2106735" y="1518292"/>
                  </a:lnTo>
                  <a:lnTo>
                    <a:pt x="2128462" y="1477628"/>
                  </a:lnTo>
                  <a:cubicBezTo>
                    <a:pt x="2155691" y="1434906"/>
                    <a:pt x="2191270" y="1402883"/>
                    <a:pt x="2239907" y="1387124"/>
                  </a:cubicBezTo>
                  <a:cubicBezTo>
                    <a:pt x="2265806" y="1375101"/>
                    <a:pt x="2304113" y="1365315"/>
                    <a:pt x="2344016" y="1365926"/>
                  </a:cubicBezTo>
                  <a:close/>
                  <a:moveTo>
                    <a:pt x="2931873" y="1177581"/>
                  </a:moveTo>
                  <a:cubicBezTo>
                    <a:pt x="2904647" y="1125296"/>
                    <a:pt x="2850129" y="1087273"/>
                    <a:pt x="2797370" y="1112747"/>
                  </a:cubicBezTo>
                  <a:lnTo>
                    <a:pt x="2617457" y="1220139"/>
                  </a:lnTo>
                  <a:lnTo>
                    <a:pt x="2530610" y="1147473"/>
                  </a:lnTo>
                  <a:cubicBezTo>
                    <a:pt x="2439646" y="1100599"/>
                    <a:pt x="2315381" y="1089449"/>
                    <a:pt x="2149355" y="1137626"/>
                  </a:cubicBezTo>
                  <a:cubicBezTo>
                    <a:pt x="1969265" y="1212970"/>
                    <a:pt x="1910368" y="1374658"/>
                    <a:pt x="1873674" y="1544384"/>
                  </a:cubicBezTo>
                  <a:lnTo>
                    <a:pt x="1849907" y="1666131"/>
                  </a:lnTo>
                  <a:lnTo>
                    <a:pt x="1690278" y="1758019"/>
                  </a:lnTo>
                  <a:lnTo>
                    <a:pt x="1322966" y="1967883"/>
                  </a:lnTo>
                  <a:lnTo>
                    <a:pt x="1306177" y="1961000"/>
                  </a:lnTo>
                  <a:cubicBezTo>
                    <a:pt x="1136613" y="1889455"/>
                    <a:pt x="961670" y="1820694"/>
                    <a:pt x="848877" y="1939325"/>
                  </a:cubicBezTo>
                  <a:cubicBezTo>
                    <a:pt x="762181" y="2046077"/>
                    <a:pt x="753488" y="2155703"/>
                    <a:pt x="776454" y="2264587"/>
                  </a:cubicBezTo>
                  <a:lnTo>
                    <a:pt x="781024" y="2278744"/>
                  </a:lnTo>
                  <a:lnTo>
                    <a:pt x="438130" y="2476118"/>
                  </a:lnTo>
                  <a:cubicBezTo>
                    <a:pt x="384133" y="2517517"/>
                    <a:pt x="390398" y="2592196"/>
                    <a:pt x="488302" y="2582069"/>
                  </a:cubicBezTo>
                  <a:lnTo>
                    <a:pt x="822651" y="2407685"/>
                  </a:lnTo>
                  <a:lnTo>
                    <a:pt x="828856" y="2426906"/>
                  </a:lnTo>
                  <a:cubicBezTo>
                    <a:pt x="850377" y="2480525"/>
                    <a:pt x="874020" y="2533508"/>
                    <a:pt x="893994" y="2585400"/>
                  </a:cubicBezTo>
                  <a:cubicBezTo>
                    <a:pt x="927292" y="2617114"/>
                    <a:pt x="938802" y="2607727"/>
                    <a:pt x="950610" y="2563821"/>
                  </a:cubicBezTo>
                  <a:cubicBezTo>
                    <a:pt x="956380" y="2533301"/>
                    <a:pt x="937520" y="2466197"/>
                    <a:pt x="919954" y="2390750"/>
                  </a:cubicBezTo>
                  <a:lnTo>
                    <a:pt x="913565" y="2360272"/>
                  </a:lnTo>
                  <a:lnTo>
                    <a:pt x="1128633" y="2248119"/>
                  </a:lnTo>
                  <a:lnTo>
                    <a:pt x="1304744" y="2156303"/>
                  </a:lnTo>
                  <a:lnTo>
                    <a:pt x="1374479" y="2183603"/>
                  </a:lnTo>
                  <a:cubicBezTo>
                    <a:pt x="1557818" y="2251910"/>
                    <a:pt x="1753700" y="2301978"/>
                    <a:pt x="1861327" y="2183055"/>
                  </a:cubicBezTo>
                  <a:cubicBezTo>
                    <a:pt x="1948045" y="2121086"/>
                    <a:pt x="1986485" y="2005486"/>
                    <a:pt x="2014339" y="1880759"/>
                  </a:cubicBezTo>
                  <a:lnTo>
                    <a:pt x="2035794" y="1775562"/>
                  </a:lnTo>
                  <a:lnTo>
                    <a:pt x="2066499" y="1759597"/>
                  </a:lnTo>
                  <a:cubicBezTo>
                    <a:pt x="2186005" y="1697498"/>
                    <a:pt x="2276091" y="1650815"/>
                    <a:pt x="2357310" y="1608847"/>
                  </a:cubicBezTo>
                  <a:lnTo>
                    <a:pt x="2510242" y="1529970"/>
                  </a:lnTo>
                  <a:lnTo>
                    <a:pt x="2516028" y="1559609"/>
                  </a:lnTo>
                  <a:cubicBezTo>
                    <a:pt x="2519043" y="1634439"/>
                    <a:pt x="2502021" y="1735982"/>
                    <a:pt x="2454146" y="1872397"/>
                  </a:cubicBezTo>
                  <a:cubicBezTo>
                    <a:pt x="2434161" y="1948204"/>
                    <a:pt x="2613462" y="2023137"/>
                    <a:pt x="2678500" y="1896616"/>
                  </a:cubicBezTo>
                  <a:cubicBezTo>
                    <a:pt x="2727588" y="1823424"/>
                    <a:pt x="2758838" y="1671293"/>
                    <a:pt x="2743705" y="1519883"/>
                  </a:cubicBezTo>
                  <a:lnTo>
                    <a:pt x="2722529" y="1420717"/>
                  </a:lnTo>
                  <a:lnTo>
                    <a:pt x="2784657" y="1388743"/>
                  </a:lnTo>
                  <a:cubicBezTo>
                    <a:pt x="2820908" y="1370082"/>
                    <a:pt x="2859979" y="1349963"/>
                    <a:pt x="2902633" y="1327989"/>
                  </a:cubicBezTo>
                  <a:cubicBezTo>
                    <a:pt x="2959037" y="1296414"/>
                    <a:pt x="2959101" y="1229866"/>
                    <a:pt x="2931873" y="1177581"/>
                  </a:cubicBezTo>
                  <a:close/>
                  <a:moveTo>
                    <a:pt x="3519850" y="1221944"/>
                  </a:moveTo>
                  <a:cubicBezTo>
                    <a:pt x="3566792" y="1305798"/>
                    <a:pt x="3536869" y="1411830"/>
                    <a:pt x="3453015" y="1458772"/>
                  </a:cubicBezTo>
                  <a:lnTo>
                    <a:pt x="2785227" y="1832606"/>
                  </a:lnTo>
                  <a:lnTo>
                    <a:pt x="3429369" y="2245854"/>
                  </a:lnTo>
                  <a:cubicBezTo>
                    <a:pt x="3510253" y="2297745"/>
                    <a:pt x="3533757" y="2405381"/>
                    <a:pt x="3481866" y="2486266"/>
                  </a:cubicBezTo>
                  <a:lnTo>
                    <a:pt x="3106045" y="3072070"/>
                  </a:lnTo>
                  <a:cubicBezTo>
                    <a:pt x="3054153" y="3152954"/>
                    <a:pt x="2946517" y="3176458"/>
                    <a:pt x="2865632" y="3124567"/>
                  </a:cubicBezTo>
                  <a:lnTo>
                    <a:pt x="2297090" y="2759820"/>
                  </a:lnTo>
                  <a:lnTo>
                    <a:pt x="2297090" y="3444784"/>
                  </a:lnTo>
                  <a:cubicBezTo>
                    <a:pt x="2297090" y="3540883"/>
                    <a:pt x="2219186" y="3618787"/>
                    <a:pt x="2123087" y="3618787"/>
                  </a:cubicBezTo>
                  <a:lnTo>
                    <a:pt x="1427093" y="3618787"/>
                  </a:lnTo>
                  <a:cubicBezTo>
                    <a:pt x="1330994" y="3618787"/>
                    <a:pt x="1253090" y="3540883"/>
                    <a:pt x="1253090" y="3444784"/>
                  </a:cubicBezTo>
                  <a:lnTo>
                    <a:pt x="1253090" y="2690309"/>
                  </a:lnTo>
                  <a:lnTo>
                    <a:pt x="599006" y="3056471"/>
                  </a:lnTo>
                  <a:cubicBezTo>
                    <a:pt x="515152" y="3103413"/>
                    <a:pt x="409121" y="3073490"/>
                    <a:pt x="362179" y="2989636"/>
                  </a:cubicBezTo>
                  <a:lnTo>
                    <a:pt x="22202" y="2382328"/>
                  </a:lnTo>
                  <a:cubicBezTo>
                    <a:pt x="-24740" y="2298474"/>
                    <a:pt x="5183" y="2192442"/>
                    <a:pt x="89037" y="2145500"/>
                  </a:cubicBezTo>
                  <a:lnTo>
                    <a:pt x="756825" y="1771666"/>
                  </a:lnTo>
                  <a:lnTo>
                    <a:pt x="112683" y="1358418"/>
                  </a:lnTo>
                  <a:cubicBezTo>
                    <a:pt x="31798" y="1306527"/>
                    <a:pt x="8295" y="1198890"/>
                    <a:pt x="60186" y="1118006"/>
                  </a:cubicBezTo>
                  <a:lnTo>
                    <a:pt x="436007" y="532202"/>
                  </a:lnTo>
                  <a:cubicBezTo>
                    <a:pt x="487899" y="451318"/>
                    <a:pt x="595535" y="427814"/>
                    <a:pt x="676420" y="479705"/>
                  </a:cubicBezTo>
                  <a:lnTo>
                    <a:pt x="1253090" y="849666"/>
                  </a:lnTo>
                  <a:lnTo>
                    <a:pt x="1253090" y="174003"/>
                  </a:lnTo>
                  <a:cubicBezTo>
                    <a:pt x="1253090" y="77904"/>
                    <a:pt x="1330994" y="0"/>
                    <a:pt x="1427093" y="0"/>
                  </a:cubicBezTo>
                  <a:lnTo>
                    <a:pt x="2123087" y="0"/>
                  </a:lnTo>
                  <a:cubicBezTo>
                    <a:pt x="2219186" y="0"/>
                    <a:pt x="2297090" y="77904"/>
                    <a:pt x="2297090" y="174003"/>
                  </a:cubicBezTo>
                  <a:lnTo>
                    <a:pt x="2297090" y="909413"/>
                  </a:lnTo>
                  <a:lnTo>
                    <a:pt x="2943046" y="547801"/>
                  </a:lnTo>
                  <a:cubicBezTo>
                    <a:pt x="3026899" y="500859"/>
                    <a:pt x="3132931" y="530782"/>
                    <a:pt x="3179873" y="6146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2511956" y="-4061125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243088" y="3466662"/>
            <a:ext cx="792000" cy="792000"/>
            <a:chOff x="7819994" y="-2634779"/>
            <a:chExt cx="792000" cy="792000"/>
          </a:xfrm>
        </p:grpSpPr>
        <p:sp>
          <p:nvSpPr>
            <p:cNvPr id="145" name="Freeform 144"/>
            <p:cNvSpPr/>
            <p:nvPr/>
          </p:nvSpPr>
          <p:spPr>
            <a:xfrm rot="2708566">
              <a:off x="7987231" y="-2605855"/>
              <a:ext cx="457527" cy="734153"/>
            </a:xfrm>
            <a:custGeom>
              <a:avLst/>
              <a:gdLst>
                <a:gd name="connsiteX0" fmla="*/ 1313642 w 1504452"/>
                <a:gd name="connsiteY0" fmla="*/ 9579 h 2414062"/>
                <a:gd name="connsiteX1" fmla="*/ 1337405 w 1504452"/>
                <a:gd name="connsiteY1" fmla="*/ 1 h 2414062"/>
                <a:gd name="connsiteX2" fmla="*/ 1471297 w 1504452"/>
                <a:gd name="connsiteY2" fmla="*/ 1281 h 2414062"/>
                <a:gd name="connsiteX3" fmla="*/ 1504451 w 1504452"/>
                <a:gd name="connsiteY3" fmla="*/ 35074 h 2414062"/>
                <a:gd name="connsiteX4" fmla="*/ 1494495 w 1504452"/>
                <a:gd name="connsiteY4" fmla="*/ 1076617 h 2414062"/>
                <a:gd name="connsiteX5" fmla="*/ 1460702 w 1504452"/>
                <a:gd name="connsiteY5" fmla="*/ 1109770 h 2414062"/>
                <a:gd name="connsiteX6" fmla="*/ 1326810 w 1504452"/>
                <a:gd name="connsiteY6" fmla="*/ 1108491 h 2414062"/>
                <a:gd name="connsiteX7" fmla="*/ 1293656 w 1504452"/>
                <a:gd name="connsiteY7" fmla="*/ 1074697 h 2414062"/>
                <a:gd name="connsiteX8" fmla="*/ 1303612 w 1504452"/>
                <a:gd name="connsiteY8" fmla="*/ 33154 h 2414062"/>
                <a:gd name="connsiteX9" fmla="*/ 1313642 w 1504452"/>
                <a:gd name="connsiteY9" fmla="*/ 9579 h 2414062"/>
                <a:gd name="connsiteX10" fmla="*/ 315074 w 1504452"/>
                <a:gd name="connsiteY10" fmla="*/ 130619 h 2414062"/>
                <a:gd name="connsiteX11" fmla="*/ 1204984 w 1504452"/>
                <a:gd name="connsiteY11" fmla="*/ 130619 h 2414062"/>
                <a:gd name="connsiteX12" fmla="*/ 1204984 w 1504452"/>
                <a:gd name="connsiteY12" fmla="*/ 1024408 h 2414062"/>
                <a:gd name="connsiteX13" fmla="*/ 901011 w 1504452"/>
                <a:gd name="connsiteY13" fmla="*/ 1024408 h 2414062"/>
                <a:gd name="connsiteX14" fmla="*/ 900164 w 1504452"/>
                <a:gd name="connsiteY14" fmla="*/ 1041269 h 2414062"/>
                <a:gd name="connsiteX15" fmla="*/ 881654 w 1504452"/>
                <a:gd name="connsiteY15" fmla="*/ 2342586 h 2414062"/>
                <a:gd name="connsiteX16" fmla="*/ 809647 w 1504452"/>
                <a:gd name="connsiteY16" fmla="*/ 2414062 h 2414062"/>
                <a:gd name="connsiteX17" fmla="*/ 662232 w 1504452"/>
                <a:gd name="connsiteY17" fmla="*/ 2412653 h 2414062"/>
                <a:gd name="connsiteX18" fmla="*/ 586128 w 1504452"/>
                <a:gd name="connsiteY18" fmla="*/ 2349962 h 2414062"/>
                <a:gd name="connsiteX19" fmla="*/ 644874 w 1504452"/>
                <a:gd name="connsiteY19" fmla="*/ 1069139 h 2414062"/>
                <a:gd name="connsiteX20" fmla="*/ 644793 w 1504452"/>
                <a:gd name="connsiteY20" fmla="*/ 1024408 h 2414062"/>
                <a:gd name="connsiteX21" fmla="*/ 315074 w 1504452"/>
                <a:gd name="connsiteY21" fmla="*/ 1024408 h 2414062"/>
                <a:gd name="connsiteX22" fmla="*/ 19987 w 1504452"/>
                <a:gd name="connsiteY22" fmla="*/ 39306 h 2414062"/>
                <a:gd name="connsiteX23" fmla="*/ 43750 w 1504452"/>
                <a:gd name="connsiteY23" fmla="*/ 29728 h 2414062"/>
                <a:gd name="connsiteX24" fmla="*/ 177642 w 1504452"/>
                <a:gd name="connsiteY24" fmla="*/ 31008 h 2414062"/>
                <a:gd name="connsiteX25" fmla="*/ 210795 w 1504452"/>
                <a:gd name="connsiteY25" fmla="*/ 64801 h 2414062"/>
                <a:gd name="connsiteX26" fmla="*/ 200840 w 1504452"/>
                <a:gd name="connsiteY26" fmla="*/ 1106344 h 2414062"/>
                <a:gd name="connsiteX27" fmla="*/ 167046 w 1504452"/>
                <a:gd name="connsiteY27" fmla="*/ 1139498 h 2414062"/>
                <a:gd name="connsiteX28" fmla="*/ 33155 w 1504452"/>
                <a:gd name="connsiteY28" fmla="*/ 1138218 h 2414062"/>
                <a:gd name="connsiteX29" fmla="*/ 1 w 1504452"/>
                <a:gd name="connsiteY29" fmla="*/ 1104424 h 2414062"/>
                <a:gd name="connsiteX30" fmla="*/ 9956 w 1504452"/>
                <a:gd name="connsiteY30" fmla="*/ 62882 h 2414062"/>
                <a:gd name="connsiteX31" fmla="*/ 19987 w 1504452"/>
                <a:gd name="connsiteY31" fmla="*/ 39306 h 2414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04452" h="2414062">
                  <a:moveTo>
                    <a:pt x="1313642" y="9579"/>
                  </a:moveTo>
                  <a:cubicBezTo>
                    <a:pt x="1319758" y="3579"/>
                    <a:pt x="1328162" y="-88"/>
                    <a:pt x="1337405" y="1"/>
                  </a:cubicBezTo>
                  <a:lnTo>
                    <a:pt x="1471297" y="1281"/>
                  </a:lnTo>
                  <a:cubicBezTo>
                    <a:pt x="1489784" y="1457"/>
                    <a:pt x="1504627" y="16587"/>
                    <a:pt x="1504451" y="35074"/>
                  </a:cubicBezTo>
                  <a:lnTo>
                    <a:pt x="1494495" y="1076617"/>
                  </a:lnTo>
                  <a:cubicBezTo>
                    <a:pt x="1494319" y="1095104"/>
                    <a:pt x="1479189" y="1109947"/>
                    <a:pt x="1460702" y="1109770"/>
                  </a:cubicBezTo>
                  <a:lnTo>
                    <a:pt x="1326810" y="1108491"/>
                  </a:lnTo>
                  <a:cubicBezTo>
                    <a:pt x="1308323" y="1108314"/>
                    <a:pt x="1293480" y="1093184"/>
                    <a:pt x="1293656" y="1074697"/>
                  </a:cubicBezTo>
                  <a:lnTo>
                    <a:pt x="1303612" y="33154"/>
                  </a:lnTo>
                  <a:cubicBezTo>
                    <a:pt x="1303700" y="23911"/>
                    <a:pt x="1307527" y="15578"/>
                    <a:pt x="1313642" y="9579"/>
                  </a:cubicBezTo>
                  <a:close/>
                  <a:moveTo>
                    <a:pt x="315074" y="130619"/>
                  </a:moveTo>
                  <a:lnTo>
                    <a:pt x="1204984" y="130619"/>
                  </a:lnTo>
                  <a:lnTo>
                    <a:pt x="1204984" y="1024408"/>
                  </a:lnTo>
                  <a:lnTo>
                    <a:pt x="901011" y="1024408"/>
                  </a:lnTo>
                  <a:lnTo>
                    <a:pt x="900164" y="1041269"/>
                  </a:lnTo>
                  <a:cubicBezTo>
                    <a:pt x="888602" y="1313708"/>
                    <a:pt x="885427" y="1947908"/>
                    <a:pt x="881654" y="2342586"/>
                  </a:cubicBezTo>
                  <a:cubicBezTo>
                    <a:pt x="881460" y="2362940"/>
                    <a:pt x="830001" y="2414257"/>
                    <a:pt x="809647" y="2414062"/>
                  </a:cubicBezTo>
                  <a:lnTo>
                    <a:pt x="662232" y="2412653"/>
                  </a:lnTo>
                  <a:cubicBezTo>
                    <a:pt x="641878" y="2412458"/>
                    <a:pt x="585933" y="2370316"/>
                    <a:pt x="586128" y="2349962"/>
                  </a:cubicBezTo>
                  <a:cubicBezTo>
                    <a:pt x="600626" y="1962186"/>
                    <a:pt x="642239" y="1365528"/>
                    <a:pt x="644874" y="1069139"/>
                  </a:cubicBezTo>
                  <a:lnTo>
                    <a:pt x="644793" y="1024408"/>
                  </a:lnTo>
                  <a:lnTo>
                    <a:pt x="315074" y="1024408"/>
                  </a:lnTo>
                  <a:close/>
                  <a:moveTo>
                    <a:pt x="19987" y="39306"/>
                  </a:moveTo>
                  <a:cubicBezTo>
                    <a:pt x="26102" y="33307"/>
                    <a:pt x="34506" y="29640"/>
                    <a:pt x="43750" y="29728"/>
                  </a:cubicBezTo>
                  <a:lnTo>
                    <a:pt x="177642" y="31008"/>
                  </a:lnTo>
                  <a:cubicBezTo>
                    <a:pt x="196129" y="31185"/>
                    <a:pt x="210972" y="46314"/>
                    <a:pt x="210795" y="64801"/>
                  </a:cubicBezTo>
                  <a:lnTo>
                    <a:pt x="200840" y="1106344"/>
                  </a:lnTo>
                  <a:cubicBezTo>
                    <a:pt x="200663" y="1124831"/>
                    <a:pt x="185534" y="1139674"/>
                    <a:pt x="167046" y="1139498"/>
                  </a:cubicBezTo>
                  <a:lnTo>
                    <a:pt x="33155" y="1138218"/>
                  </a:lnTo>
                  <a:cubicBezTo>
                    <a:pt x="14667" y="1138041"/>
                    <a:pt x="-176" y="1122912"/>
                    <a:pt x="1" y="1104424"/>
                  </a:cubicBezTo>
                  <a:lnTo>
                    <a:pt x="9956" y="62882"/>
                  </a:lnTo>
                  <a:cubicBezTo>
                    <a:pt x="10044" y="53638"/>
                    <a:pt x="13871" y="45306"/>
                    <a:pt x="19987" y="393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7819994" y="-2634779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3863295" y="3466662"/>
            <a:ext cx="792000" cy="792000"/>
            <a:chOff x="5860219" y="-2382233"/>
            <a:chExt cx="792000" cy="792000"/>
          </a:xfrm>
        </p:grpSpPr>
        <p:sp>
          <p:nvSpPr>
            <p:cNvPr id="143" name="Freeform 142"/>
            <p:cNvSpPr/>
            <p:nvPr/>
          </p:nvSpPr>
          <p:spPr>
            <a:xfrm>
              <a:off x="5918287" y="-2303018"/>
              <a:ext cx="675864" cy="633570"/>
            </a:xfrm>
            <a:custGeom>
              <a:avLst/>
              <a:gdLst>
                <a:gd name="connsiteX0" fmla="*/ 2044996 w 2434856"/>
                <a:gd name="connsiteY0" fmla="*/ 379257 h 2282485"/>
                <a:gd name="connsiteX1" fmla="*/ 2117645 w 2434856"/>
                <a:gd name="connsiteY1" fmla="*/ 379257 h 2282485"/>
                <a:gd name="connsiteX2" fmla="*/ 2434856 w 2434856"/>
                <a:gd name="connsiteY2" fmla="*/ 696468 h 2282485"/>
                <a:gd name="connsiteX3" fmla="*/ 2434856 w 2434856"/>
                <a:gd name="connsiteY3" fmla="*/ 1965274 h 2282485"/>
                <a:gd name="connsiteX4" fmla="*/ 2117645 w 2434856"/>
                <a:gd name="connsiteY4" fmla="*/ 2282485 h 2282485"/>
                <a:gd name="connsiteX5" fmla="*/ 2044996 w 2434856"/>
                <a:gd name="connsiteY5" fmla="*/ 2282485 h 2282485"/>
                <a:gd name="connsiteX6" fmla="*/ 317211 w 2434856"/>
                <a:gd name="connsiteY6" fmla="*/ 379257 h 2282485"/>
                <a:gd name="connsiteX7" fmla="*/ 404037 w 2434856"/>
                <a:gd name="connsiteY7" fmla="*/ 379257 h 2282485"/>
                <a:gd name="connsiteX8" fmla="*/ 404037 w 2434856"/>
                <a:gd name="connsiteY8" fmla="*/ 2282485 h 2282485"/>
                <a:gd name="connsiteX9" fmla="*/ 317211 w 2434856"/>
                <a:gd name="connsiteY9" fmla="*/ 2282485 h 2282485"/>
                <a:gd name="connsiteX10" fmla="*/ 0 w 2434856"/>
                <a:gd name="connsiteY10" fmla="*/ 1965274 h 2282485"/>
                <a:gd name="connsiteX11" fmla="*/ 0 w 2434856"/>
                <a:gd name="connsiteY11" fmla="*/ 696468 h 2282485"/>
                <a:gd name="connsiteX12" fmla="*/ 317211 w 2434856"/>
                <a:gd name="connsiteY12" fmla="*/ 379257 h 2282485"/>
                <a:gd name="connsiteX13" fmla="*/ 1222631 w 2434856"/>
                <a:gd name="connsiteY13" fmla="*/ 122700 h 2282485"/>
                <a:gd name="connsiteX14" fmla="*/ 909968 w 2434856"/>
                <a:gd name="connsiteY14" fmla="*/ 210774 h 2282485"/>
                <a:gd name="connsiteX15" fmla="*/ 909968 w 2434856"/>
                <a:gd name="connsiteY15" fmla="*/ 379257 h 2282485"/>
                <a:gd name="connsiteX16" fmla="*/ 1524885 w 2434856"/>
                <a:gd name="connsiteY16" fmla="*/ 379257 h 2282485"/>
                <a:gd name="connsiteX17" fmla="*/ 1524885 w 2434856"/>
                <a:gd name="connsiteY17" fmla="*/ 210774 h 2282485"/>
                <a:gd name="connsiteX18" fmla="*/ 1222631 w 2434856"/>
                <a:gd name="connsiteY18" fmla="*/ 122700 h 2282485"/>
                <a:gd name="connsiteX19" fmla="*/ 1224717 w 2434856"/>
                <a:gd name="connsiteY19" fmla="*/ 720 h 2282485"/>
                <a:gd name="connsiteX20" fmla="*/ 1648046 w 2434856"/>
                <a:gd name="connsiteY20" fmla="*/ 124074 h 2282485"/>
                <a:gd name="connsiteX21" fmla="*/ 1648046 w 2434856"/>
                <a:gd name="connsiteY21" fmla="*/ 379257 h 2282485"/>
                <a:gd name="connsiteX22" fmla="*/ 1938670 w 2434856"/>
                <a:gd name="connsiteY22" fmla="*/ 379257 h 2282485"/>
                <a:gd name="connsiteX23" fmla="*/ 1938670 w 2434856"/>
                <a:gd name="connsiteY23" fmla="*/ 2282485 h 2282485"/>
                <a:gd name="connsiteX24" fmla="*/ 510363 w 2434856"/>
                <a:gd name="connsiteY24" fmla="*/ 2282485 h 2282485"/>
                <a:gd name="connsiteX25" fmla="*/ 510363 w 2434856"/>
                <a:gd name="connsiteY25" fmla="*/ 379257 h 2282485"/>
                <a:gd name="connsiteX26" fmla="*/ 786809 w 2434856"/>
                <a:gd name="connsiteY26" fmla="*/ 379257 h 2282485"/>
                <a:gd name="connsiteX27" fmla="*/ 786809 w 2434856"/>
                <a:gd name="connsiteY27" fmla="*/ 124074 h 2282485"/>
                <a:gd name="connsiteX28" fmla="*/ 1224717 w 2434856"/>
                <a:gd name="connsiteY28" fmla="*/ 720 h 2282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4856" h="2282485">
                  <a:moveTo>
                    <a:pt x="2044996" y="379257"/>
                  </a:moveTo>
                  <a:lnTo>
                    <a:pt x="2117645" y="379257"/>
                  </a:lnTo>
                  <a:cubicBezTo>
                    <a:pt x="2292836" y="379257"/>
                    <a:pt x="2434856" y="521277"/>
                    <a:pt x="2434856" y="696468"/>
                  </a:cubicBezTo>
                  <a:lnTo>
                    <a:pt x="2434856" y="1965274"/>
                  </a:lnTo>
                  <a:cubicBezTo>
                    <a:pt x="2434856" y="2140465"/>
                    <a:pt x="2292836" y="2282485"/>
                    <a:pt x="2117645" y="2282485"/>
                  </a:cubicBezTo>
                  <a:lnTo>
                    <a:pt x="2044996" y="2282485"/>
                  </a:lnTo>
                  <a:close/>
                  <a:moveTo>
                    <a:pt x="317211" y="379257"/>
                  </a:moveTo>
                  <a:lnTo>
                    <a:pt x="404037" y="379257"/>
                  </a:lnTo>
                  <a:lnTo>
                    <a:pt x="404037" y="2282485"/>
                  </a:lnTo>
                  <a:lnTo>
                    <a:pt x="317211" y="2282485"/>
                  </a:lnTo>
                  <a:cubicBezTo>
                    <a:pt x="142020" y="2282485"/>
                    <a:pt x="0" y="2140465"/>
                    <a:pt x="0" y="1965274"/>
                  </a:cubicBezTo>
                  <a:lnTo>
                    <a:pt x="0" y="696468"/>
                  </a:lnTo>
                  <a:cubicBezTo>
                    <a:pt x="0" y="521277"/>
                    <a:pt x="142020" y="379257"/>
                    <a:pt x="317211" y="379257"/>
                  </a:cubicBezTo>
                  <a:close/>
                  <a:moveTo>
                    <a:pt x="1222631" y="122700"/>
                  </a:moveTo>
                  <a:cubicBezTo>
                    <a:pt x="1134157" y="126436"/>
                    <a:pt x="1029535" y="150990"/>
                    <a:pt x="909968" y="210774"/>
                  </a:cubicBezTo>
                  <a:lnTo>
                    <a:pt x="909968" y="379257"/>
                  </a:lnTo>
                  <a:lnTo>
                    <a:pt x="1524885" y="379257"/>
                  </a:lnTo>
                  <a:lnTo>
                    <a:pt x="1524885" y="210774"/>
                  </a:lnTo>
                  <a:cubicBezTo>
                    <a:pt x="1472693" y="168071"/>
                    <a:pt x="1370088" y="116472"/>
                    <a:pt x="1222631" y="122700"/>
                  </a:cubicBezTo>
                  <a:close/>
                  <a:moveTo>
                    <a:pt x="1224717" y="720"/>
                  </a:moveTo>
                  <a:cubicBezTo>
                    <a:pt x="1431242" y="-8002"/>
                    <a:pt x="1574948" y="64266"/>
                    <a:pt x="1648046" y="124074"/>
                  </a:cubicBezTo>
                  <a:lnTo>
                    <a:pt x="1648046" y="379257"/>
                  </a:lnTo>
                  <a:lnTo>
                    <a:pt x="1938670" y="379257"/>
                  </a:lnTo>
                  <a:lnTo>
                    <a:pt x="1938670" y="2282485"/>
                  </a:lnTo>
                  <a:lnTo>
                    <a:pt x="510363" y="2282485"/>
                  </a:lnTo>
                  <a:lnTo>
                    <a:pt x="510363" y="379257"/>
                  </a:lnTo>
                  <a:lnTo>
                    <a:pt x="786809" y="379257"/>
                  </a:lnTo>
                  <a:lnTo>
                    <a:pt x="786809" y="124074"/>
                  </a:lnTo>
                  <a:cubicBezTo>
                    <a:pt x="954272" y="40343"/>
                    <a:pt x="1100802" y="5953"/>
                    <a:pt x="1224717" y="7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5860219" y="-2382233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3797546" y="4283740"/>
            <a:ext cx="792000" cy="792000"/>
            <a:chOff x="6883657" y="-2009174"/>
            <a:chExt cx="792000" cy="792000"/>
          </a:xfrm>
        </p:grpSpPr>
        <p:sp>
          <p:nvSpPr>
            <p:cNvPr id="144" name="Freeform 143"/>
            <p:cNvSpPr/>
            <p:nvPr/>
          </p:nvSpPr>
          <p:spPr>
            <a:xfrm>
              <a:off x="6910228" y="-1863543"/>
              <a:ext cx="738859" cy="500739"/>
            </a:xfrm>
            <a:custGeom>
              <a:avLst/>
              <a:gdLst>
                <a:gd name="connsiteX0" fmla="*/ 2581072 w 2832617"/>
                <a:gd name="connsiteY0" fmla="*/ 443582 h 1928582"/>
                <a:gd name="connsiteX1" fmla="*/ 2754160 w 2832617"/>
                <a:gd name="connsiteY1" fmla="*/ 471568 h 1928582"/>
                <a:gd name="connsiteX2" fmla="*/ 2608462 w 2832617"/>
                <a:gd name="connsiteY2" fmla="*/ 803166 h 1928582"/>
                <a:gd name="connsiteX3" fmla="*/ 2553196 w 2832617"/>
                <a:gd name="connsiteY3" fmla="*/ 1702489 h 1928582"/>
                <a:gd name="connsiteX4" fmla="*/ 2437638 w 2832617"/>
                <a:gd name="connsiteY4" fmla="*/ 1818047 h 1928582"/>
                <a:gd name="connsiteX5" fmla="*/ 2404144 w 2832617"/>
                <a:gd name="connsiteY5" fmla="*/ 1818047 h 1928582"/>
                <a:gd name="connsiteX6" fmla="*/ 2404144 w 2832617"/>
                <a:gd name="connsiteY6" fmla="*/ 1928582 h 1928582"/>
                <a:gd name="connsiteX7" fmla="*/ 2198152 w 2832617"/>
                <a:gd name="connsiteY7" fmla="*/ 1928582 h 1928582"/>
                <a:gd name="connsiteX8" fmla="*/ 2198152 w 2832617"/>
                <a:gd name="connsiteY8" fmla="*/ 1818047 h 1928582"/>
                <a:gd name="connsiteX9" fmla="*/ 669129 w 2832617"/>
                <a:gd name="connsiteY9" fmla="*/ 1818047 h 1928582"/>
                <a:gd name="connsiteX10" fmla="*/ 669129 w 2832617"/>
                <a:gd name="connsiteY10" fmla="*/ 1928582 h 1928582"/>
                <a:gd name="connsiteX11" fmla="*/ 463137 w 2832617"/>
                <a:gd name="connsiteY11" fmla="*/ 1928582 h 1928582"/>
                <a:gd name="connsiteX12" fmla="*/ 463137 w 2832617"/>
                <a:gd name="connsiteY12" fmla="*/ 1818047 h 1928582"/>
                <a:gd name="connsiteX13" fmla="*/ 427971 w 2832617"/>
                <a:gd name="connsiteY13" fmla="*/ 1818047 h 1928582"/>
                <a:gd name="connsiteX14" fmla="*/ 302365 w 2832617"/>
                <a:gd name="connsiteY14" fmla="*/ 1707514 h 1928582"/>
                <a:gd name="connsiteX15" fmla="*/ 242075 w 2832617"/>
                <a:gd name="connsiteY15" fmla="*/ 808190 h 1928582"/>
                <a:gd name="connsiteX16" fmla="*/ 272222 w 2832617"/>
                <a:gd name="connsiteY16" fmla="*/ 446447 h 1928582"/>
                <a:gd name="connsiteX17" fmla="*/ 704299 w 2832617"/>
                <a:gd name="connsiteY17" fmla="*/ 1169929 h 1928582"/>
                <a:gd name="connsiteX18" fmla="*/ 2161310 w 2832617"/>
                <a:gd name="connsiteY18" fmla="*/ 1159881 h 1928582"/>
                <a:gd name="connsiteX19" fmla="*/ 2581072 w 2832617"/>
                <a:gd name="connsiteY19" fmla="*/ 443582 h 1928582"/>
                <a:gd name="connsiteX20" fmla="*/ 1351251 w 2832617"/>
                <a:gd name="connsiteY20" fmla="*/ 406 h 1928582"/>
                <a:gd name="connsiteX21" fmla="*/ 2447687 w 2832617"/>
                <a:gd name="connsiteY21" fmla="*/ 315821 h 1928582"/>
                <a:gd name="connsiteX22" fmla="*/ 2005559 w 2832617"/>
                <a:gd name="connsiteY22" fmla="*/ 973988 h 1928582"/>
                <a:gd name="connsiteX23" fmla="*/ 844975 w 2832617"/>
                <a:gd name="connsiteY23" fmla="*/ 968964 h 1928582"/>
                <a:gd name="connsiteX24" fmla="*/ 417920 w 2832617"/>
                <a:gd name="connsiteY24" fmla="*/ 330894 h 1928582"/>
                <a:gd name="connsiteX25" fmla="*/ 1351251 w 2832617"/>
                <a:gd name="connsiteY25" fmla="*/ 406 h 1928582"/>
                <a:gd name="connsiteX0" fmla="*/ 2581072 w 2816696"/>
                <a:gd name="connsiteY0" fmla="*/ 443582 h 1928582"/>
                <a:gd name="connsiteX1" fmla="*/ 2724557 w 2816696"/>
                <a:gd name="connsiteY1" fmla="*/ 464990 h 1928582"/>
                <a:gd name="connsiteX2" fmla="*/ 2608462 w 2816696"/>
                <a:gd name="connsiteY2" fmla="*/ 803166 h 1928582"/>
                <a:gd name="connsiteX3" fmla="*/ 2553196 w 2816696"/>
                <a:gd name="connsiteY3" fmla="*/ 1702489 h 1928582"/>
                <a:gd name="connsiteX4" fmla="*/ 2437638 w 2816696"/>
                <a:gd name="connsiteY4" fmla="*/ 1818047 h 1928582"/>
                <a:gd name="connsiteX5" fmla="*/ 2404144 w 2816696"/>
                <a:gd name="connsiteY5" fmla="*/ 1818047 h 1928582"/>
                <a:gd name="connsiteX6" fmla="*/ 2404144 w 2816696"/>
                <a:gd name="connsiteY6" fmla="*/ 1928582 h 1928582"/>
                <a:gd name="connsiteX7" fmla="*/ 2198152 w 2816696"/>
                <a:gd name="connsiteY7" fmla="*/ 1928582 h 1928582"/>
                <a:gd name="connsiteX8" fmla="*/ 2198152 w 2816696"/>
                <a:gd name="connsiteY8" fmla="*/ 1818047 h 1928582"/>
                <a:gd name="connsiteX9" fmla="*/ 669129 w 2816696"/>
                <a:gd name="connsiteY9" fmla="*/ 1818047 h 1928582"/>
                <a:gd name="connsiteX10" fmla="*/ 669129 w 2816696"/>
                <a:gd name="connsiteY10" fmla="*/ 1928582 h 1928582"/>
                <a:gd name="connsiteX11" fmla="*/ 463137 w 2816696"/>
                <a:gd name="connsiteY11" fmla="*/ 1928582 h 1928582"/>
                <a:gd name="connsiteX12" fmla="*/ 463137 w 2816696"/>
                <a:gd name="connsiteY12" fmla="*/ 1818047 h 1928582"/>
                <a:gd name="connsiteX13" fmla="*/ 427971 w 2816696"/>
                <a:gd name="connsiteY13" fmla="*/ 1818047 h 1928582"/>
                <a:gd name="connsiteX14" fmla="*/ 302365 w 2816696"/>
                <a:gd name="connsiteY14" fmla="*/ 1707514 h 1928582"/>
                <a:gd name="connsiteX15" fmla="*/ 242075 w 2816696"/>
                <a:gd name="connsiteY15" fmla="*/ 808190 h 1928582"/>
                <a:gd name="connsiteX16" fmla="*/ 272222 w 2816696"/>
                <a:gd name="connsiteY16" fmla="*/ 446447 h 1928582"/>
                <a:gd name="connsiteX17" fmla="*/ 704299 w 2816696"/>
                <a:gd name="connsiteY17" fmla="*/ 1169929 h 1928582"/>
                <a:gd name="connsiteX18" fmla="*/ 2161310 w 2816696"/>
                <a:gd name="connsiteY18" fmla="*/ 1159881 h 1928582"/>
                <a:gd name="connsiteX19" fmla="*/ 2581072 w 2816696"/>
                <a:gd name="connsiteY19" fmla="*/ 443582 h 1928582"/>
                <a:gd name="connsiteX20" fmla="*/ 1351251 w 2816696"/>
                <a:gd name="connsiteY20" fmla="*/ 406 h 1928582"/>
                <a:gd name="connsiteX21" fmla="*/ 2447687 w 2816696"/>
                <a:gd name="connsiteY21" fmla="*/ 315821 h 1928582"/>
                <a:gd name="connsiteX22" fmla="*/ 2005559 w 2816696"/>
                <a:gd name="connsiteY22" fmla="*/ 973988 h 1928582"/>
                <a:gd name="connsiteX23" fmla="*/ 844975 w 2816696"/>
                <a:gd name="connsiteY23" fmla="*/ 968964 h 1928582"/>
                <a:gd name="connsiteX24" fmla="*/ 417920 w 2816696"/>
                <a:gd name="connsiteY24" fmla="*/ 330894 h 1928582"/>
                <a:gd name="connsiteX25" fmla="*/ 1351251 w 2816696"/>
                <a:gd name="connsiteY25" fmla="*/ 406 h 1928582"/>
                <a:gd name="connsiteX0" fmla="*/ 2581072 w 2837223"/>
                <a:gd name="connsiteY0" fmla="*/ 443582 h 1928582"/>
                <a:gd name="connsiteX1" fmla="*/ 2724557 w 2837223"/>
                <a:gd name="connsiteY1" fmla="*/ 464990 h 1928582"/>
                <a:gd name="connsiteX2" fmla="*/ 2608462 w 2837223"/>
                <a:gd name="connsiteY2" fmla="*/ 803166 h 1928582"/>
                <a:gd name="connsiteX3" fmla="*/ 2553196 w 2837223"/>
                <a:gd name="connsiteY3" fmla="*/ 1702489 h 1928582"/>
                <a:gd name="connsiteX4" fmla="*/ 2437638 w 2837223"/>
                <a:gd name="connsiteY4" fmla="*/ 1818047 h 1928582"/>
                <a:gd name="connsiteX5" fmla="*/ 2404144 w 2837223"/>
                <a:gd name="connsiteY5" fmla="*/ 1818047 h 1928582"/>
                <a:gd name="connsiteX6" fmla="*/ 2404144 w 2837223"/>
                <a:gd name="connsiteY6" fmla="*/ 1928582 h 1928582"/>
                <a:gd name="connsiteX7" fmla="*/ 2198152 w 2837223"/>
                <a:gd name="connsiteY7" fmla="*/ 1928582 h 1928582"/>
                <a:gd name="connsiteX8" fmla="*/ 2198152 w 2837223"/>
                <a:gd name="connsiteY8" fmla="*/ 1818047 h 1928582"/>
                <a:gd name="connsiteX9" fmla="*/ 669129 w 2837223"/>
                <a:gd name="connsiteY9" fmla="*/ 1818047 h 1928582"/>
                <a:gd name="connsiteX10" fmla="*/ 669129 w 2837223"/>
                <a:gd name="connsiteY10" fmla="*/ 1928582 h 1928582"/>
                <a:gd name="connsiteX11" fmla="*/ 463137 w 2837223"/>
                <a:gd name="connsiteY11" fmla="*/ 1928582 h 1928582"/>
                <a:gd name="connsiteX12" fmla="*/ 463137 w 2837223"/>
                <a:gd name="connsiteY12" fmla="*/ 1818047 h 1928582"/>
                <a:gd name="connsiteX13" fmla="*/ 427971 w 2837223"/>
                <a:gd name="connsiteY13" fmla="*/ 1818047 h 1928582"/>
                <a:gd name="connsiteX14" fmla="*/ 302365 w 2837223"/>
                <a:gd name="connsiteY14" fmla="*/ 1707514 h 1928582"/>
                <a:gd name="connsiteX15" fmla="*/ 242075 w 2837223"/>
                <a:gd name="connsiteY15" fmla="*/ 808190 h 1928582"/>
                <a:gd name="connsiteX16" fmla="*/ 272222 w 2837223"/>
                <a:gd name="connsiteY16" fmla="*/ 446447 h 1928582"/>
                <a:gd name="connsiteX17" fmla="*/ 704299 w 2837223"/>
                <a:gd name="connsiteY17" fmla="*/ 1169929 h 1928582"/>
                <a:gd name="connsiteX18" fmla="*/ 2161310 w 2837223"/>
                <a:gd name="connsiteY18" fmla="*/ 1159881 h 1928582"/>
                <a:gd name="connsiteX19" fmla="*/ 2581072 w 2837223"/>
                <a:gd name="connsiteY19" fmla="*/ 443582 h 1928582"/>
                <a:gd name="connsiteX20" fmla="*/ 1351251 w 2837223"/>
                <a:gd name="connsiteY20" fmla="*/ 406 h 1928582"/>
                <a:gd name="connsiteX21" fmla="*/ 2447687 w 2837223"/>
                <a:gd name="connsiteY21" fmla="*/ 315821 h 1928582"/>
                <a:gd name="connsiteX22" fmla="*/ 2005559 w 2837223"/>
                <a:gd name="connsiteY22" fmla="*/ 973988 h 1928582"/>
                <a:gd name="connsiteX23" fmla="*/ 844975 w 2837223"/>
                <a:gd name="connsiteY23" fmla="*/ 968964 h 1928582"/>
                <a:gd name="connsiteX24" fmla="*/ 417920 w 2837223"/>
                <a:gd name="connsiteY24" fmla="*/ 330894 h 1928582"/>
                <a:gd name="connsiteX25" fmla="*/ 1351251 w 2837223"/>
                <a:gd name="connsiteY25" fmla="*/ 406 h 1928582"/>
                <a:gd name="connsiteX0" fmla="*/ 2581072 w 2839050"/>
                <a:gd name="connsiteY0" fmla="*/ 443582 h 1928582"/>
                <a:gd name="connsiteX1" fmla="*/ 2727847 w 2839050"/>
                <a:gd name="connsiteY1" fmla="*/ 451833 h 1928582"/>
                <a:gd name="connsiteX2" fmla="*/ 2608462 w 2839050"/>
                <a:gd name="connsiteY2" fmla="*/ 803166 h 1928582"/>
                <a:gd name="connsiteX3" fmla="*/ 2553196 w 2839050"/>
                <a:gd name="connsiteY3" fmla="*/ 1702489 h 1928582"/>
                <a:gd name="connsiteX4" fmla="*/ 2437638 w 2839050"/>
                <a:gd name="connsiteY4" fmla="*/ 1818047 h 1928582"/>
                <a:gd name="connsiteX5" fmla="*/ 2404144 w 2839050"/>
                <a:gd name="connsiteY5" fmla="*/ 1818047 h 1928582"/>
                <a:gd name="connsiteX6" fmla="*/ 2404144 w 2839050"/>
                <a:gd name="connsiteY6" fmla="*/ 1928582 h 1928582"/>
                <a:gd name="connsiteX7" fmla="*/ 2198152 w 2839050"/>
                <a:gd name="connsiteY7" fmla="*/ 1928582 h 1928582"/>
                <a:gd name="connsiteX8" fmla="*/ 2198152 w 2839050"/>
                <a:gd name="connsiteY8" fmla="*/ 1818047 h 1928582"/>
                <a:gd name="connsiteX9" fmla="*/ 669129 w 2839050"/>
                <a:gd name="connsiteY9" fmla="*/ 1818047 h 1928582"/>
                <a:gd name="connsiteX10" fmla="*/ 669129 w 2839050"/>
                <a:gd name="connsiteY10" fmla="*/ 1928582 h 1928582"/>
                <a:gd name="connsiteX11" fmla="*/ 463137 w 2839050"/>
                <a:gd name="connsiteY11" fmla="*/ 1928582 h 1928582"/>
                <a:gd name="connsiteX12" fmla="*/ 463137 w 2839050"/>
                <a:gd name="connsiteY12" fmla="*/ 1818047 h 1928582"/>
                <a:gd name="connsiteX13" fmla="*/ 427971 w 2839050"/>
                <a:gd name="connsiteY13" fmla="*/ 1818047 h 1928582"/>
                <a:gd name="connsiteX14" fmla="*/ 302365 w 2839050"/>
                <a:gd name="connsiteY14" fmla="*/ 1707514 h 1928582"/>
                <a:gd name="connsiteX15" fmla="*/ 242075 w 2839050"/>
                <a:gd name="connsiteY15" fmla="*/ 808190 h 1928582"/>
                <a:gd name="connsiteX16" fmla="*/ 272222 w 2839050"/>
                <a:gd name="connsiteY16" fmla="*/ 446447 h 1928582"/>
                <a:gd name="connsiteX17" fmla="*/ 704299 w 2839050"/>
                <a:gd name="connsiteY17" fmla="*/ 1169929 h 1928582"/>
                <a:gd name="connsiteX18" fmla="*/ 2161310 w 2839050"/>
                <a:gd name="connsiteY18" fmla="*/ 1159881 h 1928582"/>
                <a:gd name="connsiteX19" fmla="*/ 2581072 w 2839050"/>
                <a:gd name="connsiteY19" fmla="*/ 443582 h 1928582"/>
                <a:gd name="connsiteX20" fmla="*/ 1351251 w 2839050"/>
                <a:gd name="connsiteY20" fmla="*/ 406 h 1928582"/>
                <a:gd name="connsiteX21" fmla="*/ 2447687 w 2839050"/>
                <a:gd name="connsiteY21" fmla="*/ 315821 h 1928582"/>
                <a:gd name="connsiteX22" fmla="*/ 2005559 w 2839050"/>
                <a:gd name="connsiteY22" fmla="*/ 973988 h 1928582"/>
                <a:gd name="connsiteX23" fmla="*/ 844975 w 2839050"/>
                <a:gd name="connsiteY23" fmla="*/ 968964 h 1928582"/>
                <a:gd name="connsiteX24" fmla="*/ 417920 w 2839050"/>
                <a:gd name="connsiteY24" fmla="*/ 330894 h 1928582"/>
                <a:gd name="connsiteX25" fmla="*/ 1351251 w 2839050"/>
                <a:gd name="connsiteY25" fmla="*/ 406 h 1928582"/>
                <a:gd name="connsiteX0" fmla="*/ 2581072 w 2837730"/>
                <a:gd name="connsiteY0" fmla="*/ 443582 h 1928582"/>
                <a:gd name="connsiteX1" fmla="*/ 2727847 w 2837730"/>
                <a:gd name="connsiteY1" fmla="*/ 451833 h 1928582"/>
                <a:gd name="connsiteX2" fmla="*/ 2608462 w 2837730"/>
                <a:gd name="connsiteY2" fmla="*/ 803166 h 1928582"/>
                <a:gd name="connsiteX3" fmla="*/ 2553196 w 2837730"/>
                <a:gd name="connsiteY3" fmla="*/ 1702489 h 1928582"/>
                <a:gd name="connsiteX4" fmla="*/ 2437638 w 2837730"/>
                <a:gd name="connsiteY4" fmla="*/ 1818047 h 1928582"/>
                <a:gd name="connsiteX5" fmla="*/ 2404144 w 2837730"/>
                <a:gd name="connsiteY5" fmla="*/ 1818047 h 1928582"/>
                <a:gd name="connsiteX6" fmla="*/ 2404144 w 2837730"/>
                <a:gd name="connsiteY6" fmla="*/ 1928582 h 1928582"/>
                <a:gd name="connsiteX7" fmla="*/ 2198152 w 2837730"/>
                <a:gd name="connsiteY7" fmla="*/ 1928582 h 1928582"/>
                <a:gd name="connsiteX8" fmla="*/ 2198152 w 2837730"/>
                <a:gd name="connsiteY8" fmla="*/ 1818047 h 1928582"/>
                <a:gd name="connsiteX9" fmla="*/ 669129 w 2837730"/>
                <a:gd name="connsiteY9" fmla="*/ 1818047 h 1928582"/>
                <a:gd name="connsiteX10" fmla="*/ 669129 w 2837730"/>
                <a:gd name="connsiteY10" fmla="*/ 1928582 h 1928582"/>
                <a:gd name="connsiteX11" fmla="*/ 463137 w 2837730"/>
                <a:gd name="connsiteY11" fmla="*/ 1928582 h 1928582"/>
                <a:gd name="connsiteX12" fmla="*/ 463137 w 2837730"/>
                <a:gd name="connsiteY12" fmla="*/ 1818047 h 1928582"/>
                <a:gd name="connsiteX13" fmla="*/ 427971 w 2837730"/>
                <a:gd name="connsiteY13" fmla="*/ 1818047 h 1928582"/>
                <a:gd name="connsiteX14" fmla="*/ 302365 w 2837730"/>
                <a:gd name="connsiteY14" fmla="*/ 1707514 h 1928582"/>
                <a:gd name="connsiteX15" fmla="*/ 242075 w 2837730"/>
                <a:gd name="connsiteY15" fmla="*/ 808190 h 1928582"/>
                <a:gd name="connsiteX16" fmla="*/ 272222 w 2837730"/>
                <a:gd name="connsiteY16" fmla="*/ 446447 h 1928582"/>
                <a:gd name="connsiteX17" fmla="*/ 704299 w 2837730"/>
                <a:gd name="connsiteY17" fmla="*/ 1169929 h 1928582"/>
                <a:gd name="connsiteX18" fmla="*/ 2161310 w 2837730"/>
                <a:gd name="connsiteY18" fmla="*/ 1159881 h 1928582"/>
                <a:gd name="connsiteX19" fmla="*/ 2581072 w 2837730"/>
                <a:gd name="connsiteY19" fmla="*/ 443582 h 1928582"/>
                <a:gd name="connsiteX20" fmla="*/ 1351251 w 2837730"/>
                <a:gd name="connsiteY20" fmla="*/ 406 h 1928582"/>
                <a:gd name="connsiteX21" fmla="*/ 2447687 w 2837730"/>
                <a:gd name="connsiteY21" fmla="*/ 315821 h 1928582"/>
                <a:gd name="connsiteX22" fmla="*/ 2005559 w 2837730"/>
                <a:gd name="connsiteY22" fmla="*/ 973988 h 1928582"/>
                <a:gd name="connsiteX23" fmla="*/ 844975 w 2837730"/>
                <a:gd name="connsiteY23" fmla="*/ 968964 h 1928582"/>
                <a:gd name="connsiteX24" fmla="*/ 417920 w 2837730"/>
                <a:gd name="connsiteY24" fmla="*/ 330894 h 1928582"/>
                <a:gd name="connsiteX25" fmla="*/ 1351251 w 2837730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51833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51833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  <a:gd name="connsiteX0" fmla="*/ 2581072 w 2845696"/>
                <a:gd name="connsiteY0" fmla="*/ 443582 h 1928582"/>
                <a:gd name="connsiteX1" fmla="*/ 2727847 w 2845696"/>
                <a:gd name="connsiteY1" fmla="*/ 461700 h 1928582"/>
                <a:gd name="connsiteX2" fmla="*/ 2608462 w 2845696"/>
                <a:gd name="connsiteY2" fmla="*/ 803166 h 1928582"/>
                <a:gd name="connsiteX3" fmla="*/ 2553196 w 2845696"/>
                <a:gd name="connsiteY3" fmla="*/ 1702489 h 1928582"/>
                <a:gd name="connsiteX4" fmla="*/ 2437638 w 2845696"/>
                <a:gd name="connsiteY4" fmla="*/ 1818047 h 1928582"/>
                <a:gd name="connsiteX5" fmla="*/ 2404144 w 2845696"/>
                <a:gd name="connsiteY5" fmla="*/ 1818047 h 1928582"/>
                <a:gd name="connsiteX6" fmla="*/ 2404144 w 2845696"/>
                <a:gd name="connsiteY6" fmla="*/ 1928582 h 1928582"/>
                <a:gd name="connsiteX7" fmla="*/ 2198152 w 2845696"/>
                <a:gd name="connsiteY7" fmla="*/ 1928582 h 1928582"/>
                <a:gd name="connsiteX8" fmla="*/ 2198152 w 2845696"/>
                <a:gd name="connsiteY8" fmla="*/ 1818047 h 1928582"/>
                <a:gd name="connsiteX9" fmla="*/ 669129 w 2845696"/>
                <a:gd name="connsiteY9" fmla="*/ 1818047 h 1928582"/>
                <a:gd name="connsiteX10" fmla="*/ 669129 w 2845696"/>
                <a:gd name="connsiteY10" fmla="*/ 1928582 h 1928582"/>
                <a:gd name="connsiteX11" fmla="*/ 463137 w 2845696"/>
                <a:gd name="connsiteY11" fmla="*/ 1928582 h 1928582"/>
                <a:gd name="connsiteX12" fmla="*/ 463137 w 2845696"/>
                <a:gd name="connsiteY12" fmla="*/ 1818047 h 1928582"/>
                <a:gd name="connsiteX13" fmla="*/ 427971 w 2845696"/>
                <a:gd name="connsiteY13" fmla="*/ 1818047 h 1928582"/>
                <a:gd name="connsiteX14" fmla="*/ 302365 w 2845696"/>
                <a:gd name="connsiteY14" fmla="*/ 1707514 h 1928582"/>
                <a:gd name="connsiteX15" fmla="*/ 242075 w 2845696"/>
                <a:gd name="connsiteY15" fmla="*/ 808190 h 1928582"/>
                <a:gd name="connsiteX16" fmla="*/ 272222 w 2845696"/>
                <a:gd name="connsiteY16" fmla="*/ 446447 h 1928582"/>
                <a:gd name="connsiteX17" fmla="*/ 704299 w 2845696"/>
                <a:gd name="connsiteY17" fmla="*/ 1169929 h 1928582"/>
                <a:gd name="connsiteX18" fmla="*/ 2161310 w 2845696"/>
                <a:gd name="connsiteY18" fmla="*/ 1159881 h 1928582"/>
                <a:gd name="connsiteX19" fmla="*/ 2581072 w 2845696"/>
                <a:gd name="connsiteY19" fmla="*/ 443582 h 1928582"/>
                <a:gd name="connsiteX20" fmla="*/ 1351251 w 2845696"/>
                <a:gd name="connsiteY20" fmla="*/ 406 h 1928582"/>
                <a:gd name="connsiteX21" fmla="*/ 2447687 w 2845696"/>
                <a:gd name="connsiteY21" fmla="*/ 315821 h 1928582"/>
                <a:gd name="connsiteX22" fmla="*/ 2005559 w 2845696"/>
                <a:gd name="connsiteY22" fmla="*/ 973988 h 1928582"/>
                <a:gd name="connsiteX23" fmla="*/ 844975 w 2845696"/>
                <a:gd name="connsiteY23" fmla="*/ 968964 h 1928582"/>
                <a:gd name="connsiteX24" fmla="*/ 417920 w 2845696"/>
                <a:gd name="connsiteY24" fmla="*/ 330894 h 1928582"/>
                <a:gd name="connsiteX25" fmla="*/ 1351251 w 2845696"/>
                <a:gd name="connsiteY25" fmla="*/ 406 h 192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45696" h="1928582">
                  <a:moveTo>
                    <a:pt x="2581072" y="443582"/>
                  </a:moveTo>
                  <a:cubicBezTo>
                    <a:pt x="2629997" y="446332"/>
                    <a:pt x="2682211" y="442504"/>
                    <a:pt x="2727847" y="461700"/>
                  </a:cubicBezTo>
                  <a:cubicBezTo>
                    <a:pt x="2885862" y="498424"/>
                    <a:pt x="2919961" y="819732"/>
                    <a:pt x="2608462" y="803166"/>
                  </a:cubicBezTo>
                  <a:cubicBezTo>
                    <a:pt x="2650330" y="1094567"/>
                    <a:pt x="2586690" y="1406064"/>
                    <a:pt x="2553196" y="1702489"/>
                  </a:cubicBezTo>
                  <a:cubicBezTo>
                    <a:pt x="2533099" y="1776359"/>
                    <a:pt x="2501459" y="1818047"/>
                    <a:pt x="2437638" y="1818047"/>
                  </a:cubicBezTo>
                  <a:lnTo>
                    <a:pt x="2404144" y="1818047"/>
                  </a:lnTo>
                  <a:lnTo>
                    <a:pt x="2404144" y="1928582"/>
                  </a:lnTo>
                  <a:lnTo>
                    <a:pt x="2198152" y="1928582"/>
                  </a:lnTo>
                  <a:lnTo>
                    <a:pt x="2198152" y="1818047"/>
                  </a:lnTo>
                  <a:lnTo>
                    <a:pt x="669129" y="1818047"/>
                  </a:lnTo>
                  <a:lnTo>
                    <a:pt x="669129" y="1928582"/>
                  </a:lnTo>
                  <a:lnTo>
                    <a:pt x="463137" y="1928582"/>
                  </a:lnTo>
                  <a:lnTo>
                    <a:pt x="463137" y="1818047"/>
                  </a:lnTo>
                  <a:lnTo>
                    <a:pt x="427971" y="1818047"/>
                  </a:lnTo>
                  <a:cubicBezTo>
                    <a:pt x="364150" y="1818047"/>
                    <a:pt x="312414" y="1776359"/>
                    <a:pt x="302365" y="1707514"/>
                  </a:cubicBezTo>
                  <a:cubicBezTo>
                    <a:pt x="273895" y="1605357"/>
                    <a:pt x="230352" y="1161556"/>
                    <a:pt x="242075" y="808190"/>
                  </a:cubicBezTo>
                  <a:cubicBezTo>
                    <a:pt x="-144787" y="824755"/>
                    <a:pt x="-17688" y="421326"/>
                    <a:pt x="272222" y="446447"/>
                  </a:cubicBezTo>
                  <a:cubicBezTo>
                    <a:pt x="752866" y="474918"/>
                    <a:pt x="710999" y="1126387"/>
                    <a:pt x="704299" y="1169929"/>
                  </a:cubicBezTo>
                  <a:cubicBezTo>
                    <a:pt x="1201692" y="1102939"/>
                    <a:pt x="1684013" y="1106290"/>
                    <a:pt x="2161310" y="1159881"/>
                  </a:cubicBezTo>
                  <a:cubicBezTo>
                    <a:pt x="2145924" y="757634"/>
                    <a:pt x="2219649" y="429111"/>
                    <a:pt x="2581072" y="443582"/>
                  </a:cubicBezTo>
                  <a:close/>
                  <a:moveTo>
                    <a:pt x="1351251" y="406"/>
                  </a:moveTo>
                  <a:cubicBezTo>
                    <a:pt x="1665401" y="-6609"/>
                    <a:pt x="2032984" y="76231"/>
                    <a:pt x="2447687" y="315821"/>
                  </a:cubicBezTo>
                  <a:cubicBezTo>
                    <a:pt x="2044078" y="520137"/>
                    <a:pt x="2042403" y="754598"/>
                    <a:pt x="2005559" y="973988"/>
                  </a:cubicBezTo>
                  <a:lnTo>
                    <a:pt x="844975" y="968964"/>
                  </a:lnTo>
                  <a:cubicBezTo>
                    <a:pt x="846649" y="824938"/>
                    <a:pt x="848325" y="615597"/>
                    <a:pt x="417920" y="330894"/>
                  </a:cubicBezTo>
                  <a:cubicBezTo>
                    <a:pt x="631762" y="166980"/>
                    <a:pt x="947343" y="9425"/>
                    <a:pt x="1351251" y="4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6883657" y="-2009174"/>
              <a:ext cx="792000" cy="79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0">
                <a:solidFill>
                  <a:prstClr val="white"/>
                </a:solidFill>
                <a:latin typeface="NotesStyle-Medium" pitchFamily="2" charset="0"/>
              </a:endParaRPr>
            </a:p>
          </p:txBody>
        </p:sp>
      </p:grpSp>
      <p:cxnSp>
        <p:nvCxnSpPr>
          <p:cNvPr id="153" name="Straight Connector 152"/>
          <p:cNvCxnSpPr/>
          <p:nvPr/>
        </p:nvCxnSpPr>
        <p:spPr>
          <a:xfrm>
            <a:off x="2231722" y="843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4833124" y="1463"/>
            <a:ext cx="0" cy="514962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40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MW0GyN0WOW2N_aNuzm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XpP55O.0O9lHIz8vCs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IZ86D80iN.x.R0mxP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tkqBxfMkifXhdhYEYb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EW.ojTJUG8jGM.avPW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Mxust6Eki0bArNf8r6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HpIGzP0qyneC1DxUo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nWckZqGE6e4rFsHqTg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vPJ5Oqf0aCEKZCLk.H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Yh3oZfd0K7gOler62g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xpN7BF5068YF0ARSns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ls9jhwpUmMyipoJZbo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9RJMB6UOUNp87IZwD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0kY8UQUO3DG6R6xQQ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cX7abuy06HQ3kGl3Z.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MW0GyN0WOW2N_aNuz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ls9jhwpUmMyipoJZbo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nblsCWekCodTCCLzZZ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XpP55O.0O9lHIz8vCs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IZ86D80iN.x.R0mxP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cX7abuy06HQ3kGl3Z.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MW0GyN0WOW2N_aNuz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ls9jhwpUmMyipoJZbo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tkqBxfMkifXhdhYEYb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EW.ojTJUG8jGM.avPW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nblsCWekCodTCCLzZZs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theme/theme1.xml><?xml version="1.0" encoding="utf-8"?>
<a:theme xmlns:a="http://schemas.openxmlformats.org/drawingml/2006/main" name="Office Theme">
  <a:themeElements>
    <a:clrScheme name="CRM Partners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03D8C"/>
      </a:accent1>
      <a:accent2>
        <a:srgbClr val="00B8DE"/>
      </a:accent2>
      <a:accent3>
        <a:srgbClr val="0096DB"/>
      </a:accent3>
      <a:accent4>
        <a:srgbClr val="7F8296"/>
      </a:accent4>
      <a:accent5>
        <a:srgbClr val="9DA5AB"/>
      </a:accent5>
      <a:accent6>
        <a:srgbClr val="D8D8D8"/>
      </a:accent6>
      <a:hlink>
        <a:srgbClr val="D21F4C"/>
      </a:hlink>
      <a:folHlink>
        <a:srgbClr val="8D1534"/>
      </a:folHlink>
    </a:clrScheme>
    <a:fontScheme name="CRM Partners Fonts">
      <a:majorFont>
        <a:latin typeface="NotesStyle-Medium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e Template 07-04" id="{499ADD5A-D94C-4638-9D0C-B3ED69634D37}" vid="{450071E6-A590-44AF-B08B-3207ED4ABE87}"/>
    </a:ext>
  </a:extLst>
</a:theme>
</file>

<file path=ppt/theme/theme2.xml><?xml version="1.0" encoding="utf-8"?>
<a:theme xmlns:a="http://schemas.openxmlformats.org/drawingml/2006/main" name="Custom Design">
  <a:themeElements>
    <a:clrScheme name="CRM Partners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03D8C"/>
      </a:accent1>
      <a:accent2>
        <a:srgbClr val="00B8DE"/>
      </a:accent2>
      <a:accent3>
        <a:srgbClr val="0096DB"/>
      </a:accent3>
      <a:accent4>
        <a:srgbClr val="7F8296"/>
      </a:accent4>
      <a:accent5>
        <a:srgbClr val="9DA5AB"/>
      </a:accent5>
      <a:accent6>
        <a:srgbClr val="D8D8D8"/>
      </a:accent6>
      <a:hlink>
        <a:srgbClr val="D21F4C"/>
      </a:hlink>
      <a:folHlink>
        <a:srgbClr val="8D153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171450" indent="-171450">
          <a:buBlip>
            <a:blip xmlns:r="http://schemas.openxmlformats.org/officeDocument/2006/relationships" r:embed="rId1"/>
          </a:buBlip>
          <a:defRPr sz="1100" dirty="0" err="1" smtClean="0">
            <a:latin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orate Template 07-04" id="{499ADD5A-D94C-4638-9D0C-B3ED69634D37}" vid="{0A3BC18E-73F1-4001-9DAC-8F7CE545B27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e Template 07-04" id="{499ADD5A-D94C-4638-9D0C-B3ED69634D37}" vid="{9C56538C-6E9F-4D05-B69E-AAF73720F8A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RM Partners Corporate</Template>
  <TotalTime>508</TotalTime>
  <Words>514</Words>
  <Application>Microsoft Office PowerPoint</Application>
  <PresentationFormat>On-screen Show (16:9)</PresentationFormat>
  <Paragraphs>95</Paragraphs>
  <Slides>12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Segoe UI</vt:lpstr>
      <vt:lpstr>NotesStyle-Medium</vt:lpstr>
      <vt:lpstr>Calibri</vt:lpstr>
      <vt:lpstr>Segoe UI Black</vt:lpstr>
      <vt:lpstr>Arial</vt:lpstr>
      <vt:lpstr>Wingdings</vt:lpstr>
      <vt:lpstr>Calibri Light</vt:lpstr>
      <vt:lpstr>NotesStyle-Regular</vt:lpstr>
      <vt:lpstr>Segoe UI Semilight</vt:lpstr>
      <vt:lpstr>Segoe UI Light</vt:lpstr>
      <vt:lpstr>Office Theme</vt:lpstr>
      <vt:lpstr>Custom Design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RM Partn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ush Chikhale</dc:creator>
  <cp:lastModifiedBy>Ankush Chikhale</cp:lastModifiedBy>
  <cp:revision>9</cp:revision>
  <dcterms:created xsi:type="dcterms:W3CDTF">2017-09-11T06:40:15Z</dcterms:created>
  <dcterms:modified xsi:type="dcterms:W3CDTF">2017-09-12T05:57:23Z</dcterms:modified>
</cp:coreProperties>
</file>